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media/image28.bin" ContentType="image/jpeg"/>
  <Override PartName="/ppt/media/image29.bin" ContentType="image/jpeg"/>
  <Override PartName="/ppt/media/image30.bin" ContentType="image/jpeg"/>
  <Override PartName="/ppt/media/image31.bin" ContentType="image/jpeg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media/image33.bin" ContentType="image/x-emf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5"/>
    <p:sldMasterId id="2147483809" r:id="rId6"/>
    <p:sldMasterId id="2147483861" r:id="rId7"/>
  </p:sldMasterIdLst>
  <p:notesMasterIdLst>
    <p:notesMasterId r:id="rId33"/>
  </p:notesMasterIdLst>
  <p:handoutMasterIdLst>
    <p:handoutMasterId r:id="rId34"/>
  </p:handoutMasterIdLst>
  <p:sldIdLst>
    <p:sldId id="1615" r:id="rId8"/>
    <p:sldId id="256" r:id="rId9"/>
    <p:sldId id="1621" r:id="rId10"/>
    <p:sldId id="1573" r:id="rId11"/>
    <p:sldId id="404" r:id="rId12"/>
    <p:sldId id="1624" r:id="rId13"/>
    <p:sldId id="1590" r:id="rId14"/>
    <p:sldId id="1633" r:id="rId15"/>
    <p:sldId id="1548" r:id="rId16"/>
    <p:sldId id="1618" r:id="rId17"/>
    <p:sldId id="1585" r:id="rId18"/>
    <p:sldId id="1622" r:id="rId19"/>
    <p:sldId id="1639" r:id="rId20"/>
    <p:sldId id="1640" r:id="rId21"/>
    <p:sldId id="1623" r:id="rId22"/>
    <p:sldId id="1641" r:id="rId23"/>
    <p:sldId id="1626" r:id="rId24"/>
    <p:sldId id="1627" r:id="rId25"/>
    <p:sldId id="1632" r:id="rId26"/>
    <p:sldId id="1628" r:id="rId27"/>
    <p:sldId id="1630" r:id="rId28"/>
    <p:sldId id="1634" r:id="rId29"/>
    <p:sldId id="1637" r:id="rId30"/>
    <p:sldId id="1629" r:id="rId31"/>
    <p:sldId id="1620" r:id="rId32"/>
  </p:sldIdLst>
  <p:sldSz cx="12192000" cy="6858000"/>
  <p:notesSz cx="6858000" cy="9144000"/>
  <p:embeddedFontLst>
    <p:embeddedFont>
      <p:font typeface="Arial" panose="020B0604020202020204" pitchFamily="34" charset="0"/>
      <p:regular r:id="rId35"/>
      <p:italic r:id="rId36"/>
    </p:embeddedFont>
    <p:embeddedFont>
      <p:font typeface="Open Sans" panose="020B0606030504020204" pitchFamily="34" charset="0"/>
      <p:regular r:id="rId37"/>
      <p:bold r:id="rId38"/>
      <p:italic r:id="rId39"/>
      <p:boldItalic r:id="rId40"/>
    </p:embeddedFont>
    <p:embeddedFont>
      <p:font typeface="Open Sans SemiBold" panose="020B0706030804020204" pitchFamily="34" charset="0"/>
      <p:bold r:id="rId41"/>
      <p:boldItalic r:id="rId42"/>
    </p:embeddedFont>
    <p:embeddedFont>
      <p:font typeface="Roboto Slab" pitchFamily="2" charset="0"/>
      <p:regular r:id="rId43"/>
      <p:bold r:id="rId44"/>
    </p:embeddedFont>
    <p:embeddedFont>
      <p:font typeface="Roboto Slab Light" pitchFamily="2" charset="0"/>
      <p:regular r:id="rId45"/>
    </p:embeddedFont>
  </p:embeddedFontLst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hommessen" initials="THO" lastIdx="1" clrIdx="0">
    <p:extLst>
      <p:ext uri="{19B8F6BF-5375-455C-9EA6-DF929625EA0E}">
        <p15:presenceInfo xmlns:p15="http://schemas.microsoft.com/office/powerpoint/2012/main" userId="Thommess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8F7"/>
    <a:srgbClr val="F6F5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581" autoAdjust="0"/>
  </p:normalViewPr>
  <p:slideViewPr>
    <p:cSldViewPr snapToGrid="0" showGuides="1">
      <p:cViewPr varScale="1">
        <p:scale>
          <a:sx n="75" d="100"/>
          <a:sy n="75" d="100"/>
        </p:scale>
        <p:origin x="678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93" d="100"/>
          <a:sy n="93" d="100"/>
        </p:scale>
        <p:origin x="265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handoutMaster" Target="handoutMasters/handoutMaster1.xml"/><Relationship Id="rId42" Type="http://schemas.openxmlformats.org/officeDocument/2006/relationships/font" Target="fonts/font8.fntdata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4.fntdata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font" Target="fonts/font3.fntdata"/><Relationship Id="rId40" Type="http://schemas.openxmlformats.org/officeDocument/2006/relationships/font" Target="fonts/font6.fntdata"/><Relationship Id="rId45" Type="http://schemas.openxmlformats.org/officeDocument/2006/relationships/font" Target="fonts/font11.fntdata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font" Target="fonts/font2.fntdata"/><Relationship Id="rId49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font" Target="fonts/font10.fntdata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font" Target="fonts/font1.fntdata"/><Relationship Id="rId43" Type="http://schemas.openxmlformats.org/officeDocument/2006/relationships/font" Target="fonts/font9.fntdata"/><Relationship Id="rId48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bin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8">
            <a:extLst>
              <a:ext uri="{FF2B5EF4-FFF2-40B4-BE49-F238E27FC236}">
                <a16:creationId xmlns:a16="http://schemas.microsoft.com/office/drawing/2014/main" id="{AE845206-9D4B-4268-8A29-9556DF4E229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27 October 2021</a:t>
            </a:fld>
            <a:endParaRPr lang="en-GB" sz="800" dirty="0"/>
          </a:p>
        </p:txBody>
      </p:sp>
      <p:sp>
        <p:nvSpPr>
          <p:cNvPr id="11" name="Slide Number Placeholder 9">
            <a:extLst>
              <a:ext uri="{FF2B5EF4-FFF2-40B4-BE49-F238E27FC236}">
                <a16:creationId xmlns:a16="http://schemas.microsoft.com/office/drawing/2014/main" id="{DF349B49-B9DF-4BAC-A781-810C4D36F4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8570490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2" name="Footer Placeholder 10">
            <a:extLst>
              <a:ext uri="{FF2B5EF4-FFF2-40B4-BE49-F238E27FC236}">
                <a16:creationId xmlns:a16="http://schemas.microsoft.com/office/drawing/2014/main" id="{4B53B10D-D604-4E2D-B18E-A2B8163CC1E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8752305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3" name="Header Placeholder 12">
            <a:extLst>
              <a:ext uri="{FF2B5EF4-FFF2-40B4-BE49-F238E27FC236}">
                <a16:creationId xmlns:a16="http://schemas.microsoft.com/office/drawing/2014/main" id="{0225AF11-4B47-41F0-B130-3DC91DD63C4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8570490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63FEA0BA-0B43-4CD5-8DCE-4589959A4C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6634" y="420808"/>
            <a:ext cx="996496" cy="118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ED603FBB-C012-44F8-8D4E-1E5BCC6355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314247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CE09EA81-6923-4332-8C9E-30AE045AFB6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8EBAC05E-8F24-4752-8343-003B6B511FCA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875230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681EF29B-F0DE-4A5D-971E-F0D2D074F34E}" type="datetime4">
              <a:rPr lang="en-GB" smtClean="0"/>
              <a:t>27 October 2021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1D693BA3-BE27-457C-84EF-2CE89AE4DBD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857049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F71DC945-9758-4703-A041-B00CC90596B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875230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9AA08409-7D69-4F6B-8F0E-3BF399AD47E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857049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AE7EE4B-0F9F-47EC-A553-FAE443F97D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56800" y="420808"/>
            <a:ext cx="996496" cy="118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nb-NO" sz="800" b="0" i="0" u="none" strike="noStrike" kern="1200" cap="none" spc="0" normalizeH="0" baseline="0" noProof="0" smtClean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6026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/>
              <a:pPr/>
              <a:t>2</a:t>
            </a:fld>
            <a:endParaRPr lang="en-GB" sz="800"/>
          </a:p>
        </p:txBody>
      </p:sp>
    </p:spTree>
    <p:extLst>
      <p:ext uri="{BB962C8B-B14F-4D97-AF65-F5344CB8AC3E}">
        <p14:creationId xmlns:p14="http://schemas.microsoft.com/office/powerpoint/2010/main" val="1128590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chemeClr val="tx1">
                    <a:lumMod val="75000"/>
                  </a:schemeClr>
                </a:solidFill>
              </a:rPr>
              <a:t>For å nå Paris-avtalens målsetning om ned mot 1,5 grads temperaturøkning dette århundret, må Globale utslipp reduseres med </a:t>
            </a:r>
            <a:r>
              <a:rPr lang="nb-NO" sz="1200" dirty="0">
                <a:solidFill>
                  <a:schemeClr val="accent3"/>
                </a:solidFill>
              </a:rPr>
              <a:t>minst 50 prosent</a:t>
            </a:r>
            <a:r>
              <a:rPr lang="nb-NO" sz="1200" dirty="0">
                <a:solidFill>
                  <a:schemeClr val="tx1">
                    <a:lumMod val="75000"/>
                  </a:schemeClr>
                </a:solidFill>
              </a:rPr>
              <a:t> innen 2030 (sammenlignet med 1990-nivå).</a:t>
            </a:r>
            <a:endParaRPr lang="nb-NO" dirty="0"/>
          </a:p>
          <a:p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chemeClr val="tx1">
                    <a:lumMod val="75000"/>
                  </a:schemeClr>
                </a:solidFill>
              </a:rPr>
              <a:t>En </a:t>
            </a:r>
            <a:r>
              <a:rPr lang="nb-NO" sz="1200" b="1" dirty="0">
                <a:solidFill>
                  <a:schemeClr val="tx1">
                    <a:lumMod val="75000"/>
                  </a:schemeClr>
                </a:solidFill>
              </a:rPr>
              <a:t>kostbar omstilling</a:t>
            </a:r>
            <a:r>
              <a:rPr lang="nb-NO" sz="1200" dirty="0">
                <a:solidFill>
                  <a:schemeClr val="tx1">
                    <a:lumMod val="75000"/>
                  </a:schemeClr>
                </a:solidFill>
              </a:rPr>
              <a:t>: </a:t>
            </a:r>
            <a:r>
              <a:rPr lang="nb-NO" sz="1200" dirty="0">
                <a:solidFill>
                  <a:schemeClr val="accent3"/>
                </a:solidFill>
              </a:rPr>
              <a:t>EUR 260 milliarder </a:t>
            </a:r>
            <a:r>
              <a:rPr lang="nb-NO" sz="1200" dirty="0">
                <a:solidFill>
                  <a:schemeClr val="tx1">
                    <a:lumMod val="75000"/>
                  </a:schemeClr>
                </a:solidFill>
              </a:rPr>
              <a:t>årlig for å nå EUs klimamål for 2030 – og </a:t>
            </a:r>
            <a:r>
              <a:rPr lang="nb-NO" sz="1200" dirty="0">
                <a:solidFill>
                  <a:schemeClr val="accent3"/>
                </a:solidFill>
              </a:rPr>
              <a:t>EUR 500 milliarder </a:t>
            </a:r>
            <a:r>
              <a:rPr lang="nb-NO" sz="1200" dirty="0">
                <a:solidFill>
                  <a:schemeClr val="tx1">
                    <a:lumMod val="75000"/>
                  </a:schemeClr>
                </a:solidFill>
              </a:rPr>
              <a:t>årlig fra 2031 til 2050 for å nå klimamål for 2050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dirty="0">
              <a:solidFill>
                <a:schemeClr val="tx1">
                  <a:lumMod val="75000"/>
                </a:schemeClr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 err="1"/>
              <a:t>Klassifisseringsregelverket</a:t>
            </a:r>
            <a:r>
              <a:rPr lang="nb-NO" dirty="0"/>
              <a:t> inngår i EUs handlingsplan for bærekraftig finans, som er </a:t>
            </a:r>
            <a:r>
              <a:rPr lang="nb-NO" b="1" dirty="0"/>
              <a:t>finansområdets verktøykasse </a:t>
            </a:r>
            <a:r>
              <a:rPr lang="nb-NO" dirty="0"/>
              <a:t>for å nå klimamålene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nb-NO" dirty="0">
                <a:solidFill>
                  <a:schemeClr val="tx1">
                    <a:lumMod val="75000"/>
                  </a:schemeClr>
                </a:solidFill>
              </a:rPr>
              <a:t>Vedtatt 8. mars 2018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nb-NO" dirty="0">
                <a:solidFill>
                  <a:schemeClr val="tx1">
                    <a:lumMod val="75000"/>
                  </a:schemeClr>
                </a:solidFill>
              </a:rPr>
              <a:t>Andre tiltak i pakken kommer vi tilbake til, men det er blant annet snakk om en offentliggjøringsforordning for finansielle aktører</a:t>
            </a:r>
          </a:p>
          <a:p>
            <a:pPr marL="171450" indent="-171450">
              <a:buFontTx/>
              <a:buChar char="-"/>
            </a:pPr>
            <a:r>
              <a:rPr lang="nb-NO" dirty="0">
                <a:solidFill>
                  <a:schemeClr val="tx1">
                    <a:lumMod val="75000"/>
                  </a:schemeClr>
                </a:solidFill>
              </a:rPr>
              <a:t>Revisjon av handlingsplanen sendt på høring - en fornyet handlingsplan ventes i  løpet av kort tid 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nb-NO" sz="800" b="0" i="0" u="none" strike="noStrike" kern="1200" cap="none" spc="0" normalizeH="0" baseline="0" noProof="0" smtClean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1957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art</a:t>
            </a:r>
          </a:p>
          <a:p>
            <a:r>
              <a:rPr lang="nb-NO" dirty="0"/>
              <a:t>Europa</a:t>
            </a:r>
          </a:p>
          <a:p>
            <a:r>
              <a:rPr lang="nb-NO" dirty="0"/>
              <a:t>Kontor</a:t>
            </a:r>
          </a:p>
          <a:p>
            <a:r>
              <a:rPr lang="nb-NO" dirty="0"/>
              <a:t>Sted</a:t>
            </a:r>
          </a:p>
          <a:p>
            <a:r>
              <a:rPr lang="nb-NO" dirty="0"/>
              <a:t>By</a:t>
            </a:r>
          </a:p>
          <a:p>
            <a:r>
              <a:rPr lang="nb-NO" dirty="0"/>
              <a:t>Land</a:t>
            </a:r>
          </a:p>
          <a:p>
            <a:r>
              <a:rPr lang="nb-NO" dirty="0"/>
              <a:t>Kontakt</a:t>
            </a:r>
          </a:p>
          <a:p>
            <a:r>
              <a:rPr lang="nb-NO" dirty="0"/>
              <a:t>Område</a:t>
            </a:r>
          </a:p>
          <a:p>
            <a:r>
              <a:rPr lang="nb-NO" dirty="0"/>
              <a:t>Land</a:t>
            </a:r>
          </a:p>
          <a:p>
            <a:r>
              <a:rPr lang="nb-NO" dirty="0"/>
              <a:t>Lokasj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7179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hommess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EDE7DE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white"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solidFill>
                  <a:srgbClr val="EDE7D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EDE7D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42F7A036-9CCE-4568-BD00-9789F0C0E2C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002912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 Sn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D494524-1653-4357-8F5F-EEF4605269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3000" spc="-10" baseline="0">
                <a:latin typeface="+mj-lt"/>
              </a:defRPr>
            </a:lvl1pPr>
            <a:lvl2pPr marL="432000" indent="-216000">
              <a:spcAft>
                <a:spcPts val="0"/>
              </a:spcAft>
              <a:defRPr sz="1500"/>
            </a:lvl2pPr>
            <a:lvl3pPr marL="648000" indent="-216000">
              <a:lnSpc>
                <a:spcPct val="110000"/>
              </a:lnSpc>
              <a:defRPr spc="70"/>
            </a:lvl3pPr>
            <a:lvl4pPr marL="648000" indent="-216000">
              <a:lnSpc>
                <a:spcPct val="110000"/>
              </a:lnSpc>
              <a:defRPr spc="70"/>
            </a:lvl4pPr>
            <a:lvl5pPr marL="648000" indent="-216000">
              <a:lnSpc>
                <a:spcPct val="110000"/>
              </a:lnSpc>
              <a:defRPr spc="70"/>
            </a:lvl5pPr>
            <a:lvl6pPr marL="648000" indent="-216000">
              <a:lnSpc>
                <a:spcPct val="110000"/>
              </a:lnSpc>
              <a:defRPr spc="70"/>
            </a:lvl6pPr>
            <a:lvl7pPr marL="648000" indent="-216000">
              <a:lnSpc>
                <a:spcPct val="110000"/>
              </a:lnSpc>
              <a:defRPr spc="70"/>
            </a:lvl7pPr>
            <a:lvl8pPr marL="648000" indent="-216000">
              <a:lnSpc>
                <a:spcPct val="110000"/>
              </a:lnSpc>
              <a:defRPr spc="70"/>
            </a:lvl8pPr>
            <a:lvl9pPr marL="648000" indent="-21600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spc="70" baseline="0"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D4763D3-18D1-4EB8-8BCD-2CC7B57B2E2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fld id="{D1444DCA-50C9-4BA9-9B43-1457C2F00A5D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60C88E-4AFE-4F58-A048-1F5C150D2ABC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00B9CA-BDAC-4E13-BB19-E7F9F443B688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95053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 userDrawn="1">
          <p15:clr>
            <a:srgbClr val="A4A3A4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2E7A7CF3-7209-4D76-BC1D-5B8E6034B4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F95D1808-3E56-4DF0-A792-38E83CE0F629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82783D-4458-456A-B2FD-1B2E9AB8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17FA11-67F2-45F9-8BB1-154B864625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014487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5318E54-A7C0-43F8-8747-5AE35BED7D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57168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936644A-32CA-43AB-BDA9-AAD9D01700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478589" y="435600"/>
            <a:ext cx="4946612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8588" y="979200"/>
            <a:ext cx="4946612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8588" y="2311200"/>
            <a:ext cx="4946612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32" name="Date Placeholder 31" hidden="1">
            <a:extLst>
              <a:ext uri="{FF2B5EF4-FFF2-40B4-BE49-F238E27FC236}">
                <a16:creationId xmlns:a16="http://schemas.microsoft.com/office/drawing/2014/main" id="{34A5A879-CCD3-4C70-A0C4-B662FB8F119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05EC23F7-CB85-44E7-93E4-30ED67D56585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B22B0618-ACC9-441F-BABE-AB31171E14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2DF19756-068E-496E-8AC3-C107F2D18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3927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78587" y="0"/>
            <a:ext cx="5713413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89A774C8-DE14-4150-AFE0-49F423205257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59055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Picture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1"/>
          <p:cNvSpPr>
            <a:spLocks noGrp="1"/>
          </p:cNvSpPr>
          <p:nvPr>
            <p:ph type="pic" sz="quarter" idx="19" hasCustomPrompt="1"/>
          </p:nvPr>
        </p:nvSpPr>
        <p:spPr>
          <a:xfrm>
            <a:off x="8607600" y="0"/>
            <a:ext cx="3585600" cy="6861600"/>
          </a:xfrm>
          <a:noFill/>
        </p:spPr>
        <p:txBody>
          <a:bodyPr lIns="0" tIns="72000" rIns="0" b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Klikk for å sette inn bilde fra Templafy/Medieban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6EC6D9C-EAC1-4116-8C17-46FE681CFEB8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70740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D990196-F3FD-4433-A3D0-1E1F2F4F1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7074000" cy="11196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9B207EB-87A6-4C3E-B1E6-FE118EA0E5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4" y="2311200"/>
            <a:ext cx="7073899" cy="3778450"/>
          </a:xfrm>
        </p:spPr>
        <p:txBody>
          <a:bodyPr vert="horz" lIns="0" tIns="0" rIns="0" bIns="720000" rtlCol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GB" dirty="0"/>
            </a:lvl1pPr>
            <a:lvl2pPr>
              <a:lnSpc>
                <a:spcPct val="100000"/>
              </a:lnSpc>
              <a:spcAft>
                <a:spcPts val="0"/>
              </a:spcAft>
              <a:defRPr lang="en-GB" dirty="0"/>
            </a:lvl2pPr>
            <a:lvl3pPr>
              <a:lnSpc>
                <a:spcPct val="100000"/>
              </a:lnSpc>
              <a:spcAft>
                <a:spcPts val="0"/>
              </a:spcAft>
              <a:defRPr lang="en-GB" dirty="0"/>
            </a:lvl3pPr>
            <a:lvl4pPr>
              <a:lnSpc>
                <a:spcPct val="100000"/>
              </a:lnSpc>
              <a:spcAft>
                <a:spcPts val="600"/>
              </a:spcAft>
              <a:defRPr lang="en-GB" dirty="0"/>
            </a:lvl4pPr>
            <a:lvl5pPr>
              <a:lnSpc>
                <a:spcPct val="100000"/>
              </a:lnSpc>
              <a:spcAft>
                <a:spcPts val="600"/>
              </a:spcAft>
              <a:defRPr lang="en-GB" dirty="0"/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73A3E0D-DDD7-4028-A069-0832D2B8481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0"/>
          </p:nvPr>
        </p:nvSpPr>
        <p:spPr/>
        <p:txBody>
          <a:bodyPr/>
          <a:lstStyle/>
          <a:p>
            <a:fld id="{499BD6BC-0362-4591-A512-F7E740BAF2C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7327AE0-8CD6-4FCB-9097-B4AD857310A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8D30456-73E6-4998-88E5-652EF966299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563065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22">
          <p15:clr>
            <a:srgbClr val="A4A3A4"/>
          </p15:clr>
        </p15:guide>
        <p15:guide id="3" pos="4939">
          <p15:clr>
            <a:srgbClr val="A4A3A4"/>
          </p15:clr>
        </p15:guide>
        <p15:guide id="4" orient="horz" pos="1455">
          <p15:clr>
            <a:srgbClr val="A4A3A4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Picture n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35856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49654" y="435600"/>
            <a:ext cx="7073996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653" y="979200"/>
            <a:ext cx="7073996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Klikk for å sette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49653" y="2311200"/>
            <a:ext cx="7073996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DD50389-31D4-4487-A59F-DA9B12AED3B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933D08F9-BB77-47AB-981E-4F2A73062F92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3EA2083-0944-4A14-B5BC-561F0B3195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98A352-2006-44E0-A34B-1B361A9E39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7596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9">
          <p15:clr>
            <a:srgbClr val="A4A3A4"/>
          </p15:clr>
        </p15:guide>
        <p15:guide id="2" pos="2256">
          <p15:clr>
            <a:srgbClr val="A4A3A4"/>
          </p15:clr>
        </p15:guide>
        <p15:guide id="3" orient="horz" pos="1455">
          <p15:clr>
            <a:srgbClr val="A4A3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olo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55459FDF-0BD9-49CD-89AE-6D26E024724E}"/>
              </a:ext>
            </a:extLst>
          </p:cNvPr>
          <p:cNvSpPr/>
          <p:nvPr userDrawn="1"/>
        </p:nvSpPr>
        <p:spPr>
          <a:xfrm>
            <a:off x="8607600" y="0"/>
            <a:ext cx="35856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799" y="436860"/>
            <a:ext cx="7073863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99" y="977680"/>
            <a:ext cx="7073863" cy="111828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7073862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defRPr>
                <a:solidFill>
                  <a:srgbClr val="0D4065"/>
                </a:solidFill>
              </a:defRPr>
            </a:lvl8pPr>
            <a:lvl9pPr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98D38813-BBDF-48D5-9974-ABC1AAAC394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8B25C58-3F75-43F4-A5DB-2935992A3E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D2E90EC-B585-46AD-A9D2-33D58672E03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75949" y="2310448"/>
            <a:ext cx="2047700" cy="3779202"/>
          </a:xfrm>
        </p:spPr>
        <p:txBody>
          <a:bodyPr vert="horz" lIns="0" tIns="0" rIns="0" bIns="0" rtlCol="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2000" dirty="0">
                <a:solidFill>
                  <a:srgbClr val="0D4065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91811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326">
          <p15:clr>
            <a:srgbClr val="A4A3A4"/>
          </p15:clr>
        </p15:guide>
        <p15:guide id="4" pos="4939">
          <p15:clr>
            <a:srgbClr val="A4A3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verlapp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865600" y="0"/>
            <a:ext cx="33264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2606F6E2-47BC-4565-B5B7-84B6E4AC6832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</a:p>
        </p:txBody>
      </p:sp>
    </p:spTree>
    <p:extLst>
      <p:ext uri="{BB962C8B-B14F-4D97-AF65-F5344CB8AC3E}">
        <p14:creationId xmlns:p14="http://schemas.microsoft.com/office/powerpoint/2010/main" val="760743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light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4183FF99-5ECF-4C11-B517-DEF4F52EB85F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03983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>
          <p15:clr>
            <a:srgbClr val="A4A3A4"/>
          </p15:clr>
        </p15:guide>
        <p15:guide id="2" orient="horz" pos="1455">
          <p15:clr>
            <a:srgbClr val="A4A3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199"/>
            <a:ext cx="4945025" cy="377845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9C8F501A-0138-48CB-BC10-A07F1AFE5485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87936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>
          <p15:clr>
            <a:srgbClr val="A4A3A4"/>
          </p15:clr>
        </p15:guide>
        <p15:guide id="2" orient="horz" pos="1455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8" y="0"/>
            <a:ext cx="5066673" cy="34290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89549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799" y="979200"/>
            <a:ext cx="5589551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9395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DAE9F8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 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DAE9F8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5795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7650"/>
          </a:xfrm>
        </p:spPr>
        <p:txBody>
          <a:bodyPr lIns="0" rIns="0"/>
          <a:lstStyle>
            <a:lvl1pPr marL="0" indent="0" algn="ctr">
              <a:buNone/>
              <a:defRPr sz="1600" cap="none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69D3EE2E-7EF9-42B8-97BA-AC841B0DD1A0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90377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973">
          <p15:clr>
            <a:srgbClr val="A4A3A4"/>
          </p15:clr>
        </p15:guide>
        <p15:guide id="4" pos="4004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642400"/>
            <a:ext cx="10659600" cy="3448800"/>
          </a:xfrm>
        </p:spPr>
        <p:txBody>
          <a:bodyPr rIns="0" anchor="t"/>
          <a:lstStyle>
            <a:lvl1pPr>
              <a:lnSpc>
                <a:spcPct val="90000"/>
              </a:lnSpc>
              <a:spcAft>
                <a:spcPts val="0"/>
              </a:spcAft>
              <a:defRPr sz="1500">
                <a:solidFill>
                  <a:schemeClr val="tx1">
                    <a:lumMod val="75000"/>
                  </a:schemeClr>
                </a:solidFill>
              </a:defRPr>
            </a:lvl1pPr>
            <a:lvl2pPr>
              <a:lnSpc>
                <a:spcPct val="110000"/>
              </a:lnSpc>
              <a:spcAft>
                <a:spcPts val="0"/>
              </a:spcAft>
              <a:defRPr sz="1200">
                <a:solidFill>
                  <a:schemeClr val="tx1">
                    <a:lumMod val="75000"/>
                  </a:schemeClr>
                </a:solidFill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200">
                <a:solidFill>
                  <a:schemeClr val="tx1">
                    <a:lumMod val="75000"/>
                  </a:schemeClr>
                </a:solidFill>
              </a:defRPr>
            </a:lvl3pPr>
            <a:lvl4pPr>
              <a:lnSpc>
                <a:spcPct val="110000"/>
              </a:lnSpc>
              <a:spcAft>
                <a:spcPts val="0"/>
              </a:spcAft>
              <a:defRPr sz="1200">
                <a:solidFill>
                  <a:schemeClr val="tx1">
                    <a:lumMod val="75000"/>
                  </a:schemeClr>
                </a:solidFill>
              </a:defRPr>
            </a:lvl4pPr>
            <a:lvl5pPr>
              <a:lnSpc>
                <a:spcPct val="110000"/>
              </a:lnSpc>
              <a:spcAft>
                <a:spcPts val="0"/>
              </a:spcAft>
              <a:defRPr sz="12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7668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515DD206-325D-4C9D-83DC-8828E3B16F3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8B25C58-3F75-43F4-A5DB-2935992A3E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50862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4" userDrawn="1">
          <p15:clr>
            <a:srgbClr val="A4A3A4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F9F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9" y="0"/>
            <a:ext cx="5066673" cy="34308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9017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5589550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8400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0D4065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0D4065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4800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9200"/>
          </a:xfrm>
        </p:spPr>
        <p:txBody>
          <a:bodyPr lIns="0" rIns="0"/>
          <a:lstStyle>
            <a:lvl1pPr marL="0" indent="0" algn="ctr">
              <a:buNone/>
              <a:defRPr sz="1600" cap="none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A8E1640A-8661-49CA-87F0-C6F258AA1386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8020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973">
          <p15:clr>
            <a:srgbClr val="A4A3A4"/>
          </p15:clr>
        </p15:guide>
        <p15:guide id="4" pos="4004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CEC3D5E-0181-4184-A118-C7DC3A40A8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4"/>
          </p:nvPr>
        </p:nvSpPr>
        <p:spPr/>
        <p:txBody>
          <a:bodyPr/>
          <a:lstStyle/>
          <a:p>
            <a:fld id="{C1919E49-5135-4A47-9B22-F7227E43D58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3A1574-A4DD-4930-84CB-7B8C4CC112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AE843F-DAA0-4AA0-AC11-0D37090624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09525375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-120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599" y="2343150"/>
            <a:ext cx="10659600" cy="2103119"/>
          </a:xfrm>
        </p:spPr>
        <p:txBody>
          <a:bodyPr/>
          <a:lstStyle>
            <a:lvl1pPr algn="ctr">
              <a:lnSpc>
                <a:spcPct val="110000"/>
              </a:lnSpc>
              <a:defRPr sz="4000"/>
            </a:lvl1pPr>
          </a:lstStyle>
          <a:p>
            <a:r>
              <a:rPr lang="nb-NO" dirty="0"/>
              <a:t>Klikk for å sette inn sita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980" y="4876658"/>
            <a:ext cx="10664704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4399" y="5275381"/>
            <a:ext cx="10659599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8902" y="1671755"/>
            <a:ext cx="221345" cy="24031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fld id="{5624494A-111D-4A36-8C0E-DECF5819FF3A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5550005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86C42A43-3154-47A4-B931-E3ABA449F5D4}"/>
              </a:ext>
            </a:extLst>
          </p:cNvPr>
          <p:cNvSpPr/>
          <p:nvPr userDrawn="1"/>
        </p:nvSpPr>
        <p:spPr>
          <a:xfrm>
            <a:off x="-3600" y="0"/>
            <a:ext cx="494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8587" y="2343150"/>
            <a:ext cx="4946612" cy="2103119"/>
          </a:xfrm>
        </p:spPr>
        <p:txBody>
          <a:bodyPr/>
          <a:lstStyle>
            <a:lvl1pPr algn="ctr">
              <a:lnSpc>
                <a:spcPct val="108000"/>
              </a:lnSpc>
              <a:defRPr sz="3000"/>
            </a:lvl1pPr>
          </a:lstStyle>
          <a:p>
            <a:r>
              <a:rPr lang="nb-NO" dirty="0"/>
              <a:t>Klikk for å sette inn sitat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F56CAA3-D495-4F90-81E4-A8C57B4EFD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799" y="1022362"/>
            <a:ext cx="4945026" cy="4813275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nb-NO" dirty="0"/>
              <a:t>Klikk for å sette inn bilde fra Templafy/Mediebank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8587" y="4652002"/>
            <a:ext cx="4945062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8587" y="5050725"/>
            <a:ext cx="4942695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8300" y="1740090"/>
            <a:ext cx="221345" cy="24031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>
                <a:solidFill>
                  <a:srgbClr val="EDE7DE"/>
                </a:solidFill>
              </a:rPr>
              <a:t>Advokatfirmaet Thommessen AS</a:t>
            </a:r>
            <a:r>
              <a:rPr lang="nb-NO" noProof="1"/>
              <a:t>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fld id="{3C0D9807-590E-4A43-B3D8-9C2796F07AD1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4641210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18C0D84B-CCEA-4DFB-A01F-25699BD71E6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66762" y="766763"/>
            <a:ext cx="10656887" cy="5322887"/>
          </a:xfrm>
        </p:spPr>
        <p:txBody>
          <a:bodyPr anchor="ctr" anchorCtr="0"/>
          <a:lstStyle>
            <a:lvl1pPr algn="ctr">
              <a:lnSpc>
                <a:spcPct val="108000"/>
              </a:lnSpc>
              <a:defRPr sz="5000" cap="none" baseline="0">
                <a:solidFill>
                  <a:srgbClr val="EDE7DE"/>
                </a:solidFill>
              </a:defRPr>
            </a:lvl1pPr>
          </a:lstStyle>
          <a:p>
            <a:r>
              <a:rPr lang="nb-NO" dirty="0"/>
              <a:t>Klikk for å sette inn utsagn</a:t>
            </a:r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7086861A-ADD7-40DC-812C-82A5731B5C7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9576E41F-441C-486B-AA43-05AEA16AD76F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0C17F2C-D372-48C4-8D56-D41FE9375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CC79E04-34E1-4037-B1A9-4D4E32F9B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80689051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One) man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27A254C-4840-456A-AD28-880E7E306F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55533" y="1789199"/>
            <a:ext cx="6868116" cy="194400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994400"/>
            <a:ext cx="6868115" cy="1128393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54A5DDC1-3FDC-4572-AA55-01DB7B73B4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950" y="3376800"/>
            <a:ext cx="6868800" cy="193943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Akserfaring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3573367"/>
            <a:ext cx="6870700" cy="2516283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CCDE5864-3BE9-4701-8768-BFCB95833B1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6763" y="3376798"/>
            <a:ext cx="3527425" cy="2712851"/>
          </a:xfrm>
          <a:solidFill>
            <a:srgbClr val="F9F8F7"/>
          </a:solidFill>
        </p:spPr>
        <p:txBody>
          <a:bodyPr lIns="72000" tIns="72000" rIns="72000" bIns="72000" anchor="t" anchorCtr="0"/>
          <a:lstStyle>
            <a:lvl1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cap="none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nb-NO" sz="1000" b="1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5pPr>
            <a:lvl6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6pPr>
            <a:lvl7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7pPr>
            <a:lvl8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8pPr>
            <a:lvl9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overskrift "Siste utmerkelser"/"Latest awards". Kopier inn kåringer UFORMATERT fra CV-side på web under "Utmerkelser". Bruk TAB mellom årstall og tekst, og hengende innrykk på tekst.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3</a:t>
            </a:r>
          </a:p>
          <a:p>
            <a:pPr lvl="3"/>
            <a:r>
              <a:rPr lang="nb-NO" dirty="0"/>
              <a:t>4</a:t>
            </a:r>
          </a:p>
          <a:p>
            <a:pPr lvl="4"/>
            <a:r>
              <a:rPr lang="nb-NO" dirty="0"/>
              <a:t>5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1A3C9FF2-DBEE-439F-9F25-B1BA02DDC2B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885290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>
          <p15:clr>
            <a:srgbClr val="A4A3A4"/>
          </p15:clr>
        </p15:guide>
        <p15:guide id="2" pos="2705">
          <p15:clr>
            <a:srgbClr val="A4A3A4"/>
          </p15:clr>
        </p15:guide>
        <p15:guide id="3" orient="horz" pos="1127">
          <p15:clr>
            <a:srgbClr val="A4A3A4"/>
          </p15:clr>
        </p15:guide>
        <p15:guide id="5" pos="623">
          <p15:clr>
            <a:srgbClr val="A4A3A4"/>
          </p15:clr>
        </p15:guide>
        <p15:guide id="6" orient="horz" pos="2127">
          <p15:clr>
            <a:srgbClr val="A4A3A4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Tw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4147566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994400"/>
            <a:ext cx="6868115" cy="112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4A5DDC1-3FDC-4572-AA55-01DB7B73B4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950" y="4146550"/>
            <a:ext cx="6868800" cy="193943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4343117"/>
            <a:ext cx="6870700" cy="113589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27A254C-4840-456A-AD28-880E7E306F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55533" y="1789199"/>
            <a:ext cx="6868116" cy="194400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405692B9-2575-40C1-85F7-2430FF9D3B31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920998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>
          <p15:clr>
            <a:srgbClr val="A4A3A4"/>
          </p15:clr>
        </p15:guide>
        <p15:guide id="2" pos="2705">
          <p15:clr>
            <a:srgbClr val="A4A3A4"/>
          </p15:clr>
        </p15:guide>
        <p15:guide id="3" orient="horz" pos="1127">
          <p15:clr>
            <a:srgbClr val="A4A3A4"/>
          </p15:clr>
        </p15:guide>
        <p15:guide id="4" orient="horz" pos="2612">
          <p15:clr>
            <a:srgbClr val="A4A3A4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F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2721113"/>
            <a:ext cx="3527998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3740400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962B11D-2397-4848-946B-56699BED20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763" y="5234400"/>
            <a:ext cx="3527998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90800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CAFC9C2-6FDA-4957-A7BB-6DB3FCF10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9026" y="2721113"/>
            <a:ext cx="3528000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0800" y="37404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9026" y="5234400"/>
            <a:ext cx="3528000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214E320D-232A-41C4-85EF-454B04C81D13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437960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5">
          <p15:clr>
            <a:srgbClr val="A4A3A4"/>
          </p15:clr>
        </p15:guide>
        <p15:guide id="2" pos="6311">
          <p15:clr>
            <a:srgbClr val="A4A3A4"/>
          </p15:clr>
        </p15:guide>
        <p15:guide id="3" orient="horz" pos="771">
          <p15:clr>
            <a:srgbClr val="A4A3A4"/>
          </p15:clr>
        </p15:guide>
        <p15:guide id="4" orient="horz" pos="1714">
          <p15:clr>
            <a:srgbClr val="A4A3A4"/>
          </p15:clr>
        </p15:guide>
        <p15:guide id="5" orient="horz" pos="2356">
          <p15:clr>
            <a:srgbClr val="A4A3A4"/>
          </p15:clr>
        </p15:guide>
        <p15:guide id="6" orient="horz" pos="3297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Si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534122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1722" y="1533600"/>
            <a:ext cx="1280103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8A600C7-0E6A-4001-A31A-953A73467A1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1722" y="3003227"/>
            <a:ext cx="1280103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6AACA1E4-2248-4999-A333-81797CE8E7DC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66764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1C39D92C-28FC-4762-9888-B617EECFBF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1722" y="4475397"/>
            <a:ext cx="1280102" cy="1308011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70706" y="15336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43600" y="1533600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13762D0C-AD12-49EE-83FE-611C77B1368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177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DE1B8178-7ED1-4ED5-B864-78FCF1C8CE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43600" y="3003227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80177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4" name="Text Placeholder 7">
            <a:extLst>
              <a:ext uri="{FF2B5EF4-FFF2-40B4-BE49-F238E27FC236}">
                <a16:creationId xmlns:a16="http://schemas.microsoft.com/office/drawing/2014/main" id="{AD65D34E-7F3E-4A41-B480-1576ABC1F8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143600" y="4475397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329B00BA-24EE-4CDF-A928-5D06CFC9E3F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576477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1">
          <p15:clr>
            <a:srgbClr val="A4A3A4"/>
          </p15:clr>
        </p15:guide>
        <p15:guide id="2" pos="6390">
          <p15:clr>
            <a:srgbClr val="A4A3A4"/>
          </p15:clr>
        </p15:guide>
        <p15:guide id="3" pos="6297">
          <p15:clr>
            <a:srgbClr val="A4A3A4"/>
          </p15:clr>
        </p15:guide>
        <p15:guide id="4" pos="2705">
          <p15:clr>
            <a:srgbClr val="A4A3A4"/>
          </p15:clr>
        </p15:guide>
        <p15:guide id="5" orient="horz" pos="966">
          <p15:clr>
            <a:srgbClr val="A4A3A4"/>
          </p15:clr>
        </p15:guide>
        <p15:guide id="6" orient="horz" pos="1891">
          <p15:clr>
            <a:srgbClr val="A4A3A4"/>
          </p15:clr>
        </p15:guide>
        <p15:guide id="7" orient="horz" pos="2818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18D541EB-4676-4D77-833D-5C1DE078FBF9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91072BF6-F66D-4530-9033-8CC798C50A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5648" y="1656872"/>
            <a:ext cx="3852584" cy="45808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329587F-F816-4B15-9571-7C985297C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6800" y="2817000"/>
            <a:ext cx="10656850" cy="1224000"/>
          </a:xfrm>
        </p:spPr>
        <p:txBody>
          <a:bodyPr anchor="t" anchorCtr="0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500" b="0" kern="1200" baseline="0" dirty="0">
                <a:solidFill>
                  <a:srgbClr val="EDE7D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5C7845E-589C-469A-AD5A-DD686CFF635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580C9644-0721-49B4-958D-AEF58B5C4566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5C03E47-23E0-4296-90AE-0D8D5F82072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3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57EFA0E3-CCA8-4005-A6F7-3BC8CB8BEB2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3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25A3CA-7B54-4510-8217-93CE8EEE986F}"/>
              </a:ext>
            </a:extLst>
          </p:cNvPr>
          <p:cNvSpPr txBox="1"/>
          <p:nvPr userDrawn="1"/>
        </p:nvSpPr>
        <p:spPr>
          <a:xfrm>
            <a:off x="766800" y="5681388"/>
            <a:ext cx="1065685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en-GB" sz="1400" spc="50" baseline="0" dirty="0">
                <a:solidFill>
                  <a:srgbClr val="EDE7DE"/>
                </a:solidFill>
                <a:latin typeface="+mn-lt"/>
              </a:rPr>
              <a:t>thommessen.no</a:t>
            </a:r>
          </a:p>
          <a:p>
            <a:pPr algn="ctr">
              <a:spcAft>
                <a:spcPts val="0"/>
              </a:spcAft>
            </a:pPr>
            <a:r>
              <a:rPr lang="en-GB" sz="1400" spc="50" baseline="0" dirty="0">
                <a:solidFill>
                  <a:srgbClr val="EDE7DE"/>
                </a:solidFill>
                <a:latin typeface="+mn-lt"/>
              </a:rPr>
              <a:t>Oslo •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</a:rPr>
              <a:t> •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</a:rPr>
              <a:t> •</a:t>
            </a:r>
            <a:r>
              <a:rPr lang="en-GB" sz="1400" spc="50" baseline="0" dirty="0">
                <a:solidFill>
                  <a:srgbClr val="EDE7DE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en-GB" sz="1400" spc="50" baseline="0" dirty="0">
              <a:solidFill>
                <a:srgbClr val="EDE7D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193624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763" y="2642400"/>
            <a:ext cx="4945062" cy="344880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lang="en-GB" sz="1500" dirty="0">
                <a:solidFill>
                  <a:schemeClr val="tx1">
                    <a:lumMod val="75000"/>
                  </a:schemeClr>
                </a:solidFill>
              </a:defRPr>
            </a:lvl1pPr>
            <a:lvl2pPr>
              <a:lnSpc>
                <a:spcPct val="110000"/>
              </a:lnSpc>
              <a:spcAft>
                <a:spcPts val="0"/>
              </a:spcAft>
              <a:defRPr lang="en-GB" sz="1200" dirty="0">
                <a:solidFill>
                  <a:schemeClr val="tx1">
                    <a:lumMod val="75000"/>
                  </a:schemeClr>
                </a:solidFill>
              </a:defRPr>
            </a:lvl2pPr>
            <a:lvl3pPr>
              <a:lnSpc>
                <a:spcPct val="110000"/>
              </a:lnSpc>
              <a:spcAft>
                <a:spcPts val="0"/>
              </a:spcAft>
              <a:defRPr lang="en-GB" sz="1200" dirty="0">
                <a:solidFill>
                  <a:schemeClr val="tx1">
                    <a:lumMod val="75000"/>
                  </a:schemeClr>
                </a:solidFill>
              </a:defRPr>
            </a:lvl3pPr>
            <a:lvl4pPr>
              <a:lnSpc>
                <a:spcPct val="110000"/>
              </a:lnSpc>
              <a:spcAft>
                <a:spcPts val="0"/>
              </a:spcAft>
              <a:defRPr lang="en-GB" sz="1200" dirty="0">
                <a:solidFill>
                  <a:schemeClr val="tx1">
                    <a:lumMod val="75000"/>
                  </a:schemeClr>
                </a:solidFill>
              </a:defRPr>
            </a:lvl4pPr>
            <a:lvl5pPr>
              <a:lnSpc>
                <a:spcPct val="110000"/>
              </a:lnSpc>
              <a:spcAft>
                <a:spcPts val="0"/>
              </a:spcAft>
              <a:defRPr lang="en-GB" sz="1200" dirty="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  <p:sp>
        <p:nvSpPr>
          <p:cNvPr id="22" name="Content Placeholder 4"/>
          <p:cNvSpPr>
            <a:spLocks noGrp="1"/>
          </p:cNvSpPr>
          <p:nvPr>
            <p:ph idx="18" hasCustomPrompt="1"/>
          </p:nvPr>
        </p:nvSpPr>
        <p:spPr>
          <a:xfrm>
            <a:off x="6478587" y="2642400"/>
            <a:ext cx="4945061" cy="344880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lang="en-GB" sz="1500" dirty="0">
                <a:solidFill>
                  <a:schemeClr val="tx1">
                    <a:lumMod val="75000"/>
                  </a:schemeClr>
                </a:solidFill>
              </a:defRPr>
            </a:lvl1pPr>
            <a:lvl2pPr>
              <a:lnSpc>
                <a:spcPct val="110000"/>
              </a:lnSpc>
              <a:spcAft>
                <a:spcPts val="0"/>
              </a:spcAft>
              <a:defRPr lang="en-GB" sz="1200" dirty="0">
                <a:solidFill>
                  <a:schemeClr val="tx1">
                    <a:lumMod val="75000"/>
                  </a:schemeClr>
                </a:solidFill>
              </a:defRPr>
            </a:lvl2pPr>
            <a:lvl3pPr>
              <a:lnSpc>
                <a:spcPct val="110000"/>
              </a:lnSpc>
              <a:spcAft>
                <a:spcPts val="0"/>
              </a:spcAft>
              <a:defRPr lang="en-GB" sz="1200" dirty="0">
                <a:solidFill>
                  <a:schemeClr val="tx1">
                    <a:lumMod val="75000"/>
                  </a:schemeClr>
                </a:solidFill>
              </a:defRPr>
            </a:lvl3pPr>
            <a:lvl4pPr>
              <a:lnSpc>
                <a:spcPct val="110000"/>
              </a:lnSpc>
              <a:spcAft>
                <a:spcPts val="0"/>
              </a:spcAft>
              <a:defRPr lang="en-GB" sz="1200" dirty="0">
                <a:solidFill>
                  <a:schemeClr val="tx1">
                    <a:lumMod val="75000"/>
                  </a:schemeClr>
                </a:solidFill>
              </a:defRPr>
            </a:lvl4pPr>
            <a:lvl5pPr>
              <a:lnSpc>
                <a:spcPct val="110000"/>
              </a:lnSpc>
              <a:spcAft>
                <a:spcPts val="0"/>
              </a:spcAft>
              <a:defRPr lang="en-GB" sz="1200" dirty="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63D9972-5495-41D0-B9D8-64949ED52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8B98C7D-C3F2-43E5-A9EE-BD514B0FC7B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7668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B4120F7-DEF4-41C3-8522-11B183EC36E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9"/>
          </p:nvPr>
        </p:nvSpPr>
        <p:spPr/>
        <p:txBody>
          <a:bodyPr/>
          <a:lstStyle/>
          <a:p>
            <a:fld id="{FC14D1A3-4660-4064-96F6-D471F864CD93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179864-C9DD-4F31-A9F6-7C5A4D07CAE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5E22F5-6F3C-4F95-A3DC-FE073C4FD4D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625659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4" userDrawn="1">
          <p15:clr>
            <a:srgbClr val="A4A3A4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ntact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FF95D769-541B-4E86-9575-6188DA0071C5}"/>
              </a:ext>
            </a:extLst>
          </p:cNvPr>
          <p:cNvSpPr/>
          <p:nvPr userDrawn="1"/>
        </p:nvSpPr>
        <p:spPr>
          <a:xfrm>
            <a:off x="-3600" y="0"/>
            <a:ext cx="7131600" cy="68580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766763"/>
            <a:ext cx="4945025" cy="2510441"/>
          </a:xfrm>
        </p:spPr>
        <p:txBody>
          <a:bodyPr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5000" b="0" kern="1200" baseline="0" dirty="0">
                <a:solidFill>
                  <a:srgbClr val="0D4065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B262DCB-7E95-45C4-81BD-C9B32339E7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895650" y="1775111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A13E447-6B91-4BE0-9D6B-AEFE8AAD581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895650" y="3942759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175BC7-2091-4CB0-B6C7-6208EBE77A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3" y="3450516"/>
            <a:ext cx="4945062" cy="14400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 spc="0" baseline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2pPr>
            <a:lvl3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3pPr>
            <a:lvl4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4pPr>
            <a:lvl5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5pPr>
          </a:lstStyle>
          <a:p>
            <a:pPr lvl="0"/>
            <a:r>
              <a:rPr lang="nb-NO" dirty="0"/>
              <a:t>Sett inn tekst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2C39C7-7332-44F2-B7B6-E047525B173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6"/>
          </p:nvPr>
        </p:nvSpPr>
        <p:spPr/>
        <p:txBody>
          <a:bodyPr/>
          <a:lstStyle/>
          <a:p>
            <a:fld id="{5002C1ED-910A-4AE8-8DD3-54198A1F18A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67DBB8-EB7F-4E23-B19C-8BAA68AC99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7F1F33-6910-4101-8AD6-C11D6128C9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953E51-44E4-44C1-9547-574B62F8D56F}"/>
              </a:ext>
            </a:extLst>
          </p:cNvPr>
          <p:cNvSpPr txBox="1"/>
          <p:nvPr userDrawn="1"/>
        </p:nvSpPr>
        <p:spPr>
          <a:xfrm>
            <a:off x="766800" y="5681388"/>
            <a:ext cx="494502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0"/>
              </a:spcAft>
            </a:pPr>
            <a:r>
              <a:rPr lang="en-GB" sz="1400" spc="50" baseline="0" dirty="0">
                <a:solidFill>
                  <a:srgbClr val="0D4065"/>
                </a:solidFill>
              </a:rPr>
              <a:t>thommessen.no</a:t>
            </a:r>
          </a:p>
          <a:p>
            <a:pPr algn="l">
              <a:spcAft>
                <a:spcPts val="0"/>
              </a:spcAft>
            </a:pPr>
            <a:r>
              <a:rPr lang="en-GB" sz="1400" spc="50" baseline="0" dirty="0">
                <a:solidFill>
                  <a:srgbClr val="0D4065"/>
                </a:solidFill>
                <a:latin typeface="+mn-lt"/>
              </a:rPr>
              <a:t>Oslo •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Bergen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</a:rPr>
              <a:t> •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Stavanger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</a:rPr>
              <a:t> •</a:t>
            </a:r>
            <a:r>
              <a:rPr lang="en-GB" sz="1400" spc="50" baseline="0" dirty="0">
                <a:solidFill>
                  <a:srgbClr val="0D4065"/>
                </a:solidFill>
                <a:latin typeface="+mn-lt"/>
                <a:sym typeface="Wingdings 2" panose="05020102010507070707" pitchFamily="18" charset="2"/>
              </a:rPr>
              <a:t> London</a:t>
            </a:r>
            <a:endParaRPr lang="en-GB" sz="1400" spc="50" baseline="0" dirty="0">
              <a:solidFill>
                <a:srgbClr val="0D406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4245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A4A3A4"/>
          </p15:clr>
        </p15:guide>
        <p15:guide id="4" orient="horz" pos="2483">
          <p15:clr>
            <a:srgbClr val="A4A3A4"/>
          </p15:clr>
        </p15:guide>
        <p15:guide id="5" pos="4973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1493850"/>
            <a:ext cx="2700000" cy="4724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PICTURES</a:t>
            </a:r>
            <a:br>
              <a:rPr lang="nb-NO" sz="900" dirty="0">
                <a:latin typeface="+mn-lt"/>
                <a:cs typeface="Arial" panose="020B0604020202020204" pitchFamily="34" charset="0"/>
              </a:rPr>
            </a:br>
            <a:r>
              <a:rPr lang="nb-NO" sz="900" b="0" noProof="1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sert corporate picture from Templafy</a:t>
            </a:r>
            <a:endParaRPr lang="nb-NO" altLang="da-DK" sz="900" b="0" noProof="1">
              <a:solidFill>
                <a:schemeClr val="tx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nb-NO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click on the icon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GUIDES</a:t>
            </a:r>
            <a:endParaRPr lang="nb-NO" sz="1200" b="1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nb-NO" sz="900" b="0" i="0" dirty="0">
                <a:solidFill>
                  <a:srgbClr val="333333"/>
                </a:solidFill>
                <a:effectLst/>
                <a:latin typeface="Open Sans"/>
              </a:rPr>
              <a:t>⌘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131600" y="174274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173362" y="370384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800" y="1493850"/>
            <a:ext cx="2700000" cy="458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spc="7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nb-NO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766763" y="780169"/>
            <a:ext cx="10656887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b-NO" sz="24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92821" y="204916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AE5A34-7622-4EE1-919E-44AB5A39B2A0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131861" y="298547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2821" y="518776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8288" y="1493850"/>
            <a:ext cx="2448000" cy="372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TEXT STYLES</a:t>
            </a:r>
            <a:endParaRPr lang="nb-NO" altLang="da-DK" sz="1200" b="0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nb-NO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nb-NO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nb-NO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LAYOUTS</a:t>
            </a:r>
            <a:endParaRPr lang="nb-NO" sz="1600" spc="70" baseline="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endParaRPr lang="nb-NO" sz="900" dirty="0">
              <a:latin typeface="+mn-lt"/>
              <a:ea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1263" y="484329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71263" y="402629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73961" y="329314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71263" y="2581850"/>
            <a:ext cx="457143" cy="2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24504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black">
          <a:xfrm>
            <a:off x="0" y="0"/>
            <a:ext cx="12192000" cy="68616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nb-NO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4400" b="0" noProof="0" dirty="0">
                <a:solidFill>
                  <a:schemeClr val="bg1"/>
                </a:solidFill>
              </a:rPr>
              <a:t>If you see any </a:t>
            </a:r>
            <a:r>
              <a:rPr lang="nb-NO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nb-NO" sz="4400" b="0" i="0" noProof="0" dirty="0">
                <a:solidFill>
                  <a:schemeClr val="bg1"/>
                </a:solidFill>
              </a:rPr>
              <a:t>one</a:t>
            </a:r>
            <a:r>
              <a:rPr lang="nb-NO" sz="4400" b="1" i="1" noProof="0" dirty="0">
                <a:solidFill>
                  <a:schemeClr val="bg1"/>
                </a:solidFill>
              </a:rPr>
              <a:t>,</a:t>
            </a:r>
            <a:br>
              <a:rPr lang="nb-NO" sz="4400" b="0" i="0" noProof="0" dirty="0">
                <a:solidFill>
                  <a:schemeClr val="bg1"/>
                </a:solidFill>
              </a:rPr>
            </a:br>
            <a:r>
              <a:rPr lang="nb-NO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nb-NO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nb-NO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nb-NO" sz="2800" b="0" noProof="0" dirty="0">
                <a:solidFill>
                  <a:schemeClr val="bg1"/>
                </a:solidFill>
              </a:rPr>
            </a:br>
            <a:br>
              <a:rPr lang="nb-NO" sz="2800" b="0" noProof="0" dirty="0">
                <a:solidFill>
                  <a:schemeClr val="bg1"/>
                </a:solidFill>
              </a:rPr>
            </a:br>
            <a:endParaRPr lang="nb-NO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5000" b="1" i="1" noProof="0" dirty="0">
                <a:solidFill>
                  <a:schemeClr val="bg1"/>
                </a:solidFill>
              </a:rPr>
              <a:t>Do not use </a:t>
            </a:r>
            <a:endParaRPr lang="nb-NO" sz="150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346434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nb-NO" sz="1800" b="0" noProof="0" dirty="0">
                <a:solidFill>
                  <a:schemeClr val="bg1"/>
                </a:solidFill>
              </a:rPr>
            </a:br>
            <a:endParaRPr lang="nb-NO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0EC8FA6-7BA1-4B65-9A2E-814663B34AA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673977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>
            <a:extLst>
              <a:ext uri="{FF2B5EF4-FFF2-40B4-BE49-F238E27FC236}">
                <a16:creationId xmlns:a16="http://schemas.microsoft.com/office/drawing/2014/main" id="{075B19B2-D2E5-4FC7-990F-41BE900C7C9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7668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AAB13FA-F506-42DD-9BED-12D0CC873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/>
              <a:t>Klikk for å sette inn tittel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520EC5DF-5302-4D19-A0B6-5CECA13917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E8A54AE1-E9CA-4CE4-8472-889055AE31D5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27A7C0-69B5-46FA-9874-F1604563551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C2EE2AD-CDD0-4CFB-A349-B4F3FB82CF8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35129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4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2E7A7CF3-7209-4D76-BC1D-5B8E6034B4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7D005C4B-6CB8-492B-9671-2A912653D78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82783D-4458-456A-B2FD-1B2E9AB8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17FA11-67F2-45F9-8BB1-154B864625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945061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4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5318E54-A7C0-43F8-8747-5AE35BED7D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57168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936644A-32CA-43AB-BDA9-AAD9D01700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478589" y="766010"/>
            <a:ext cx="4946612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8588" y="1307625"/>
            <a:ext cx="4946612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8588" y="2642400"/>
            <a:ext cx="4946612" cy="3448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32" name="Date Placeholder 31" hidden="1">
            <a:extLst>
              <a:ext uri="{FF2B5EF4-FFF2-40B4-BE49-F238E27FC236}">
                <a16:creationId xmlns:a16="http://schemas.microsoft.com/office/drawing/2014/main" id="{34A5A879-CCD3-4C70-A0C4-B662FB8F119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BBDB3565-F705-4C8B-B5B2-C4DCBE53AB3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B22B0618-ACC9-441F-BABE-AB31171E14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2DF19756-068E-496E-8AC3-C107F2D18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97695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4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78587" y="0"/>
            <a:ext cx="5713413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76601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1307625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642400"/>
            <a:ext cx="4945025" cy="3448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EE7DC2DD-91C7-42B5-9B88-8B035C957D05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97906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4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Picture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1"/>
          <p:cNvSpPr>
            <a:spLocks noGrp="1"/>
          </p:cNvSpPr>
          <p:nvPr>
            <p:ph type="pic" sz="quarter" idx="19" hasCustomPrompt="1"/>
          </p:nvPr>
        </p:nvSpPr>
        <p:spPr>
          <a:xfrm>
            <a:off x="8607600" y="0"/>
            <a:ext cx="3585600" cy="6861600"/>
          </a:xfrm>
          <a:noFill/>
        </p:spPr>
        <p:txBody>
          <a:bodyPr lIns="0" tIns="72000" rIns="0" b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Klikk for å sette inn bilde fra Templafy/Medieban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6EC6D9C-EAC1-4116-8C17-46FE681CFEB8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766800"/>
            <a:ext cx="70740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D990196-F3FD-4433-A3D0-1E1F2F4F1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1306800"/>
            <a:ext cx="7074000" cy="11196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0" y="2642400"/>
            <a:ext cx="7074000" cy="3448800"/>
          </a:xfrm>
        </p:spPr>
        <p:txBody>
          <a:bodyPr vert="horz" lIns="0" tIns="0" rIns="0" bIns="720000" rtlCol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lang="en-GB" dirty="0"/>
            </a:lvl1pPr>
            <a:lvl2pPr>
              <a:lnSpc>
                <a:spcPct val="110000"/>
              </a:lnSpc>
              <a:spcAft>
                <a:spcPts val="0"/>
              </a:spcAft>
              <a:defRPr lang="en-GB" dirty="0"/>
            </a:lvl2pPr>
            <a:lvl3pPr>
              <a:lnSpc>
                <a:spcPct val="110000"/>
              </a:lnSpc>
              <a:spcAft>
                <a:spcPts val="0"/>
              </a:spcAft>
              <a:defRPr lang="en-GB" dirty="0"/>
            </a:lvl3pPr>
            <a:lvl4pPr>
              <a:lnSpc>
                <a:spcPct val="110000"/>
              </a:lnSpc>
              <a:spcAft>
                <a:spcPts val="0"/>
              </a:spcAft>
              <a:defRPr lang="en-GB" dirty="0"/>
            </a:lvl4pPr>
            <a:lvl5pPr>
              <a:lnSpc>
                <a:spcPct val="110000"/>
              </a:lnSpc>
              <a:spcAft>
                <a:spcPts val="0"/>
              </a:spcAft>
              <a:defRPr lang="en-GB" dirty="0"/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73A3E0D-DDD7-4028-A069-0832D2B8481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0"/>
          </p:nvPr>
        </p:nvSpPr>
        <p:spPr/>
        <p:txBody>
          <a:bodyPr/>
          <a:lstStyle/>
          <a:p>
            <a:fld id="{3B2FFD30-F00C-4588-B5DD-C307460E5093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7327AE0-8CD6-4FCB-9097-B4AD857310A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8D30456-73E6-4998-88E5-652EF966299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904669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4" userDrawn="1">
          <p15:clr>
            <a:srgbClr val="A4A3A4"/>
          </p15:clr>
        </p15:guide>
        <p15:guide id="2" pos="5422" userDrawn="1">
          <p15:clr>
            <a:srgbClr val="A4A3A4"/>
          </p15:clr>
        </p15:guide>
        <p15:guide id="3" pos="4939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Picture n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35856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49654" y="766010"/>
            <a:ext cx="7073996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653" y="1307625"/>
            <a:ext cx="7073996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Klikk for å sette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49653" y="2642400"/>
            <a:ext cx="7073996" cy="3448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DD50389-31D4-4487-A59F-DA9B12AED3B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63215A6B-D0A9-41E2-9F81-960E032DB86F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3EA2083-0944-4A14-B5BC-561F0B3195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98A352-2006-44E0-A34B-1B361A9E39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6625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9" userDrawn="1">
          <p15:clr>
            <a:srgbClr val="A4A3A4"/>
          </p15:clr>
        </p15:guide>
        <p15:guide id="2" pos="2256" userDrawn="1">
          <p15:clr>
            <a:srgbClr val="A4A3A4"/>
          </p15:clr>
        </p15:guide>
        <p15:guide id="3" orient="horz" pos="1664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verlapp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865600" y="0"/>
            <a:ext cx="33264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76601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1307625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642400"/>
            <a:ext cx="4945025" cy="3448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BEA29183-215D-45DE-A7AA-79655C8296E1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</a:p>
        </p:txBody>
      </p:sp>
    </p:spTree>
    <p:extLst>
      <p:ext uri="{BB962C8B-B14F-4D97-AF65-F5344CB8AC3E}">
        <p14:creationId xmlns:p14="http://schemas.microsoft.com/office/powerpoint/2010/main" val="1699887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64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0D4065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B4EF1BD7-C9CA-46E9-B136-0B6A0CE2118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light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76601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1307625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642400"/>
            <a:ext cx="4945025" cy="3448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06BCCB8C-B05D-410D-B51B-89557E0B2169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31600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 userDrawn="1">
          <p15:clr>
            <a:srgbClr val="A4A3A4"/>
          </p15:clr>
        </p15:guide>
        <p15:guide id="2" orient="horz" pos="1664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76601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1307625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642400"/>
            <a:ext cx="4945025" cy="3448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3BAC07B9-4960-42E3-BBDC-9687DC7FA517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19683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 userDrawn="1">
          <p15:clr>
            <a:srgbClr val="A4A3A4"/>
          </p15:clr>
        </p15:guide>
        <p15:guide id="2" orient="horz" pos="1664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6229474" y="0"/>
            <a:ext cx="5965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6229474" y="0"/>
            <a:ext cx="5965200" cy="3311912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76601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1307625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642400"/>
            <a:ext cx="4945025" cy="3448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6990564" y="766010"/>
            <a:ext cx="4433085" cy="1556459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 spc="0" baseline="0">
                <a:solidFill>
                  <a:srgbClr val="DAE9F8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6990564" y="2462594"/>
            <a:ext cx="4433085" cy="593718"/>
          </a:xfrm>
        </p:spPr>
        <p:txBody>
          <a:bodyPr lIns="0" rIns="0" bIns="0"/>
          <a:lstStyle>
            <a:lvl1pPr marL="0" indent="0" algn="ctr">
              <a:buNone/>
              <a:defRPr sz="1600" cap="all" baseline="0">
                <a:solidFill>
                  <a:srgbClr val="DAE9F8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90564" y="3560722"/>
            <a:ext cx="4433086" cy="2198615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90564" y="5854687"/>
            <a:ext cx="4441936" cy="234963"/>
          </a:xfrm>
        </p:spPr>
        <p:txBody>
          <a:bodyPr lIns="0" rIns="0"/>
          <a:lstStyle>
            <a:lvl1pPr marL="0" indent="0" algn="ctr">
              <a:buNone/>
              <a:defRPr sz="1600"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EF24424D-D640-4CDF-9F3E-86E16C7E85A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14725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03" userDrawn="1">
          <p15:clr>
            <a:srgbClr val="A4A3A4"/>
          </p15:clr>
        </p15:guide>
        <p15:guide id="2" orient="horz" pos="1664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6229474" y="0"/>
            <a:ext cx="5965200" cy="6861600"/>
          </a:xfrm>
          <a:prstGeom prst="rect">
            <a:avLst/>
          </a:prstGeom>
          <a:solidFill>
            <a:srgbClr val="F9F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6229474" y="0"/>
            <a:ext cx="5965200" cy="3311912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76601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1307625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642400"/>
            <a:ext cx="4945025" cy="3448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</a:p>
          <a:p>
            <a:pPr lvl="1"/>
            <a:r>
              <a:rPr lang="nb-NO" noProof="0" dirty="0"/>
              <a:t>Second level</a:t>
            </a:r>
          </a:p>
          <a:p>
            <a:pPr lvl="2"/>
            <a:r>
              <a:rPr lang="nb-NO" noProof="0" dirty="0"/>
              <a:t>Third level</a:t>
            </a:r>
          </a:p>
          <a:p>
            <a:pPr lvl="3"/>
            <a:r>
              <a:rPr lang="nb-NO" noProof="0" dirty="0"/>
              <a:t>Fourth level</a:t>
            </a:r>
          </a:p>
          <a:p>
            <a:pPr lvl="4"/>
            <a:r>
              <a:rPr lang="nb-NO" noProof="0" dirty="0"/>
              <a:t>Fifth level</a:t>
            </a:r>
          </a:p>
          <a:p>
            <a:pPr lvl="5"/>
            <a:r>
              <a:rPr lang="nb-NO" noProof="0" dirty="0"/>
              <a:t>6</a:t>
            </a:r>
          </a:p>
          <a:p>
            <a:pPr lvl="6"/>
            <a:r>
              <a:rPr lang="nb-NO" noProof="0" dirty="0"/>
              <a:t>7</a:t>
            </a:r>
          </a:p>
          <a:p>
            <a:pPr lvl="7"/>
            <a:r>
              <a:rPr lang="nb-NO" noProof="0" dirty="0"/>
              <a:t>8</a:t>
            </a:r>
          </a:p>
          <a:p>
            <a:pPr lvl="8"/>
            <a:r>
              <a:rPr lang="nb-NO" noProof="0" dirty="0"/>
              <a:t>9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564" y="766010"/>
            <a:ext cx="4433085" cy="1556459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 spc="0" baseline="0">
                <a:solidFill>
                  <a:srgbClr val="0D4065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90564" y="2462594"/>
            <a:ext cx="4433085" cy="593718"/>
          </a:xfrm>
        </p:spPr>
        <p:txBody>
          <a:bodyPr lIns="0" rIns="0" bIns="0"/>
          <a:lstStyle>
            <a:lvl1pPr marL="0" indent="0" algn="ctr">
              <a:buNone/>
              <a:defRPr sz="1600" cap="all" baseline="0">
                <a:solidFill>
                  <a:srgbClr val="0D4065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90564" y="3560722"/>
            <a:ext cx="4433086" cy="2198615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80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90564" y="5854687"/>
            <a:ext cx="4441936" cy="234963"/>
          </a:xfrm>
        </p:spPr>
        <p:txBody>
          <a:bodyPr lIns="0" rIns="0"/>
          <a:lstStyle>
            <a:lvl1pPr marL="0" indent="0" algn="ctr">
              <a:buNone/>
              <a:defRPr sz="1600" cap="all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2849ED71-FE90-4C05-B24F-7862BDFC26F1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1196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03" userDrawn="1">
          <p15:clr>
            <a:srgbClr val="A4A3A4"/>
          </p15:clr>
        </p15:guide>
        <p15:guide id="2" orient="horz" pos="1664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CEC3D5E-0181-4184-A118-C7DC3A40A8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4"/>
          </p:nvPr>
        </p:nvSpPr>
        <p:spPr/>
        <p:txBody>
          <a:bodyPr/>
          <a:lstStyle/>
          <a:p>
            <a:fld id="{DC7D0330-1F87-41BB-A702-12F77DFC365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3A1574-A4DD-4930-84CB-7B8C4CC112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AE843F-DAA0-4AA0-AC11-0D37090624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4738480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-120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599" y="2343150"/>
            <a:ext cx="10659600" cy="2103119"/>
          </a:xfrm>
        </p:spPr>
        <p:txBody>
          <a:bodyPr/>
          <a:lstStyle>
            <a:lvl1pPr algn="ctr">
              <a:lnSpc>
                <a:spcPct val="110000"/>
              </a:lnSpc>
              <a:defRPr sz="4000"/>
            </a:lvl1pPr>
          </a:lstStyle>
          <a:p>
            <a:r>
              <a:rPr lang="nb-NO" dirty="0"/>
              <a:t>Klikk for å sette inn sita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980" y="4876658"/>
            <a:ext cx="10664704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4399" y="5275381"/>
            <a:ext cx="10659599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8902" y="1671755"/>
            <a:ext cx="221345" cy="24031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fld id="{1AE0620B-6777-499D-9312-7ECA0CBC9846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034685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86C42A43-3154-47A4-B931-E3ABA449F5D4}"/>
              </a:ext>
            </a:extLst>
          </p:cNvPr>
          <p:cNvSpPr/>
          <p:nvPr userDrawn="1"/>
        </p:nvSpPr>
        <p:spPr>
          <a:xfrm>
            <a:off x="-3600" y="0"/>
            <a:ext cx="494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8587" y="2343150"/>
            <a:ext cx="4946612" cy="2103119"/>
          </a:xfrm>
        </p:spPr>
        <p:txBody>
          <a:bodyPr/>
          <a:lstStyle>
            <a:lvl1pPr algn="ctr">
              <a:lnSpc>
                <a:spcPct val="108000"/>
              </a:lnSpc>
              <a:defRPr sz="3000"/>
            </a:lvl1pPr>
          </a:lstStyle>
          <a:p>
            <a:r>
              <a:rPr lang="nb-NO" dirty="0"/>
              <a:t>Klikk for å sette inn sitat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F56CAA3-D495-4F90-81E4-A8C57B4EFD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799" y="1022362"/>
            <a:ext cx="4945026" cy="4813275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nb-NO" dirty="0"/>
              <a:t>Klikk for å sette inn bilde fra Templafy/Mediebank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8587" y="4652002"/>
            <a:ext cx="4945062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8587" y="5050725"/>
            <a:ext cx="4942695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8300" y="1740090"/>
            <a:ext cx="221345" cy="24031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>
                <a:solidFill>
                  <a:srgbClr val="EDE7DE"/>
                </a:solidFill>
              </a:rPr>
              <a:t>Advokatfirmaet Thommessen AS</a:t>
            </a:r>
            <a:r>
              <a:rPr lang="nb-NO" noProof="1"/>
              <a:t>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fld id="{2E589E2C-F396-413B-8ADC-6FBFF866C90A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140508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18C0D84B-CCEA-4DFB-A01F-25699BD71E6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66762" y="766763"/>
            <a:ext cx="10656887" cy="5322887"/>
          </a:xfrm>
        </p:spPr>
        <p:txBody>
          <a:bodyPr anchor="ctr" anchorCtr="0"/>
          <a:lstStyle>
            <a:lvl1pPr algn="ctr">
              <a:lnSpc>
                <a:spcPct val="108000"/>
              </a:lnSpc>
              <a:defRPr sz="5000" cap="none" baseline="0">
                <a:solidFill>
                  <a:srgbClr val="EDE7DE"/>
                </a:solidFill>
              </a:defRPr>
            </a:lvl1pPr>
          </a:lstStyle>
          <a:p>
            <a:r>
              <a:rPr lang="nb-NO" dirty="0"/>
              <a:t>Klikk for å sette inn utsagn</a:t>
            </a:r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7086861A-ADD7-40DC-812C-82A5731B5C7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D1EE6B75-4A37-4496-8081-5B1A6DBF4EF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0C17F2C-D372-48C4-8D56-D41FE9375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CC79E04-34E1-4037-B1A9-4D4E32F9B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5600743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One) man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27A254C-4840-456A-AD28-880E7E306F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55533" y="1792066"/>
            <a:ext cx="6868116" cy="190511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800" kern="1200" cap="all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992807"/>
            <a:ext cx="6868115" cy="857606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90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54A5DDC1-3FDC-4572-AA55-01DB7B73B4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950" y="3376800"/>
            <a:ext cx="6868800" cy="193943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800" kern="1200" cap="all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Akserfaring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3573367"/>
            <a:ext cx="6870700" cy="855075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90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CCDE5864-3BE9-4701-8768-BFCB95833B1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6763" y="3376798"/>
            <a:ext cx="3527425" cy="2712851"/>
          </a:xfrm>
          <a:solidFill>
            <a:srgbClr val="F9F8F7"/>
          </a:solidFill>
        </p:spPr>
        <p:txBody>
          <a:bodyPr lIns="72000" tIns="72000" rIns="72000" bIns="72000" anchor="t" anchorCtr="0"/>
          <a:lstStyle>
            <a:lvl1pPr marL="0" indent="0" algn="l" defTabSz="7200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540000" algn="l"/>
              </a:tabLst>
              <a:defRPr lang="nb-NO" sz="1000" kern="1200" cap="none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overskrift "Siste utmerkelser"/"Latest awards" .Kopier inn kåringer UFORMATERT fra CV-side på web under "Utmerkelser". Bruk TAB mellom årstall og tekst, og hengende innrykk på tekst.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81BE892E-A8E2-4DCA-AB31-9C63CBE06F25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695691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 userDrawn="1">
          <p15:clr>
            <a:srgbClr val="A4A3A4"/>
          </p15:clr>
        </p15:guide>
        <p15:guide id="2" pos="2705" userDrawn="1">
          <p15:clr>
            <a:srgbClr val="A4A3A4"/>
          </p15:clr>
        </p15:guide>
        <p15:guide id="3" orient="horz" pos="1127" userDrawn="1">
          <p15:clr>
            <a:srgbClr val="A4A3A4"/>
          </p15:clr>
        </p15:guide>
        <p15:guide id="5" pos="623" userDrawn="1">
          <p15:clr>
            <a:srgbClr val="A4A3A4"/>
          </p15:clr>
        </p15:guide>
        <p15:guide id="6" orient="horz" pos="2127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Tw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4147566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982779"/>
            <a:ext cx="6868115" cy="857606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90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4A5DDC1-3FDC-4572-AA55-01DB7B73B4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950" y="4146550"/>
            <a:ext cx="6868800" cy="193943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80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RKVELS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4343117"/>
            <a:ext cx="6870700" cy="855075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90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27A254C-4840-456A-AD28-880E7E306F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55533" y="1782038"/>
            <a:ext cx="6868116" cy="190511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800" kern="1200" cap="all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RKVELS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60BE88AA-4719-4860-8E21-546BF809A6D7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027807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 userDrawn="1">
          <p15:clr>
            <a:srgbClr val="A4A3A4"/>
          </p15:clr>
        </p15:guide>
        <p15:guide id="2" pos="2705" userDrawn="1">
          <p15:clr>
            <a:srgbClr val="A4A3A4"/>
          </p15:clr>
        </p15:guide>
        <p15:guide id="3" orient="horz" pos="1127" userDrawn="1">
          <p15:clr>
            <a:srgbClr val="A4A3A4"/>
          </p15:clr>
        </p15:guide>
        <p15:guide id="4" orient="horz" pos="2612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DD0DC85F-BB25-4040-B10F-1BA04C79FE6D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</a:p>
        </p:txBody>
      </p:sp>
    </p:spTree>
    <p:extLst>
      <p:ext uri="{BB962C8B-B14F-4D97-AF65-F5344CB8AC3E}">
        <p14:creationId xmlns:p14="http://schemas.microsoft.com/office/powerpoint/2010/main" val="15395887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F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2721113"/>
            <a:ext cx="3527998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90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3740400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962B11D-2397-4848-946B-56699BED20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763" y="5234400"/>
            <a:ext cx="3527998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90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90800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CAFC9C2-6FDA-4957-A7BB-6DB3FCF10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9026" y="2721113"/>
            <a:ext cx="3528000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90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0800" y="37404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9026" y="5234400"/>
            <a:ext cx="3528000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90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30728DFE-0041-425D-8094-2DCA1EFCF2E0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890963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5" userDrawn="1">
          <p15:clr>
            <a:srgbClr val="A4A3A4"/>
          </p15:clr>
        </p15:guide>
        <p15:guide id="2" pos="6311" userDrawn="1">
          <p15:clr>
            <a:srgbClr val="A4A3A4"/>
          </p15:clr>
        </p15:guide>
        <p15:guide id="3" orient="horz" pos="771" userDrawn="1">
          <p15:clr>
            <a:srgbClr val="A4A3A4"/>
          </p15:clr>
        </p15:guide>
        <p15:guide id="4" orient="horz" pos="1714" userDrawn="1">
          <p15:clr>
            <a:srgbClr val="A4A3A4"/>
          </p15:clr>
        </p15:guide>
        <p15:guide id="5" orient="horz" pos="2356" userDrawn="1">
          <p15:clr>
            <a:srgbClr val="A4A3A4"/>
          </p15:clr>
        </p15:guide>
        <p15:guide id="6" orient="horz" pos="3297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Six) 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534122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1722" y="1533600"/>
            <a:ext cx="1280103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75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8A600C7-0E6A-4001-A31A-953A73467A1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1722" y="3003227"/>
            <a:ext cx="1280103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75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6AACA1E4-2248-4999-A333-81797CE8E7DC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66764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1C39D92C-28FC-4762-9888-B617EECFBF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1722" y="4475397"/>
            <a:ext cx="1280102" cy="1308011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75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70706" y="15336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43600" y="1533600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75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13762D0C-AD12-49EE-83FE-611C77B1368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177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DE1B8178-7ED1-4ED5-B864-78FCF1C8CE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43600" y="3003227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75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80177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4" name="Text Placeholder 7">
            <a:extLst>
              <a:ext uri="{FF2B5EF4-FFF2-40B4-BE49-F238E27FC236}">
                <a16:creationId xmlns:a16="http://schemas.microsoft.com/office/drawing/2014/main" id="{AD65D34E-7F3E-4A41-B480-1576ABC1F8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143600" y="4475397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750" kern="1200" spc="0" baseline="0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269D1CDC-2377-4B58-A8FF-C87E8AAC8078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18290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1" userDrawn="1">
          <p15:clr>
            <a:srgbClr val="A4A3A4"/>
          </p15:clr>
        </p15:guide>
        <p15:guide id="2" pos="6390" userDrawn="1">
          <p15:clr>
            <a:srgbClr val="A4A3A4"/>
          </p15:clr>
        </p15:guide>
        <p15:guide id="3" pos="6297" userDrawn="1">
          <p15:clr>
            <a:srgbClr val="A4A3A4"/>
          </p15:clr>
        </p15:guide>
        <p15:guide id="4" pos="2705" userDrawn="1">
          <p15:clr>
            <a:srgbClr val="A4A3A4"/>
          </p15:clr>
        </p15:guide>
        <p15:guide id="5" orient="horz" pos="966" userDrawn="1">
          <p15:clr>
            <a:srgbClr val="A4A3A4"/>
          </p15:clr>
        </p15:guide>
        <p15:guide id="6" orient="horz" pos="1891" userDrawn="1">
          <p15:clr>
            <a:srgbClr val="A4A3A4"/>
          </p15:clr>
        </p15:guide>
        <p15:guide id="7" orient="horz" pos="2818" userDrawn="1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18D541EB-4676-4D77-833D-5C1DE078FBF9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91072BF6-F66D-4530-9033-8CC798C50A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5648" y="2580416"/>
            <a:ext cx="3852584" cy="45808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329587F-F816-4B15-9571-7C985297C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6800" y="3267521"/>
            <a:ext cx="10656850" cy="1224000"/>
          </a:xfrm>
        </p:spPr>
        <p:txBody>
          <a:bodyPr anchor="t" anchorCtr="0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500" b="0" kern="1200" baseline="0" dirty="0">
                <a:solidFill>
                  <a:srgbClr val="F9F8F7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5C7845E-589C-469A-AD5A-DD686CFF635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35590DA4-8908-4012-953C-AC0D4407F0E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5C03E47-23E0-4296-90AE-0D8D5F82072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3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57EFA0E3-CCA8-4005-A6F7-3BC8CB8BEB2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3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8236969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ntact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FF95D769-541B-4E86-9575-6188DA0071C5}"/>
              </a:ext>
            </a:extLst>
          </p:cNvPr>
          <p:cNvSpPr/>
          <p:nvPr userDrawn="1"/>
        </p:nvSpPr>
        <p:spPr>
          <a:xfrm>
            <a:off x="-3600" y="0"/>
            <a:ext cx="7131600" cy="68580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766763"/>
            <a:ext cx="4945025" cy="2510441"/>
          </a:xfrm>
        </p:spPr>
        <p:txBody>
          <a:bodyPr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5000" b="0" kern="1200" baseline="0" dirty="0">
                <a:solidFill>
                  <a:srgbClr val="0D4065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B262DCB-7E95-45C4-81BD-C9B32339E7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895650" y="1775111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A13E447-6B91-4BE0-9D6B-AEFE8AAD581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895650" y="3942759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175BC7-2091-4CB0-B6C7-6208EBE77A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3" y="3450516"/>
            <a:ext cx="4945062" cy="263913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 spc="0" baseline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2pPr>
            <a:lvl3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3pPr>
            <a:lvl4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4pPr>
            <a:lvl5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5pPr>
          </a:lstStyle>
          <a:p>
            <a:pPr lvl="0"/>
            <a:r>
              <a:rPr lang="nb-NO" dirty="0"/>
              <a:t>Sett inn tekst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2C39C7-7332-44F2-B7B6-E047525B173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6"/>
          </p:nvPr>
        </p:nvSpPr>
        <p:spPr/>
        <p:txBody>
          <a:bodyPr/>
          <a:lstStyle/>
          <a:p>
            <a:fld id="{9A0D259A-9B72-447D-B07F-66552C4F3573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67DBB8-EB7F-4E23-B19C-8BAA68AC99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7F1F33-6910-4101-8AD6-C11D6128C9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992848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 userDrawn="1">
          <p15:clr>
            <a:srgbClr val="A4A3A4"/>
          </p15:clr>
        </p15:guide>
        <p15:guide id="4" orient="horz" pos="2483" userDrawn="1">
          <p15:clr>
            <a:srgbClr val="A4A3A4"/>
          </p15:clr>
        </p15:guide>
        <p15:guide id="5" pos="4973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1493850"/>
            <a:ext cx="2700000" cy="4724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PICTURES</a:t>
            </a:r>
            <a:br>
              <a:rPr lang="nb-NO" sz="900" dirty="0">
                <a:latin typeface="+mn-lt"/>
                <a:cs typeface="Arial" panose="020B0604020202020204" pitchFamily="34" charset="0"/>
              </a:rPr>
            </a:br>
            <a:r>
              <a:rPr lang="nb-NO" sz="900" b="0" noProof="1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sert corporate picture from Templafy</a:t>
            </a:r>
            <a:endParaRPr lang="nb-NO" altLang="da-DK" sz="900" b="0" noProof="1">
              <a:solidFill>
                <a:schemeClr val="tx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nb-NO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click on the icon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GUIDES</a:t>
            </a:r>
            <a:endParaRPr lang="nb-NO" sz="1200" b="1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nb-NO" sz="900" b="0" i="0" dirty="0">
                <a:solidFill>
                  <a:srgbClr val="333333"/>
                </a:solidFill>
                <a:effectLst/>
                <a:latin typeface="Open Sans"/>
              </a:rPr>
              <a:t>⌘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131600" y="174274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173362" y="370384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800" y="1493850"/>
            <a:ext cx="2700000" cy="458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spc="7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nb-NO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766763" y="780169"/>
            <a:ext cx="10656887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b-NO" sz="24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92821" y="204916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0DA2EBD-877F-44C5-82B6-41693A235953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131861" y="298547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2821" y="518776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8288" y="1493850"/>
            <a:ext cx="2448000" cy="372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TEXT STYLES</a:t>
            </a:r>
            <a:endParaRPr lang="nb-NO" altLang="da-DK" sz="1200" b="0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nb-NO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nb-NO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nb-NO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LAYOUTS</a:t>
            </a:r>
            <a:endParaRPr lang="nb-NO" sz="1600" spc="70" baseline="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endParaRPr lang="nb-NO" sz="900" dirty="0">
              <a:latin typeface="+mn-lt"/>
              <a:ea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1263" y="484329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71263" y="402629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73961" y="329314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71263" y="2581850"/>
            <a:ext cx="457143" cy="2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black">
          <a:xfrm>
            <a:off x="0" y="0"/>
            <a:ext cx="12192000" cy="68616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nb-NO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4400" b="0" noProof="0" dirty="0">
                <a:solidFill>
                  <a:schemeClr val="bg1"/>
                </a:solidFill>
              </a:rPr>
              <a:t>If you see any </a:t>
            </a:r>
            <a:r>
              <a:rPr lang="nb-NO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nb-NO" sz="4400" b="0" i="0" noProof="0" dirty="0">
                <a:solidFill>
                  <a:schemeClr val="bg1"/>
                </a:solidFill>
              </a:rPr>
              <a:t>one</a:t>
            </a:r>
            <a:r>
              <a:rPr lang="nb-NO" sz="4400" b="1" i="1" noProof="0" dirty="0">
                <a:solidFill>
                  <a:schemeClr val="bg1"/>
                </a:solidFill>
              </a:rPr>
              <a:t>,</a:t>
            </a:r>
            <a:br>
              <a:rPr lang="nb-NO" sz="4400" b="0" i="0" noProof="0" dirty="0">
                <a:solidFill>
                  <a:schemeClr val="bg1"/>
                </a:solidFill>
              </a:rPr>
            </a:br>
            <a:r>
              <a:rPr lang="nb-NO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nb-NO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nb-NO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nb-NO" sz="2800" b="0" noProof="0" dirty="0">
                <a:solidFill>
                  <a:schemeClr val="bg1"/>
                </a:solidFill>
              </a:rPr>
            </a:br>
            <a:br>
              <a:rPr lang="nb-NO" sz="2800" b="0" noProof="0" dirty="0">
                <a:solidFill>
                  <a:schemeClr val="bg1"/>
                </a:solidFill>
              </a:rPr>
            </a:br>
            <a:endParaRPr lang="nb-NO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5000" b="1" i="1" noProof="0" dirty="0">
                <a:solidFill>
                  <a:schemeClr val="bg1"/>
                </a:solidFill>
              </a:rPr>
              <a:t>Do not use </a:t>
            </a:r>
            <a:endParaRPr lang="nb-NO" sz="150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346434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nb-NO" sz="1800" b="0" noProof="0" dirty="0">
                <a:solidFill>
                  <a:schemeClr val="bg1"/>
                </a:solidFill>
              </a:rPr>
            </a:br>
            <a:endParaRPr lang="nb-NO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DFB3EB5-7AE3-4E19-83E4-28A448DF1A47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hommess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EDE7DE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white"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solidFill>
                  <a:srgbClr val="EDE7D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  <a:endParaRPr lang="nb-NO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EDE7D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012AD7BD-45B1-4944-B364-E91707CACEB4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134334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81AECF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  <a:endParaRPr lang="nb-NO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AAF4829F-2929-4B8F-A0CB-AE3084474760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91482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Thommesse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14401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CDE1D0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180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white"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CDE1D0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solidFill>
                  <a:srgbClr val="CDE1D0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solidFill>
                  <a:srgbClr val="CDE1D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rgbClr val="CDE1D0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  <a:endParaRPr lang="nb-NO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CDE1D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CD6B5E19-B0E3-4844-8CF2-C3778B7C10AD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6B6FE69-4045-4305-BB52-1BA390BBD1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41136" y="5187600"/>
            <a:ext cx="2528452" cy="29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5160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  <a:endParaRPr lang="nb-NO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94C3E74F-BFA3-4995-A27B-E26FCE39164F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01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0A18A27A-9AB2-4A09-BD2D-AA412ADF80C4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4FFCE1D-578D-455E-B8FA-BEA46081BE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1380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  <a:endParaRPr lang="nb-NO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6046F567-434A-4FE0-A4CD-A118C0608B8D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  <a:endParaRPr lang="nb-NO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4FFCE1D-578D-455E-B8FA-BEA46081BE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5620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pic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CDE1D0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solidFill>
                  <a:srgbClr val="CDE1D0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solidFill>
                  <a:srgbClr val="CDE1D0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rgbClr val="CDE1D0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  <a:endParaRPr lang="nb-NO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CDE1D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CDED3490-7DFA-4210-90B5-B4F3E29E7F3F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Sett inn bilde fra Templafy/Mediebank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4FFCE1D-578D-455E-B8FA-BEA46081BE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225969" y="6230538"/>
            <a:ext cx="2119388" cy="247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4481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EDE7DE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C6DC814D-91C7-4E60-9CD5-82DB82C4C276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8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829874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934B646B-6A23-4B1E-A297-340F2DEE9EB5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05225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EC09568E-8A78-4A5B-98F3-D9252A898D74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058368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eaker Pic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solidFill>
                  <a:srgbClr val="CDE1D0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CDE1D0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FFE23571-D309-4DC8-901F-632F116E6589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1F4533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597936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6" name="Background">
            <a:extLst>
              <a:ext uri="{FF2B5EF4-FFF2-40B4-BE49-F238E27FC236}">
                <a16:creationId xmlns:a16="http://schemas.microsoft.com/office/drawing/2014/main" id="{C8ABAC56-4FB8-4BBE-BF07-3C1A2B53E016}"/>
              </a:ext>
            </a:extLst>
          </p:cNvPr>
          <p:cNvSpPr/>
          <p:nvPr userDrawn="1"/>
        </p:nvSpPr>
        <p:spPr>
          <a:xfrm>
            <a:off x="8866800" y="0"/>
            <a:ext cx="332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83A41F11-0393-40B1-B678-188E5C99FF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4942239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4945025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70C8DDA8-8AF3-4EC5-90DF-91B01B963F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  <a:endParaRPr lang="nb-NO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8A5102C3-478C-4B75-87C8-3400329B689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fld id="{60DAF62A-F296-4161-942F-1AD9BFB02060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2631A6-BF10-47BB-A9CC-EE722CD6220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10DE46-7A29-47ED-83FB-AD426DDF0D7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>
                <a:solidFill>
                  <a:schemeClr val="accent4"/>
                </a:solidFill>
              </a:rPr>
              <a:pPr>
                <a:tabLst>
                  <a:tab pos="10659600" algn="r"/>
                </a:tabLst>
              </a:pPr>
              <a:t>‹#›</a:t>
            </a:fld>
            <a:endParaRPr lang="nb-NO" noProof="1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63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with pic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6" name="Background">
            <a:extLst>
              <a:ext uri="{FF2B5EF4-FFF2-40B4-BE49-F238E27FC236}">
                <a16:creationId xmlns:a16="http://schemas.microsoft.com/office/drawing/2014/main" id="{C8ABAC56-4FB8-4BBE-BF07-3C1A2B53E016}"/>
              </a:ext>
            </a:extLst>
          </p:cNvPr>
          <p:cNvSpPr/>
          <p:nvPr userDrawn="1"/>
        </p:nvSpPr>
        <p:spPr>
          <a:xfrm>
            <a:off x="8866800" y="0"/>
            <a:ext cx="33264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83A41F11-0393-40B1-B678-188E5C99FF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4942239" cy="327600"/>
          </a:xfrm>
        </p:spPr>
        <p:txBody>
          <a:bodyPr tIns="0"/>
          <a:lstStyle>
            <a:lvl1pPr>
              <a:defRPr sz="2000" baseline="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4945025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1F4533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rgbClr val="1F4533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1F4533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1F4533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1F4533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1F4533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rgbClr val="1F4533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1F4533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1F4533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70C8DDA8-8AF3-4EC5-90DF-91B01B963F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Sett inn bilde fra Templafy/Mediebank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8A5102C3-478C-4B75-87C8-3400329B689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fld id="{6C2B395D-C9E6-479D-8194-1EA236F5BEAF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2631A6-BF10-47BB-A9CC-EE722CD6220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10DE46-7A29-47ED-83FB-AD426DDF0D7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234471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F60E1D64-4C6B-487D-B9DB-12AB6C18E6C2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52E326F-B483-4C19-B8A2-1462956B4B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22AF8EB-2B57-4D29-957D-27FD942217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DEDCB01-9FEF-4286-9C1B-3721E755E7B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62"/>
          </p:nvPr>
        </p:nvSpPr>
        <p:spPr/>
        <p:txBody>
          <a:bodyPr/>
          <a:lstStyle/>
          <a:p>
            <a:fld id="{DC9F6EDF-1628-4664-A0C5-D906F8E8BA8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0B2387-AE94-424F-B8C1-1FE12CD3A7BE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35C9BA-35DF-41F4-947A-47B8905846FF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221244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 Sn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D494524-1653-4357-8F5F-EEF4605269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D4763D3-18D1-4EB8-8BCD-2CC7B57B2E2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fld id="{6A980A31-A6B8-4F88-B083-7FD43F9C838D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60C88E-4AFE-4F58-A048-1F5C150D2ABC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00B9CA-BDAC-4E13-BB19-E7F9F443B688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355337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EDE7DE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B1D0FCAD-2E72-43FF-8F28-2ABFE1EA50F4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8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810822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Tex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D494524-1653-4357-8F5F-EEF4605269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327600"/>
          </a:xfrm>
        </p:spPr>
        <p:txBody>
          <a:bodyPr tIns="0"/>
          <a:lstStyle>
            <a:lvl1pPr>
              <a:defRPr sz="2000" baseline="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1F4533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>
                <a:solidFill>
                  <a:srgbClr val="1F4533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1F4533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1F4533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1F4533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1F4533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spc="50" baseline="0">
                <a:solidFill>
                  <a:srgbClr val="1F4533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1F4533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1F4533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D4763D3-18D1-4EB8-8BCD-2CC7B57B2E2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fld id="{AF40E187-34F6-4904-9184-0107CC16DFA9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60C88E-4AFE-4F58-A048-1F5C150D2ABC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00B9CA-BDAC-4E13-BB19-E7F9F443B688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138392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686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10659600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defRPr>
                <a:solidFill>
                  <a:srgbClr val="0D4065"/>
                </a:solidFill>
              </a:defRPr>
            </a:lvl8pPr>
            <a:lvl9pPr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Andre nivå</a:t>
            </a:r>
            <a:endParaRPr lang="nb-NO"/>
          </a:p>
          <a:p>
            <a:pPr lvl="2"/>
            <a:r>
              <a:rPr lang="nb-NO" dirty="0"/>
              <a:t>Tredje nivå</a:t>
            </a:r>
            <a:endParaRPr lang="nb-NO"/>
          </a:p>
          <a:p>
            <a:pPr lvl="3"/>
            <a:r>
              <a:rPr lang="nb-NO" dirty="0"/>
              <a:t>Fjerde nivå</a:t>
            </a:r>
            <a:endParaRPr lang="nb-NO"/>
          </a:p>
          <a:p>
            <a:pPr lvl="4"/>
            <a:r>
              <a:rPr lang="nb-NO" dirty="0"/>
              <a:t>Femte nivå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C0D138A3-808A-4981-B95E-5B0A7BEFAE34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8B25C58-3F75-43F4-A5DB-2935992A3E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396855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>
            <a:extLst>
              <a:ext uri="{FF2B5EF4-FFF2-40B4-BE49-F238E27FC236}">
                <a16:creationId xmlns:a16="http://schemas.microsoft.com/office/drawing/2014/main" id="{D8B98C7D-C3F2-43E5-A9EE-BD514B0FC7B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63D9972-5495-41D0-B9D8-64949ED52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42AEF0C-22EC-413B-B75F-78A37B9886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2310448"/>
            <a:ext cx="4945062" cy="3779202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lang="en-GB" sz="1600" dirty="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4257157-A5A3-4538-B1A3-F1805141E2F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80176" y="2310448"/>
            <a:ext cx="4943473" cy="3779202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GB" sz="1600" dirty="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B4120F7-DEF4-41C3-8522-11B183EC36E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9"/>
          </p:nvPr>
        </p:nvSpPr>
        <p:spPr/>
        <p:txBody>
          <a:bodyPr/>
          <a:lstStyle/>
          <a:p>
            <a:fld id="{2B226881-39FF-47AA-B648-95BE079D3D4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179864-C9DD-4F31-A9F6-7C5A4D07CAE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5E22F5-6F3C-4F95-A3DC-FE073C4FD4D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128459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olo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55459FDF-0BD9-49CD-89AE-6D26E024724E}"/>
              </a:ext>
            </a:extLst>
          </p:cNvPr>
          <p:cNvSpPr/>
          <p:nvPr userDrawn="1"/>
        </p:nvSpPr>
        <p:spPr>
          <a:xfrm>
            <a:off x="8607600" y="0"/>
            <a:ext cx="35856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799" y="436860"/>
            <a:ext cx="7073863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99" y="977680"/>
            <a:ext cx="7073863" cy="111828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7073862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defRPr>
                <a:solidFill>
                  <a:srgbClr val="0D4065"/>
                </a:solidFill>
              </a:defRPr>
            </a:lvl8pPr>
            <a:lvl9pPr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Andre nivå</a:t>
            </a:r>
            <a:endParaRPr lang="nb-NO"/>
          </a:p>
          <a:p>
            <a:pPr lvl="2"/>
            <a:r>
              <a:rPr lang="nb-NO" dirty="0"/>
              <a:t>Tredje nivå</a:t>
            </a:r>
            <a:endParaRPr lang="nb-NO"/>
          </a:p>
          <a:p>
            <a:pPr lvl="3"/>
            <a:r>
              <a:rPr lang="nb-NO" dirty="0"/>
              <a:t>Fjerde nivå</a:t>
            </a:r>
            <a:endParaRPr lang="nb-NO"/>
          </a:p>
          <a:p>
            <a:pPr lvl="4"/>
            <a:r>
              <a:rPr lang="nb-NO" dirty="0"/>
              <a:t>Femte nivå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2731A120-1381-40D1-A016-9D13B8C7719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8B25C58-3F75-43F4-A5DB-2935992A3E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D2E90EC-B585-46AD-A9D2-33D58672E03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75949" y="2310448"/>
            <a:ext cx="2047700" cy="3779202"/>
          </a:xfrm>
        </p:spPr>
        <p:txBody>
          <a:bodyPr vert="horz" lIns="0" tIns="0" rIns="0" bIns="0" rtlCol="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2000" dirty="0">
                <a:solidFill>
                  <a:srgbClr val="0D4065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0D4065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1904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326">
          <p15:clr>
            <a:srgbClr val="A4A3A4"/>
          </p15:clr>
        </p15:guide>
        <p15:guide id="4" pos="4939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color righ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55459FDF-0BD9-49CD-89AE-6D26E024724E}"/>
              </a:ext>
            </a:extLst>
          </p:cNvPr>
          <p:cNvSpPr/>
          <p:nvPr userDrawn="1"/>
        </p:nvSpPr>
        <p:spPr>
          <a:xfrm>
            <a:off x="8607600" y="0"/>
            <a:ext cx="35856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799" y="436860"/>
            <a:ext cx="7073863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99" y="977680"/>
            <a:ext cx="7073863" cy="1118288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7073862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defRPr>
                <a:solidFill>
                  <a:srgbClr val="0D4065"/>
                </a:solidFill>
              </a:defRPr>
            </a:lvl8pPr>
            <a:lvl9pPr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  <a:endParaRPr lang="nb-NO"/>
          </a:p>
          <a:p>
            <a:pPr lvl="1"/>
            <a:r>
              <a:rPr lang="nb-NO" dirty="0"/>
              <a:t>Andre nivå</a:t>
            </a:r>
            <a:endParaRPr lang="nb-NO"/>
          </a:p>
          <a:p>
            <a:pPr lvl="2"/>
            <a:r>
              <a:rPr lang="nb-NO" dirty="0"/>
              <a:t>Tredje nivå</a:t>
            </a:r>
            <a:endParaRPr lang="nb-NO"/>
          </a:p>
          <a:p>
            <a:pPr lvl="3"/>
            <a:r>
              <a:rPr lang="nb-NO" dirty="0"/>
              <a:t>Fjerde nivå</a:t>
            </a:r>
            <a:endParaRPr lang="nb-NO"/>
          </a:p>
          <a:p>
            <a:pPr lvl="4"/>
            <a:r>
              <a:rPr lang="nb-NO" dirty="0"/>
              <a:t>Femte nivå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3F476B51-1297-4795-883D-F8454DB5408C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8B25C58-3F75-43F4-A5DB-2935992A3E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3D2E90EC-B585-46AD-A9D2-33D58672E032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75949" y="2310448"/>
            <a:ext cx="2047700" cy="3779202"/>
          </a:xfrm>
        </p:spPr>
        <p:txBody>
          <a:bodyPr vert="horz" lIns="0" tIns="0" rIns="0" bIns="0" rtlCol="0" anchor="t">
            <a:noAutofit/>
          </a:bodyPr>
          <a:lstStyle>
            <a:lvl1pPr marL="0" indent="0" algn="ctr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lang="en-GB" sz="2000" dirty="0">
                <a:solidFill>
                  <a:srgbClr val="1F4533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1F4533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400" dirty="0">
                <a:solidFill>
                  <a:srgbClr val="1F4533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1F4533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lang="en-GB" sz="1200" dirty="0">
                <a:solidFill>
                  <a:srgbClr val="1F4533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08598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326">
          <p15:clr>
            <a:srgbClr val="A4A3A4"/>
          </p15:clr>
        </p15:guide>
        <p15:guide id="4" pos="4939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>
            <a:extLst>
              <a:ext uri="{FF2B5EF4-FFF2-40B4-BE49-F238E27FC236}">
                <a16:creationId xmlns:a16="http://schemas.microsoft.com/office/drawing/2014/main" id="{075B19B2-D2E5-4FC7-990F-41BE900C7C9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AAB13FA-F506-42DD-9BED-12D0CC873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 noProof="0" dirty="0"/>
              <a:t>Klikk for å sette inn tittel</a:t>
            </a:r>
            <a:endParaRPr lang="nb-NO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520EC5DF-5302-4D19-A0B6-5CECA13917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24DE0EF6-375B-4491-AB72-461B2D6F2102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27A7C0-69B5-46FA-9874-F1604563551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C2EE2AD-CDD0-4CFB-A349-B4F3FB82CF8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72626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Foo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2E7A7CF3-7209-4D76-BC1D-5B8E6034B4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111BBDFE-B539-4A88-83F5-3943C7EC867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82783D-4458-456A-B2FD-1B2E9AB8B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17FA11-67F2-45F9-8BB1-154B864625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126012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5318E54-A7C0-43F8-8747-5AE35BED7D2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57168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  <a:endParaRPr lang="nb-NO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936644A-32CA-43AB-BDA9-AAD9D01700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478589" y="435600"/>
            <a:ext cx="4946612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78588" y="979200"/>
            <a:ext cx="4946612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78588" y="2311200"/>
            <a:ext cx="4946612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2" name="Date Placeholder 31" hidden="1">
            <a:extLst>
              <a:ext uri="{FF2B5EF4-FFF2-40B4-BE49-F238E27FC236}">
                <a16:creationId xmlns:a16="http://schemas.microsoft.com/office/drawing/2014/main" id="{34A5A879-CCD3-4C70-A0C4-B662FB8F119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D327D85D-64DB-43C1-A443-6C2E7AE7F6E3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B22B0618-ACC9-441F-BABE-AB31171E14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2DF19756-068E-496E-8AC3-C107F2D18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8415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78587" y="0"/>
            <a:ext cx="5713413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  <a:endParaRPr lang="nb-NO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680412C3-481A-4BB1-98CE-BBF55A3B89B5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7036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, Picture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1"/>
          <p:cNvSpPr>
            <a:spLocks noGrp="1"/>
          </p:cNvSpPr>
          <p:nvPr>
            <p:ph type="pic" sz="quarter" idx="19" hasCustomPrompt="1"/>
          </p:nvPr>
        </p:nvSpPr>
        <p:spPr>
          <a:xfrm>
            <a:off x="8607600" y="0"/>
            <a:ext cx="3585600" cy="6861600"/>
          </a:xfrm>
          <a:noFill/>
        </p:spPr>
        <p:txBody>
          <a:bodyPr lIns="0" tIns="72000" rIns="0" b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6EC6D9C-EAC1-4116-8C17-46FE681CFEB8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70740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  <a:endParaRPr lang="nb-NO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D990196-F3FD-4433-A3D0-1E1F2F4F1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7074000" cy="11196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  <a:endParaRPr lang="nb-NO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39B207EB-87A6-4C3E-B1E6-FE118EA0E5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4" y="2311200"/>
            <a:ext cx="7073899" cy="3778450"/>
          </a:xfrm>
        </p:spPr>
        <p:txBody>
          <a:bodyPr vert="horz" lIns="0" tIns="0" rIns="0" bIns="720000" rtlCol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GB" dirty="0"/>
            </a:lvl1pPr>
            <a:lvl2pPr>
              <a:lnSpc>
                <a:spcPct val="100000"/>
              </a:lnSpc>
              <a:spcAft>
                <a:spcPts val="0"/>
              </a:spcAft>
              <a:defRPr lang="en-GB" dirty="0"/>
            </a:lvl2pPr>
            <a:lvl3pPr>
              <a:lnSpc>
                <a:spcPct val="100000"/>
              </a:lnSpc>
              <a:spcAft>
                <a:spcPts val="0"/>
              </a:spcAft>
              <a:defRPr lang="en-GB" dirty="0"/>
            </a:lvl3pPr>
            <a:lvl4pPr>
              <a:lnSpc>
                <a:spcPct val="100000"/>
              </a:lnSpc>
              <a:spcAft>
                <a:spcPts val="600"/>
              </a:spcAft>
              <a:defRPr lang="en-GB" dirty="0"/>
            </a:lvl4pPr>
            <a:lvl5pPr>
              <a:lnSpc>
                <a:spcPct val="100000"/>
              </a:lnSpc>
              <a:spcAft>
                <a:spcPts val="600"/>
              </a:spcAft>
              <a:defRPr lang="en-GB" dirty="0"/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  <a:endParaRPr lang="nb-NO"/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  <a:endParaRPr lang="nb-NO"/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  <a:endParaRPr lang="nb-NO"/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  <a:endParaRPr lang="nb-NO"/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  <a:endParaRPr lang="nb-NO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73A3E0D-DDD7-4028-A069-0832D2B8481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0"/>
          </p:nvPr>
        </p:nvSpPr>
        <p:spPr/>
        <p:txBody>
          <a:bodyPr/>
          <a:lstStyle/>
          <a:p>
            <a:fld id="{6F0BAF0B-0C36-48B1-80DF-8029ECB7DA23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7327AE0-8CD6-4FCB-9097-B4AD857310A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8D30456-73E6-4998-88E5-652EF966299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130052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422">
          <p15:clr>
            <a:srgbClr val="A4A3A4"/>
          </p15:clr>
        </p15:guide>
        <p15:guide id="3" pos="4939">
          <p15:clr>
            <a:srgbClr val="A4A3A4"/>
          </p15:clr>
        </p15:guide>
        <p15:guide id="4" orient="horz" pos="1455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5B798B31-139E-41C4-81F2-025F16071D5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26054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Picture n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3601" y="0"/>
            <a:ext cx="35856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  <a:endParaRPr lang="nb-NO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349654" y="435600"/>
            <a:ext cx="7073996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653" y="979200"/>
            <a:ext cx="7073996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Klikk for å sette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49653" y="2311200"/>
            <a:ext cx="7073996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DD50389-31D4-4487-A59F-DA9B12AED3B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7E44A57D-B4DB-4B5F-93EF-E2AEA60F1B66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3EA2083-0944-4A14-B5BC-561F0B31951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98A352-2006-44E0-A34B-1B361A9E39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743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9">
          <p15:clr>
            <a:srgbClr val="A4A3A4"/>
          </p15:clr>
        </p15:guide>
        <p15:guide id="2" pos="2256">
          <p15:clr>
            <a:srgbClr val="A4A3A4"/>
          </p15:clr>
        </p15:guide>
        <p15:guide id="3" orient="horz" pos="1455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verlapp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865600" y="0"/>
            <a:ext cx="33264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31E10A8B-0978-4159-81AC-063083E6BE4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49584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overlapp picture right gre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865600" y="0"/>
            <a:ext cx="33264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C0D93CE2-418D-4FD8-8767-E8EBC4F88D9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9042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overlapp picture right gree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0B5875AF-52CC-466D-9699-51C9E85C9BEF}"/>
              </a:ext>
            </a:extLst>
          </p:cNvPr>
          <p:cNvSpPr/>
          <p:nvPr userDrawn="1"/>
        </p:nvSpPr>
        <p:spPr>
          <a:xfrm>
            <a:off x="8865600" y="0"/>
            <a:ext cx="33264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146D5F3-C0AD-461B-A821-5647BDD8B71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502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5025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Date Placeholder 13" hidden="1">
            <a:extLst>
              <a:ext uri="{FF2B5EF4-FFF2-40B4-BE49-F238E27FC236}">
                <a16:creationId xmlns:a16="http://schemas.microsoft.com/office/drawing/2014/main" id="{B54DCDF7-552D-4A06-9B93-608F8C50386B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5"/>
          </p:nvPr>
        </p:nvSpPr>
        <p:spPr/>
        <p:txBody>
          <a:bodyPr/>
          <a:lstStyle/>
          <a:p>
            <a:fld id="{BEFBA7D4-169B-4BA2-A6EB-0E4EDAB1E385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8910B58-AE79-4984-955C-29D88C0146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D4121A59-5B56-446F-AB4C-8CA2F460564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125DFC97-402E-4167-8C1A-542EEB2E2A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9954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light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4945025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F6E53655-21E5-404A-9404-F840A0710B9D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29304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>
          <p15:clr>
            <a:srgbClr val="A4A3A4"/>
          </p15:clr>
        </p15:guide>
        <p15:guide id="2" orient="horz" pos="1455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phic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199"/>
            <a:ext cx="4945025" cy="377845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Third level</a:t>
            </a:r>
            <a:endParaRPr lang="nb-NO"/>
          </a:p>
          <a:p>
            <a:pPr lvl="3"/>
            <a:r>
              <a:rPr lang="nb-NO" dirty="0"/>
              <a:t>Fourth level</a:t>
            </a:r>
            <a:endParaRPr lang="nb-NO"/>
          </a:p>
          <a:p>
            <a:pPr lvl="4"/>
            <a:r>
              <a:rPr lang="nb-NO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E3B58AC7-995E-48C1-9B8D-CBD217B7FA4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04179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>
          <p15:clr>
            <a:srgbClr val="A4A3A4"/>
          </p15:clr>
        </p15:guide>
        <p15:guide id="2" orient="horz" pos="1455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graphic vintergro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>
            <a:off x="0" y="0"/>
            <a:ext cx="6232649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4943437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1F4533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4943438" cy="1118288"/>
          </a:xfrm>
        </p:spPr>
        <p:txBody>
          <a:bodyPr/>
          <a:lstStyle>
            <a:lvl1pPr>
              <a:defRPr>
                <a:solidFill>
                  <a:srgbClr val="1F4533"/>
                </a:solidFill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199"/>
            <a:ext cx="4945025" cy="3778451"/>
          </a:xfrm>
        </p:spPr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  <a:lvl2pPr>
              <a:defRPr>
                <a:solidFill>
                  <a:srgbClr val="1F4533"/>
                </a:solidFill>
              </a:defRPr>
            </a:lvl2pPr>
            <a:lvl3pPr>
              <a:defRPr>
                <a:solidFill>
                  <a:srgbClr val="1F4533"/>
                </a:solidFill>
              </a:defRPr>
            </a:lvl3pPr>
            <a:lvl4pPr>
              <a:defRPr>
                <a:solidFill>
                  <a:srgbClr val="1F4533"/>
                </a:solidFill>
              </a:defRPr>
            </a:lvl4pPr>
            <a:lvl5pPr>
              <a:defRPr>
                <a:solidFill>
                  <a:srgbClr val="1F4533"/>
                </a:solidFill>
              </a:defRPr>
            </a:lvl5pPr>
            <a:lvl6pPr>
              <a:defRPr>
                <a:solidFill>
                  <a:srgbClr val="1F4533"/>
                </a:solidFill>
              </a:defRPr>
            </a:lvl6pPr>
            <a:lvl7pPr>
              <a:defRPr>
                <a:solidFill>
                  <a:srgbClr val="1F4533"/>
                </a:solidFill>
              </a:defRPr>
            </a:lvl7pPr>
            <a:lvl8pPr>
              <a:defRPr>
                <a:solidFill>
                  <a:srgbClr val="1F4533"/>
                </a:solidFill>
              </a:defRPr>
            </a:lvl8pPr>
            <a:lvl9pPr>
              <a:defRPr>
                <a:solidFill>
                  <a:srgbClr val="1F4533"/>
                </a:solidFill>
              </a:defRPr>
            </a:lvl9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734188" y="766763"/>
            <a:ext cx="4689462" cy="5322888"/>
          </a:xfrm>
        </p:spPr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  <a:lvl2pPr>
              <a:defRPr>
                <a:solidFill>
                  <a:srgbClr val="1F4533"/>
                </a:solidFill>
              </a:defRPr>
            </a:lvl2pPr>
            <a:lvl3pPr>
              <a:defRPr>
                <a:solidFill>
                  <a:srgbClr val="1F4533"/>
                </a:solidFill>
              </a:defRPr>
            </a:lvl3pPr>
            <a:lvl4pPr>
              <a:defRPr>
                <a:solidFill>
                  <a:srgbClr val="1F4533"/>
                </a:solidFill>
              </a:defRPr>
            </a:lvl4pPr>
            <a:lvl5pPr>
              <a:defRPr>
                <a:solidFill>
                  <a:srgbClr val="1F4533"/>
                </a:solidFill>
              </a:defRPr>
            </a:lvl5pPr>
            <a:lvl6pPr>
              <a:defRPr>
                <a:solidFill>
                  <a:srgbClr val="1F4533"/>
                </a:solidFill>
              </a:defRPr>
            </a:lvl6pPr>
            <a:lvl7pPr>
              <a:defRPr>
                <a:solidFill>
                  <a:srgbClr val="1F4533"/>
                </a:solidFill>
              </a:defRPr>
            </a:lvl7pPr>
            <a:lvl8pPr>
              <a:defRPr>
                <a:solidFill>
                  <a:srgbClr val="1F4533"/>
                </a:solidFill>
              </a:defRPr>
            </a:lvl8pPr>
            <a:lvl9pPr>
              <a:defRPr>
                <a:solidFill>
                  <a:srgbClr val="1F4533"/>
                </a:solidFill>
              </a:defRPr>
            </a:lvl9pPr>
          </a:lstStyle>
          <a:p>
            <a:pPr lvl="0"/>
            <a:r>
              <a:rPr lang="nb-NO" noProof="0" dirty="0"/>
              <a:t>Klikk for å sette inn graf eller annet innhold</a:t>
            </a:r>
            <a:endParaRPr lang="nb-NO" dirty="0"/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noProof="0" dirty="0"/>
              <a:t>6</a:t>
            </a:r>
            <a:endParaRPr lang="nb-NO" dirty="0"/>
          </a:p>
          <a:p>
            <a:pPr lvl="6"/>
            <a:r>
              <a:rPr lang="nb-NO" noProof="0" dirty="0"/>
              <a:t>7</a:t>
            </a:r>
            <a:endParaRPr lang="nb-NO" dirty="0"/>
          </a:p>
          <a:p>
            <a:pPr lvl="7"/>
            <a:r>
              <a:rPr lang="nb-NO" noProof="0" dirty="0"/>
              <a:t>8</a:t>
            </a:r>
            <a:endParaRPr lang="nb-NO" dirty="0"/>
          </a:p>
          <a:p>
            <a:pPr lvl="8"/>
            <a:r>
              <a:rPr lang="nb-NO" noProof="0" dirty="0"/>
              <a:t>9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33F63EA7-7B02-4F80-996D-2AC5DB22CCF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26654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2">
          <p15:clr>
            <a:srgbClr val="A4A3A4"/>
          </p15:clr>
        </p15:guide>
        <p15:guide id="2" orient="horz" pos="1455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8" y="0"/>
            <a:ext cx="5066673" cy="34290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89549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799" y="979200"/>
            <a:ext cx="5589551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9395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DAE9F8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 </a:t>
            </a:r>
            <a:endParaRPr lang="nb-NO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DAE9F8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5795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  <a:endParaRPr lang="nb-NO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7650"/>
          </a:xfrm>
        </p:spPr>
        <p:txBody>
          <a:bodyPr lIns="0" rIns="0"/>
          <a:lstStyle>
            <a:lvl1pPr marL="0" indent="0" algn="ctr">
              <a:buNone/>
              <a:defRPr sz="1600" cap="none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E6ECCF08-973C-4B2F-AD41-5D8D9D0ADAA0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8133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973">
          <p15:clr>
            <a:srgbClr val="A4A3A4"/>
          </p15:clr>
        </p15:guide>
        <p15:guide id="4" pos="4004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keynumbers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F9F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9" y="0"/>
            <a:ext cx="5066673" cy="34308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9017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5589550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8400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0D4065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  <a:endParaRPr lang="nb-NO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0D4065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4800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  <a:endParaRPr lang="nb-NO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9200"/>
          </a:xfrm>
        </p:spPr>
        <p:txBody>
          <a:bodyPr lIns="0" rIns="0"/>
          <a:lstStyle>
            <a:lvl1pPr marL="0" indent="0" algn="ctr">
              <a:buNone/>
              <a:defRPr sz="1600" cap="none" baseline="0"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D896703E-2186-46D8-B9C6-26A2AFD2E99F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35526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973">
          <p15:clr>
            <a:srgbClr val="A4A3A4"/>
          </p15:clr>
        </p15:guide>
        <p15:guide id="4" pos="4004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and keynumber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7728EC6F-4A30-4AD0-965F-F801E4CD6C72}"/>
              </a:ext>
            </a:extLst>
          </p:cNvPr>
          <p:cNvSpPr/>
          <p:nvPr userDrawn="1"/>
        </p:nvSpPr>
        <p:spPr>
          <a:xfrm flipH="1">
            <a:off x="7127999" y="0"/>
            <a:ext cx="5066673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1" name="Background">
            <a:extLst>
              <a:ext uri="{FF2B5EF4-FFF2-40B4-BE49-F238E27FC236}">
                <a16:creationId xmlns:a16="http://schemas.microsoft.com/office/drawing/2014/main" id="{2DD787C8-872D-4190-AD23-7B71CFACEE7C}"/>
              </a:ext>
            </a:extLst>
          </p:cNvPr>
          <p:cNvSpPr/>
          <p:nvPr userDrawn="1"/>
        </p:nvSpPr>
        <p:spPr>
          <a:xfrm flipH="1">
            <a:off x="7127999" y="0"/>
            <a:ext cx="5066673" cy="34308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2D4E9B48-FF24-4CDB-88D8-9FE01ADA0126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766801" y="435600"/>
            <a:ext cx="5590175" cy="326433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noProof="0" dirty="0"/>
              <a:t>Klikk for å sette inn undertittel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979200"/>
            <a:ext cx="5589550" cy="11182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nb-NO" noProof="0" dirty="0"/>
              <a:t>Sett inn tittel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6800" y="2311200"/>
            <a:ext cx="5589550" cy="377845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nb-NO" noProof="0" dirty="0"/>
              <a:t>Klikk for å sette inn tekst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084B1CEF-30F9-4AB6-92CC-F50213A76C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7894801" y="608400"/>
            <a:ext cx="3528848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1F4533"/>
                </a:solidFill>
                <a:latin typeface="+mj-lt"/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AEF3602-BD60-4125-9203-09EE50CCD2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7894801" y="2156400"/>
            <a:ext cx="3528848" cy="529200"/>
          </a:xfrm>
        </p:spPr>
        <p:txBody>
          <a:bodyPr lIns="0" rIns="0" bIns="0"/>
          <a:lstStyle>
            <a:lvl1pPr marL="0" indent="0" algn="ctr">
              <a:buNone/>
              <a:defRPr sz="1600" cap="none" baseline="0">
                <a:solidFill>
                  <a:srgbClr val="1F4533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64B691F-279F-484D-BFAC-D753BD4CE9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94800" y="4024800"/>
            <a:ext cx="3528849" cy="1839221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7200" spc="0" baseline="0">
                <a:solidFill>
                  <a:srgbClr val="CDE1D0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Skriv tall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16CF0F1E-3878-4FF4-AD95-0F582C5B11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607" y="5562000"/>
            <a:ext cx="3535893" cy="529200"/>
          </a:xfrm>
        </p:spPr>
        <p:txBody>
          <a:bodyPr lIns="0" rIns="0"/>
          <a:lstStyle>
            <a:lvl1pPr marL="0" indent="0" algn="ctr">
              <a:buNone/>
              <a:defRPr sz="1600" cap="none" baseline="0">
                <a:solidFill>
                  <a:srgbClr val="CDE1D0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AD0EA-2B9F-44E0-91DB-2531E217B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51DAC93-43E0-4500-8B32-0ED62C5D52A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4471396E-16E0-4CE2-9923-8EB1D16A0166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60651D-6601-4E03-8850-80886F45E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07572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  <p15:guide id="3" pos="4973">
          <p15:clr>
            <a:srgbClr val="A4A3A4"/>
          </p15:clr>
        </p15:guide>
        <p15:guide id="4" pos="4004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331A8575-B666-414E-91CD-191A3546870F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775967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indent="0" algn="ctr">
              <a:buNone/>
              <a:defRPr sz="1200"/>
            </a:lvl1pPr>
          </a:lstStyle>
          <a:p>
            <a:r>
              <a:rPr lang="nb-NO" noProof="0" dirty="0"/>
              <a:t>Klikk for å sette inn bilde fra Templafy/Mediebank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CEC3D5E-0181-4184-A118-C7DC3A40A8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4"/>
          </p:nvPr>
        </p:nvSpPr>
        <p:spPr/>
        <p:txBody>
          <a:bodyPr/>
          <a:lstStyle/>
          <a:p>
            <a:fld id="{C275C606-1264-4DF5-9C01-062B01A95909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3A1574-A4DD-4930-84CB-7B8C4CC112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AE843F-DAA0-4AA0-AC11-0D370906249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2069175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-120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599" y="2343150"/>
            <a:ext cx="10659600" cy="2103119"/>
          </a:xfrm>
        </p:spPr>
        <p:txBody>
          <a:bodyPr/>
          <a:lstStyle>
            <a:lvl1pPr algn="ctr">
              <a:lnSpc>
                <a:spcPct val="110000"/>
              </a:lnSpc>
              <a:defRPr sz="4000"/>
            </a:lvl1pPr>
          </a:lstStyle>
          <a:p>
            <a:r>
              <a:rPr lang="nb-NO" dirty="0"/>
              <a:t>Klikk for å sette inn sitat</a:t>
            </a:r>
            <a:endParaRPr lang="nb-NO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980" y="4876658"/>
            <a:ext cx="10664704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4399" y="5275381"/>
            <a:ext cx="10659599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78902" y="1671755"/>
            <a:ext cx="221345" cy="24031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fld id="{C1623DC7-E2A4-4672-B256-7A8661F7B973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059768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ati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-1200" y="0"/>
            <a:ext cx="121932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5599" y="2343150"/>
            <a:ext cx="10659600" cy="2103119"/>
          </a:xfrm>
        </p:spPr>
        <p:txBody>
          <a:bodyPr/>
          <a:lstStyle>
            <a:lvl1pPr algn="ctr">
              <a:lnSpc>
                <a:spcPct val="110000"/>
              </a:lnSpc>
              <a:defRPr sz="400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sitat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980" y="4876658"/>
            <a:ext cx="10664704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solidFill>
                  <a:srgbClr val="1F4533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4399" y="5275381"/>
            <a:ext cx="10659599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>
                <a:solidFill>
                  <a:srgbClr val="1F4533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61737" y="1688051"/>
            <a:ext cx="268526" cy="252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fld id="{276583CF-C19D-4F6D-A74F-F12A8BA1ED94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925041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86C42A43-3154-47A4-B931-E3ABA449F5D4}"/>
              </a:ext>
            </a:extLst>
          </p:cNvPr>
          <p:cNvSpPr/>
          <p:nvPr userDrawn="1"/>
        </p:nvSpPr>
        <p:spPr>
          <a:xfrm>
            <a:off x="-3600" y="0"/>
            <a:ext cx="494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8587" y="2343150"/>
            <a:ext cx="4946612" cy="2103119"/>
          </a:xfrm>
        </p:spPr>
        <p:txBody>
          <a:bodyPr/>
          <a:lstStyle>
            <a:lvl1pPr algn="ctr">
              <a:lnSpc>
                <a:spcPct val="108000"/>
              </a:lnSpc>
              <a:defRPr sz="3000"/>
            </a:lvl1pPr>
          </a:lstStyle>
          <a:p>
            <a:r>
              <a:rPr lang="nb-NO" dirty="0"/>
              <a:t>Klikk for å sette inn sitat</a:t>
            </a:r>
            <a:endParaRPr lang="nb-NO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F56CAA3-D495-4F90-81E4-A8C57B4EFD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799" y="1022362"/>
            <a:ext cx="4945026" cy="4813275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8587" y="4652002"/>
            <a:ext cx="4945062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8587" y="5050725"/>
            <a:ext cx="4942695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/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pic>
        <p:nvPicPr>
          <p:cNvPr id="34" name="Quotation">
            <a:extLst>
              <a:ext uri="{FF2B5EF4-FFF2-40B4-BE49-F238E27FC236}">
                <a16:creationId xmlns:a16="http://schemas.microsoft.com/office/drawing/2014/main" id="{8FC2DEAE-8177-4C75-804A-08BA480707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78300" y="1740090"/>
            <a:ext cx="221345" cy="24031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>
                <a:solidFill>
                  <a:srgbClr val="EDE7DE"/>
                </a:solidFill>
              </a:rPr>
              <a:t>Advokatfirmaet Thommessen AS</a:t>
            </a:r>
            <a:r>
              <a:rPr lang="nb-NO" noProof="1"/>
              <a:t>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fld id="{60471C32-D9E1-4915-B704-5A22622BF127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955377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ation pictur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ackground">
            <a:extLst>
              <a:ext uri="{FF2B5EF4-FFF2-40B4-BE49-F238E27FC236}">
                <a16:creationId xmlns:a16="http://schemas.microsoft.com/office/drawing/2014/main" id="{F6E649E0-F8B0-4A1B-B5C0-80F9F9474ABA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12" name="Quotation">
            <a:extLst>
              <a:ext uri="{FF2B5EF4-FFF2-40B4-BE49-F238E27FC236}">
                <a16:creationId xmlns:a16="http://schemas.microsoft.com/office/drawing/2014/main" id="{DD8B73A2-B19F-4195-977D-E82BFB8AD7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55765" y="1735186"/>
            <a:ext cx="268526" cy="252000"/>
          </a:xfrm>
          <a:prstGeom prst="rect">
            <a:avLst/>
          </a:prstGeom>
        </p:spPr>
      </p:pic>
      <p:sp>
        <p:nvSpPr>
          <p:cNvPr id="8" name="Background">
            <a:extLst>
              <a:ext uri="{FF2B5EF4-FFF2-40B4-BE49-F238E27FC236}">
                <a16:creationId xmlns:a16="http://schemas.microsoft.com/office/drawing/2014/main" id="{86C42A43-3154-47A4-B931-E3ABA449F5D4}"/>
              </a:ext>
            </a:extLst>
          </p:cNvPr>
          <p:cNvSpPr/>
          <p:nvPr userDrawn="1"/>
        </p:nvSpPr>
        <p:spPr>
          <a:xfrm>
            <a:off x="-3600" y="0"/>
            <a:ext cx="49464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AB75C3-61F0-42D4-BB89-C46F057065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8587" y="2343150"/>
            <a:ext cx="4946612" cy="2103119"/>
          </a:xfrm>
        </p:spPr>
        <p:txBody>
          <a:bodyPr/>
          <a:lstStyle>
            <a:lvl1pPr algn="ctr">
              <a:lnSpc>
                <a:spcPct val="108000"/>
              </a:lnSpc>
              <a:defRPr sz="300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sitat</a:t>
            </a:r>
            <a:endParaRPr lang="nb-NO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F56CAA3-D495-4F90-81E4-A8C57B4EFD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799" y="1022362"/>
            <a:ext cx="4945026" cy="4813275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>
                <a:solidFill>
                  <a:srgbClr val="1F4533"/>
                </a:solidFill>
              </a:defRPr>
            </a:lvl1pPr>
          </a:lstStyle>
          <a:p>
            <a:r>
              <a:rPr lang="nb-NO" dirty="0"/>
              <a:t>Klikk for å sette inn bilde fra Templafy/Mediebank</a:t>
            </a:r>
            <a:endParaRPr lang="nb-NO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6FD2B66C-44ED-4B31-8E9C-59DC2BC879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78587" y="4652002"/>
            <a:ext cx="4945062" cy="314019"/>
          </a:xfrm>
        </p:spPr>
        <p:txBody>
          <a:bodyPr anchor="b" anchorCtr="0"/>
          <a:lstStyle>
            <a:lvl1pPr marL="0" indent="0" algn="ctr">
              <a:lnSpc>
                <a:spcPct val="90000"/>
              </a:lnSpc>
              <a:buNone/>
              <a:defRPr sz="1800" spc="0" baseline="0">
                <a:solidFill>
                  <a:srgbClr val="1F4533"/>
                </a:solidFill>
                <a:latin typeface="+mj-lt"/>
              </a:defRPr>
            </a:lvl1pPr>
            <a:lvl2pPr marL="0" indent="0">
              <a:lnSpc>
                <a:spcPct val="90000"/>
              </a:lnSpc>
              <a:buNone/>
              <a:defRPr sz="1500" spc="0">
                <a:latin typeface="+mj-lt"/>
              </a:defRPr>
            </a:lvl2pPr>
            <a:lvl3pPr marL="0" indent="0">
              <a:lnSpc>
                <a:spcPct val="90000"/>
              </a:lnSpc>
              <a:buNone/>
              <a:defRPr sz="1500" spc="0">
                <a:latin typeface="+mj-lt"/>
              </a:defRPr>
            </a:lvl3pPr>
            <a:lvl4pPr marL="0" indent="0">
              <a:lnSpc>
                <a:spcPct val="90000"/>
              </a:lnSpc>
              <a:buNone/>
              <a:defRPr sz="1500" spc="0">
                <a:latin typeface="+mj-lt"/>
              </a:defRPr>
            </a:lvl4pPr>
            <a:lvl5pPr marL="0" indent="0">
              <a:lnSpc>
                <a:spcPct val="90000"/>
              </a:lnSpc>
              <a:buNone/>
              <a:defRPr sz="1500" spc="0">
                <a:latin typeface="+mj-lt"/>
              </a:defRPr>
            </a:lvl5pPr>
          </a:lstStyle>
          <a:p>
            <a:pPr lvl="0"/>
            <a:r>
              <a:rPr lang="nb-NO" dirty="0"/>
              <a:t>Klikk for å sette inn sitatkilde</a:t>
            </a:r>
            <a:endParaRPr lang="nb-NO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3B39F22F-8D2C-45C0-8084-A7D4B90826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78587" y="5050725"/>
            <a:ext cx="4942695" cy="314020"/>
          </a:xfrm>
        </p:spPr>
        <p:txBody>
          <a:bodyPr/>
          <a:lstStyle>
            <a:lvl1pPr marL="0" indent="0" algn="ctr">
              <a:lnSpc>
                <a:spcPct val="70000"/>
              </a:lnSpc>
              <a:buNone/>
              <a:defRPr sz="1200" cap="all" spc="-10">
                <a:solidFill>
                  <a:srgbClr val="1F4533"/>
                </a:solidFill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2pPr>
            <a:lvl3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3pPr>
            <a:lvl4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4pPr>
            <a:lvl5pPr marL="0" indent="0" algn="ctr">
              <a:lnSpc>
                <a:spcPct val="90000"/>
              </a:lnSpc>
              <a:spcBef>
                <a:spcPts val="0"/>
              </a:spcBef>
              <a:buNone/>
              <a:defRPr sz="800" cap="all" spc="-10"/>
            </a:lvl5pPr>
          </a:lstStyle>
          <a:p>
            <a:pPr lvl="0"/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E21E10C-10EF-4FDA-85BE-F16D24B4F2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4BDF46-EC90-4A67-ABCE-DFE07B50C5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750ACA1F-3752-4CE9-8B23-7A41D19CA43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2"/>
          </p:nvPr>
        </p:nvSpPr>
        <p:spPr/>
        <p:txBody>
          <a:bodyPr/>
          <a:lstStyle/>
          <a:p>
            <a:fld id="{339C25C0-64A7-4A4E-B0F3-AD1B8D2D67CC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982919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18C0D84B-CCEA-4DFB-A01F-25699BD71E6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66762" y="766763"/>
            <a:ext cx="10656887" cy="5322887"/>
          </a:xfrm>
        </p:spPr>
        <p:txBody>
          <a:bodyPr anchor="ctr" anchorCtr="0"/>
          <a:lstStyle>
            <a:lvl1pPr algn="ctr">
              <a:lnSpc>
                <a:spcPct val="108000"/>
              </a:lnSpc>
              <a:defRPr sz="5000" cap="none" baseline="0">
                <a:solidFill>
                  <a:srgbClr val="EDE7DE"/>
                </a:solidFill>
              </a:defRPr>
            </a:lvl1pPr>
          </a:lstStyle>
          <a:p>
            <a:r>
              <a:rPr lang="nb-NO" dirty="0"/>
              <a:t>Klikk for å sette inn utsagn</a:t>
            </a:r>
            <a:endParaRPr lang="nb-NO"/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7086861A-ADD7-40DC-812C-82A5731B5C7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3CD3B917-2DC3-4838-AD42-A962896CDFB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0C17F2C-D372-48C4-8D56-D41FE9375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CC79E04-34E1-4037-B1A9-4D4E32F9B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86018217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18C0D84B-CCEA-4DFB-A01F-25699BD71E68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66762" y="766763"/>
            <a:ext cx="10656887" cy="5322887"/>
          </a:xfrm>
        </p:spPr>
        <p:txBody>
          <a:bodyPr anchor="ctr" anchorCtr="0"/>
          <a:lstStyle>
            <a:lvl1pPr algn="ctr">
              <a:lnSpc>
                <a:spcPct val="108000"/>
              </a:lnSpc>
              <a:defRPr sz="5000" cap="none" baseline="0">
                <a:solidFill>
                  <a:srgbClr val="CDE1D0"/>
                </a:solidFill>
              </a:defRPr>
            </a:lvl1pPr>
          </a:lstStyle>
          <a:p>
            <a:r>
              <a:rPr lang="nb-NO" dirty="0"/>
              <a:t>Klikk for å sette inn utsagn</a:t>
            </a:r>
          </a:p>
        </p:txBody>
      </p:sp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7086861A-ADD7-40DC-812C-82A5731B5C7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0"/>
          </p:nvPr>
        </p:nvSpPr>
        <p:spPr/>
        <p:txBody>
          <a:bodyPr/>
          <a:lstStyle/>
          <a:p>
            <a:fld id="{41BACFFB-A32B-4027-8EBA-EF8302E61136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0C17F2C-D372-48C4-8D56-D41FE9375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CC79E04-34E1-4037-B1A9-4D4E32F9B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CDE1D0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526801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One) man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  <a:endParaRPr lang="nb-NO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B27A254C-4840-456A-AD28-880E7E306F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55533" y="1789199"/>
            <a:ext cx="6868116" cy="194400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  <a:endParaRPr lang="nb-NO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994400"/>
            <a:ext cx="6868115" cy="1128393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54A5DDC1-3FDC-4572-AA55-01DB7B73B4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950" y="3376800"/>
            <a:ext cx="6868800" cy="193943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Akserfaring</a:t>
            </a:r>
            <a:endParaRPr lang="nb-NO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3573367"/>
            <a:ext cx="6870700" cy="2516283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CCDE5864-3BE9-4701-8768-BFCB95833B1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6763" y="3376798"/>
            <a:ext cx="3527425" cy="2712851"/>
          </a:xfrm>
          <a:solidFill>
            <a:srgbClr val="F9F8F7"/>
          </a:solidFill>
        </p:spPr>
        <p:txBody>
          <a:bodyPr lIns="72000" tIns="72000" rIns="72000" bIns="72000" anchor="t" anchorCtr="0"/>
          <a:lstStyle>
            <a:lvl1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cap="none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nb-NO" sz="1000" b="1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0" indent="0" algn="l" defTabSz="7200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lang="nb-NO" sz="1000" kern="120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5pPr>
            <a:lvl6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6pPr>
            <a:lvl7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7pPr>
            <a:lvl8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8pPr>
            <a:lvl9pPr marL="0" indent="0" defTabSz="72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>
                <a:tab pos="360000" algn="l"/>
              </a:tabLst>
              <a:defRPr sz="100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overskrift "Siste utmerkelser"/"Latest awards". Kopier inn kåringer UFORMATERT fra CV-side på web under "Utmerkelser". Bruk TAB mellom årstall og tekst, og hengende innrykk på tekst.</a:t>
            </a:r>
            <a:endParaRPr lang="nb-NO"/>
          </a:p>
          <a:p>
            <a:pPr lvl="1"/>
            <a:r>
              <a:rPr lang="nb-NO" dirty="0"/>
              <a:t>Second level</a:t>
            </a:r>
            <a:endParaRPr lang="nb-NO"/>
          </a:p>
          <a:p>
            <a:pPr lvl="2"/>
            <a:r>
              <a:rPr lang="nb-NO" dirty="0"/>
              <a:t>3</a:t>
            </a:r>
            <a:endParaRPr lang="nb-NO"/>
          </a:p>
          <a:p>
            <a:pPr lvl="3"/>
            <a:r>
              <a:rPr lang="nb-NO" dirty="0"/>
              <a:t>4</a:t>
            </a:r>
            <a:endParaRPr lang="nb-NO"/>
          </a:p>
          <a:p>
            <a:pPr lvl="4"/>
            <a:r>
              <a:rPr lang="nb-NO" dirty="0"/>
              <a:t>5</a:t>
            </a:r>
            <a:endParaRPr lang="nb-NO"/>
          </a:p>
          <a:p>
            <a:pPr lvl="5"/>
            <a:r>
              <a:rPr lang="nb-NO" dirty="0"/>
              <a:t>6</a:t>
            </a:r>
            <a:endParaRPr lang="nb-NO"/>
          </a:p>
          <a:p>
            <a:pPr lvl="6"/>
            <a:r>
              <a:rPr lang="nb-NO" dirty="0"/>
              <a:t>7</a:t>
            </a:r>
            <a:endParaRPr lang="nb-NO"/>
          </a:p>
          <a:p>
            <a:pPr lvl="7"/>
            <a:r>
              <a:rPr lang="nb-NO" dirty="0"/>
              <a:t>8</a:t>
            </a:r>
            <a:endParaRPr lang="nb-NO"/>
          </a:p>
          <a:p>
            <a:pPr lvl="8"/>
            <a:r>
              <a:rPr lang="nb-NO" dirty="0"/>
              <a:t>9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EC0AD849-71C9-4F62-8265-62FC05132603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92110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>
          <p15:clr>
            <a:srgbClr val="A4A3A4"/>
          </p15:clr>
        </p15:guide>
        <p15:guide id="2" pos="2705">
          <p15:clr>
            <a:srgbClr val="A4A3A4"/>
          </p15:clr>
        </p15:guide>
        <p15:guide id="3" orient="horz" pos="1127">
          <p15:clr>
            <a:srgbClr val="A4A3A4"/>
          </p15:clr>
        </p15:guide>
        <p15:guide id="5" pos="623">
          <p15:clr>
            <a:srgbClr val="A4A3A4"/>
          </p15:clr>
        </p15:guide>
        <p15:guide id="6" orient="horz" pos="2127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Tw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7892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4147566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  <a:endParaRPr lang="nb-NO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9A72EFCE-2117-4123-9315-06C9720FAE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55532" y="1994400"/>
            <a:ext cx="6868115" cy="112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4A5DDC1-3FDC-4572-AA55-01DB7B73B4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52950" y="4146550"/>
            <a:ext cx="6868800" cy="193943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  <a:endParaRPr lang="nb-NO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5D8E1F7-7D93-4B53-942E-E1646F7C0DD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52950" y="4343117"/>
            <a:ext cx="6870700" cy="113589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27A254C-4840-456A-AD28-880E7E306FE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55533" y="1789199"/>
            <a:ext cx="6868116" cy="194400"/>
          </a:xfrm>
        </p:spPr>
        <p:txBody>
          <a:bodyPr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cap="all" spc="5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STILLINGSBESKriVELSE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7EC7C443-F10E-4979-9D2C-9897A2F99E6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161804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68">
          <p15:clr>
            <a:srgbClr val="A4A3A4"/>
          </p15:clr>
        </p15:guide>
        <p15:guide id="2" pos="2705">
          <p15:clr>
            <a:srgbClr val="A4A3A4"/>
          </p15:clr>
        </p15:guide>
        <p15:guide id="3" orient="horz" pos="1127">
          <p15:clr>
            <a:srgbClr val="A4A3A4"/>
          </p15:clr>
        </p15:guide>
        <p15:guide id="4" orient="horz" pos="2612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F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  <a:endParaRPr lang="nb-NO"/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2721113"/>
            <a:ext cx="3527998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3740400"/>
            <a:ext cx="3528000" cy="1331441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962B11D-2397-4848-946B-56699BED20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763" y="5234400"/>
            <a:ext cx="3527998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90800" y="1224239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CAFC9C2-6FDA-4957-A7BB-6DB3FCF108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89026" y="2721113"/>
            <a:ext cx="3528000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90800" y="37404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89026" y="5234400"/>
            <a:ext cx="3528000" cy="856800"/>
          </a:xfrm>
        </p:spPr>
        <p:txBody>
          <a:bodyPr anchor="t" anchorCtr="0"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kopiere inn UFORMATERT beskrivelse fra CV-side på WEB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CA687EDF-0F2B-4084-87CC-17A46AD7CC37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14342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5">
          <p15:clr>
            <a:srgbClr val="A4A3A4"/>
          </p15:clr>
        </p15:guide>
        <p15:guide id="2" pos="6311">
          <p15:clr>
            <a:srgbClr val="A4A3A4"/>
          </p15:clr>
        </p15:guide>
        <p15:guide id="3" orient="horz" pos="771">
          <p15:clr>
            <a:srgbClr val="A4A3A4"/>
          </p15:clr>
        </p15:guide>
        <p15:guide id="4" orient="horz" pos="1714">
          <p15:clr>
            <a:srgbClr val="A4A3A4"/>
          </p15:clr>
        </p15:guide>
        <p15:guide id="5" orient="horz" pos="2356">
          <p15:clr>
            <a:srgbClr val="A4A3A4"/>
          </p15:clr>
        </p15:guide>
        <p15:guide id="6" orient="horz" pos="3297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6" name="Background">
            <a:extLst>
              <a:ext uri="{FF2B5EF4-FFF2-40B4-BE49-F238E27FC236}">
                <a16:creationId xmlns:a16="http://schemas.microsoft.com/office/drawing/2014/main" id="{C8ABAC56-4FB8-4BBE-BF07-3C1A2B53E016}"/>
              </a:ext>
            </a:extLst>
          </p:cNvPr>
          <p:cNvSpPr/>
          <p:nvPr userDrawn="1"/>
        </p:nvSpPr>
        <p:spPr>
          <a:xfrm>
            <a:off x="8866800" y="0"/>
            <a:ext cx="332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83A41F11-0393-40B1-B678-188E5C99FF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4942239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4945025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3000" spc="-10" baseline="0">
                <a:latin typeface="+mj-lt"/>
              </a:defRPr>
            </a:lvl1pPr>
            <a:lvl2pPr marL="432000" indent="-216000">
              <a:spcBef>
                <a:spcPts val="400"/>
              </a:spcBef>
              <a:spcAft>
                <a:spcPts val="0"/>
              </a:spcAft>
              <a:defRPr sz="1500" baseline="0"/>
            </a:lvl2pPr>
            <a:lvl3pPr marL="648000" indent="-216000">
              <a:defRPr/>
            </a:lvl3pPr>
            <a:lvl4pPr marL="648000" indent="-216000">
              <a:defRPr/>
            </a:lvl4pPr>
            <a:lvl5pPr marL="648000" indent="-216000">
              <a:defRPr/>
            </a:lvl5pPr>
            <a:lvl6pPr marL="648000" indent="-216000">
              <a:defRPr/>
            </a:lvl6pPr>
            <a:lvl7pPr marL="648000" indent="-216000">
              <a:defRPr/>
            </a:lvl7pPr>
            <a:lvl8pPr marL="648000" indent="-216000">
              <a:defRPr/>
            </a:lvl8pPr>
            <a:lvl9pPr marL="648000" indent="-21600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spc="70" baseline="0"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70C8DDA8-8AF3-4EC5-90DF-91B01B963F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8A5102C3-478C-4B75-87C8-3400329B689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fld id="{FF2EEA46-4270-400D-8D4D-D77D9616194C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2631A6-BF10-47BB-A9CC-EE722CD6220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10DE46-7A29-47ED-83FB-AD426DDF0D7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>
                <a:solidFill>
                  <a:schemeClr val="accent4"/>
                </a:solidFill>
              </a:rPr>
              <a:pPr>
                <a:tabLst>
                  <a:tab pos="10659600" algn="r"/>
                </a:tabLst>
              </a:pPr>
              <a:t>‹#›</a:t>
            </a:fld>
            <a:endParaRPr lang="nb-NO" noProof="1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 userDrawn="1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(Six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B56B5FA-408E-47CE-B53E-32EDDDB38E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009"/>
            <a:ext cx="10658400" cy="326433"/>
          </a:xfrm>
        </p:spPr>
        <p:txBody>
          <a:bodyPr/>
          <a:lstStyle>
            <a:lvl1pPr>
              <a:defRPr sz="2000" spc="0" baseline="0"/>
            </a:lvl1pPr>
          </a:lstStyle>
          <a:p>
            <a:r>
              <a:rPr lang="nb-NO" dirty="0"/>
              <a:t>Klikk for å sette inn team/avdeling/fag</a:t>
            </a:r>
            <a:endParaRPr lang="nb-NO"/>
          </a:p>
        </p:txBody>
      </p:sp>
      <p:sp>
        <p:nvSpPr>
          <p:cNvPr id="93" name="Picture Placeholder 2">
            <a:extLst>
              <a:ext uri="{FF2B5EF4-FFF2-40B4-BE49-F238E27FC236}">
                <a16:creationId xmlns:a16="http://schemas.microsoft.com/office/drawing/2014/main" id="{D9E036B2-D51E-4B42-B2DE-3F0AF4B9120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66761" y="1534122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B640281B-57B3-4F1C-BAB9-173BB0B2E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31722" y="1533600"/>
            <a:ext cx="1280103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95" name="Picture Placeholder 3">
            <a:extLst>
              <a:ext uri="{FF2B5EF4-FFF2-40B4-BE49-F238E27FC236}">
                <a16:creationId xmlns:a16="http://schemas.microsoft.com/office/drawing/2014/main" id="{AA577517-3C61-40E5-8754-BF5D77F42E1D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6764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8A600C7-0E6A-4001-A31A-953A73467A1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431722" y="3003227"/>
            <a:ext cx="1280103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6AACA1E4-2248-4999-A333-81797CE8E7DC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66764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8" name="Text Placeholder 4">
            <a:extLst>
              <a:ext uri="{FF2B5EF4-FFF2-40B4-BE49-F238E27FC236}">
                <a16:creationId xmlns:a16="http://schemas.microsoft.com/office/drawing/2014/main" id="{1C39D92C-28FC-4762-9888-B617EECFBF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1722" y="4475397"/>
            <a:ext cx="1280102" cy="1308011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99" name="Picture Placeholder 5">
            <a:extLst>
              <a:ext uri="{FF2B5EF4-FFF2-40B4-BE49-F238E27FC236}">
                <a16:creationId xmlns:a16="http://schemas.microsoft.com/office/drawing/2014/main" id="{99B872F8-C8BB-4A8B-B7C2-051F948AFFB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70706" y="1533600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F17F1BC9-B9EB-4257-8D9C-08F210BF59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43600" y="1533600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13762D0C-AD12-49EE-83FE-611C77B1368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480177" y="300322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DE1B8178-7ED1-4ED5-B864-78FCF1C8CE2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143600" y="3003227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103" name="Picture Placeholder 7">
            <a:extLst>
              <a:ext uri="{FF2B5EF4-FFF2-40B4-BE49-F238E27FC236}">
                <a16:creationId xmlns:a16="http://schemas.microsoft.com/office/drawing/2014/main" id="{9AC935AB-438F-40FC-A90C-5FDCFE525F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480177" y="4475397"/>
            <a:ext cx="3528000" cy="1332000"/>
          </a:xfrm>
          <a:ln w="3175"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104" name="Text Placeholder 7">
            <a:extLst>
              <a:ext uri="{FF2B5EF4-FFF2-40B4-BE49-F238E27FC236}">
                <a16:creationId xmlns:a16="http://schemas.microsoft.com/office/drawing/2014/main" id="{AD65D34E-7F3E-4A41-B480-1576ABC1F8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143600" y="4475397"/>
            <a:ext cx="1281600" cy="1332000"/>
          </a:xfrm>
        </p:spPr>
        <p:txBody>
          <a:bodyPr anchor="t" anchorCtr="0"/>
          <a:lstStyle>
            <a:lvl1pPr marL="108000" indent="-108000" algn="l" defTabSz="914400" rtl="0" eaLnBrk="1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spc="0" baseline="0" dirty="0">
                <a:solidFill>
                  <a:srgbClr val="0D4065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0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nb-NO" sz="10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108000" indent="-108000">
              <a:spcBef>
                <a:spcPts val="0"/>
              </a:spcBef>
              <a:spcAft>
                <a:spcPts val="300"/>
              </a:spcAft>
              <a:defRPr sz="900">
                <a:solidFill>
                  <a:schemeClr val="accent3"/>
                </a:solidFill>
              </a:defRPr>
            </a:lvl5pPr>
            <a:lvl6pPr marL="108000" indent="-108000">
              <a:spcBef>
                <a:spcPts val="0"/>
              </a:spcBef>
              <a:spcAft>
                <a:spcPts val="300"/>
              </a:spcAft>
              <a:defRPr sz="800"/>
            </a:lvl6pPr>
            <a:lvl7pPr marL="108000" indent="-108000">
              <a:spcBef>
                <a:spcPts val="0"/>
              </a:spcBef>
              <a:spcAft>
                <a:spcPts val="300"/>
              </a:spcAft>
              <a:defRPr sz="800"/>
            </a:lvl7pPr>
            <a:lvl8pPr marL="108000" indent="-108000">
              <a:spcBef>
                <a:spcPts val="0"/>
              </a:spcBef>
              <a:spcAft>
                <a:spcPts val="300"/>
              </a:spcAft>
              <a:defRPr sz="800"/>
            </a:lvl8pPr>
            <a:lvl9pPr marL="108000" indent="-108000">
              <a:spcBef>
                <a:spcPts val="0"/>
              </a:spcBef>
              <a:spcAft>
                <a:spcPts val="300"/>
              </a:spcAft>
              <a:defRPr sz="800"/>
            </a:lvl9pPr>
          </a:lstStyle>
          <a:p>
            <a:pPr lvl="0"/>
            <a:r>
              <a:rPr lang="nb-NO" dirty="0"/>
              <a:t>Klikk for å sette inn fagområder</a:t>
            </a:r>
            <a:endParaRPr lang="nb-NO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60DCD55-DABB-47FC-9D68-6B63C0784887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0D6EF5BA-439C-4CE6-8D34-5332C5F07D02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F0D38D-F54F-4F3F-99B0-9D1F6FECE8A3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4D1C50-75ED-45D4-8335-C587C9B5B231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840124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1">
          <p15:clr>
            <a:srgbClr val="A4A3A4"/>
          </p15:clr>
        </p15:guide>
        <p15:guide id="2" pos="6390">
          <p15:clr>
            <a:srgbClr val="A4A3A4"/>
          </p15:clr>
        </p15:guide>
        <p15:guide id="3" pos="6297">
          <p15:clr>
            <a:srgbClr val="A4A3A4"/>
          </p15:clr>
        </p15:guide>
        <p15:guide id="4" pos="2705">
          <p15:clr>
            <a:srgbClr val="A4A3A4"/>
          </p15:clr>
        </p15:guide>
        <p15:guide id="5" orient="horz" pos="966">
          <p15:clr>
            <a:srgbClr val="A4A3A4"/>
          </p15:clr>
        </p15:guide>
        <p15:guide id="6" orient="horz" pos="1891">
          <p15:clr>
            <a:srgbClr val="A4A3A4"/>
          </p15:clr>
        </p15:guide>
        <p15:guide id="7" orient="horz" pos="2818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ntact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FF95D769-541B-4E86-9575-6188DA0071C5}"/>
              </a:ext>
            </a:extLst>
          </p:cNvPr>
          <p:cNvSpPr/>
          <p:nvPr userDrawn="1"/>
        </p:nvSpPr>
        <p:spPr>
          <a:xfrm>
            <a:off x="-3600" y="0"/>
            <a:ext cx="7131600" cy="68580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766763"/>
            <a:ext cx="4945025" cy="2510441"/>
          </a:xfrm>
        </p:spPr>
        <p:txBody>
          <a:bodyPr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5000" b="0" kern="1200" baseline="0" dirty="0">
                <a:solidFill>
                  <a:srgbClr val="0D4065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B262DCB-7E95-45C4-81BD-C9B32339E7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895650" y="1775111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A13E447-6B91-4BE0-9D6B-AEFE8AAD581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895650" y="3942759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0D4065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175BC7-2091-4CB0-B6C7-6208EBE77A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3" y="3450516"/>
            <a:ext cx="4945062" cy="263913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 spc="0" baseline="0"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2pPr>
            <a:lvl3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3pPr>
            <a:lvl4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4pPr>
            <a:lvl5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5pPr>
          </a:lstStyle>
          <a:p>
            <a:pPr lvl="0"/>
            <a:r>
              <a:rPr lang="nb-NO" dirty="0"/>
              <a:t>Sett inn tekst</a:t>
            </a:r>
            <a:endParaRPr lang="nb-NO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2C39C7-7332-44F2-B7B6-E047525B173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6"/>
          </p:nvPr>
        </p:nvSpPr>
        <p:spPr/>
        <p:txBody>
          <a:bodyPr/>
          <a:lstStyle/>
          <a:p>
            <a:fld id="{B5599A50-61DA-4159-A553-C63948D76918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67DBB8-EB7F-4E23-B19C-8BAA68AC99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7F1F33-6910-4101-8AD6-C11D6128C9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252189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A4A3A4"/>
          </p15:clr>
        </p15:guide>
        <p15:guide id="4" orient="horz" pos="2483">
          <p15:clr>
            <a:srgbClr val="A4A3A4"/>
          </p15:clr>
        </p15:guide>
        <p15:guide id="5" pos="4973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Contact Card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FF95D769-541B-4E86-9575-6188DA0071C5}"/>
              </a:ext>
            </a:extLst>
          </p:cNvPr>
          <p:cNvSpPr/>
          <p:nvPr userDrawn="1"/>
        </p:nvSpPr>
        <p:spPr>
          <a:xfrm>
            <a:off x="-3600" y="0"/>
            <a:ext cx="7131600" cy="6858000"/>
          </a:xfrm>
          <a:prstGeom prst="rect">
            <a:avLst/>
          </a:prstGeom>
          <a:solidFill>
            <a:srgbClr val="CDE1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766800" y="766763"/>
            <a:ext cx="4945025" cy="2510441"/>
          </a:xfrm>
        </p:spPr>
        <p:txBody>
          <a:bodyPr anchor="b" anchorCtr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5000" b="0" kern="1200" baseline="0" dirty="0">
                <a:solidFill>
                  <a:srgbClr val="1F4533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  <a:endParaRPr lang="nb-NO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8B262DCB-7E95-45C4-81BD-C9B32339E7FD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895650" y="1775111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1F453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9A13E447-6B91-4BE0-9D6B-AEFE8AAD581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895650" y="3942759"/>
            <a:ext cx="3528000" cy="1332000"/>
          </a:xfrm>
          <a:ln w="3175">
            <a:noFill/>
          </a:ln>
          <a:effectLst/>
        </p:spPr>
        <p:txBody>
          <a:bodyPr lIns="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1F453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noProof="1"/>
              <a:t>Klikk for å sette inn kontaktkort fra Templafy/Mediebank</a:t>
            </a:r>
            <a:endParaRPr lang="nb-NO" noProof="1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9175BC7-2091-4CB0-B6C7-6208EBE77A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3" y="3450516"/>
            <a:ext cx="4945062" cy="263913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 spc="0" baseline="0">
                <a:solidFill>
                  <a:srgbClr val="1F4533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2pPr>
            <a:lvl3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3pPr>
            <a:lvl4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4pPr>
            <a:lvl5pPr marL="0" indent="0">
              <a:lnSpc>
                <a:spcPct val="100000"/>
              </a:lnSpc>
              <a:spcBef>
                <a:spcPts val="2000"/>
              </a:spcBef>
              <a:buNone/>
              <a:defRPr sz="2000"/>
            </a:lvl5pPr>
          </a:lstStyle>
          <a:p>
            <a:pPr lvl="0"/>
            <a:r>
              <a:rPr lang="nb-NO" dirty="0"/>
              <a:t>Sett inn tekst</a:t>
            </a:r>
            <a:endParaRPr lang="nb-NO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842C39C7-7332-44F2-B7B6-E047525B173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6"/>
          </p:nvPr>
        </p:nvSpPr>
        <p:spPr/>
        <p:txBody>
          <a:bodyPr/>
          <a:lstStyle/>
          <a:p>
            <a:fld id="{41120A33-56FB-4007-B1D1-A49CF40A5277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67DBB8-EB7F-4E23-B19C-8BAA68AC996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7F1F33-6910-4101-8AD6-C11D6128C9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1F4533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169392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A4A3A4"/>
          </p15:clr>
        </p15:guide>
        <p15:guide id="4" orient="horz" pos="2483">
          <p15:clr>
            <a:srgbClr val="A4A3A4"/>
          </p15:clr>
        </p15:guide>
        <p15:guide id="5" pos="4973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18D541EB-4676-4D77-833D-5C1DE078FBF9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91072BF6-F66D-4530-9033-8CC798C50A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65648" y="1571747"/>
            <a:ext cx="3852584" cy="45808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329587F-F816-4B15-9571-7C985297C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6800" y="2817000"/>
            <a:ext cx="10656850" cy="1224000"/>
          </a:xfrm>
        </p:spPr>
        <p:txBody>
          <a:bodyPr anchor="ctr" anchorCtr="0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500" b="0" kern="1200" baseline="0" dirty="0">
                <a:solidFill>
                  <a:srgbClr val="EDE7D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5C7845E-589C-469A-AD5A-DD686CFF635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7C5A084A-0E97-401F-A290-E58625E0D950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5C03E47-23E0-4296-90AE-0D8D5F82072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3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57EFA0E3-CCA8-4005-A6F7-3BC8CB8BEB2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3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1EA7A1A-7EB6-46F3-8796-D244E87C7BFE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766800" y="5597207"/>
            <a:ext cx="10656850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500" b="0" kern="1200" baseline="0" dirty="0">
                <a:solidFill>
                  <a:srgbClr val="EDE7D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sz="1600" spc="50" baseline="0" dirty="0">
                <a:latin typeface="+mn-lt"/>
              </a:rPr>
              <a:t>thommessen.no</a:t>
            </a:r>
          </a:p>
          <a:p>
            <a:r>
              <a:rPr lang="nb-NO" sz="1600" spc="50" baseline="0" dirty="0">
                <a:latin typeface="+mn-lt"/>
              </a:rPr>
              <a:t>Oslo </a:t>
            </a:r>
            <a:r>
              <a:rPr lang="nb-NO" sz="1600" spc="50" baseline="0" dirty="0">
                <a:latin typeface="+mn-lt"/>
                <a:ea typeface="Roboto Slab Light" pitchFamily="2" charset="0"/>
                <a:sym typeface="Symbol" panose="05050102010706020507" pitchFamily="18" charset="2"/>
              </a:rPr>
              <a:t>• Bergen • Stavanger • London</a:t>
            </a:r>
            <a:endParaRPr lang="nb-NO" sz="1600" spc="50" baseline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4633949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Tex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18D541EB-4676-4D77-833D-5C1DE078FBF9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4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DF3F310-5AD7-4DB4-B2FC-854D1E6193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37991" y="1569796"/>
            <a:ext cx="3916018" cy="4572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329587F-F816-4B15-9571-7C985297C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6800" y="2817000"/>
            <a:ext cx="10656850" cy="1224000"/>
          </a:xfrm>
        </p:spPr>
        <p:txBody>
          <a:bodyPr anchor="ctr" anchorCtr="0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500" b="0" kern="1200" baseline="0" dirty="0">
                <a:solidFill>
                  <a:srgbClr val="CDE1D0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dirty="0"/>
              <a:t>Klikk for å sette inn tekst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5C7845E-589C-469A-AD5A-DD686CFF635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34"/>
          </p:nvPr>
        </p:nvSpPr>
        <p:spPr/>
        <p:txBody>
          <a:bodyPr/>
          <a:lstStyle/>
          <a:p>
            <a:fld id="{12926EF6-E01E-4089-A7BA-1093574C0026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35C03E47-23E0-4296-90AE-0D8D5F82072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3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57EFA0E3-CCA8-4005-A6F7-3BC8CB8BEB2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3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1EA7A1A-7EB6-46F3-8796-D244E87C7BFE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766800" y="5597207"/>
            <a:ext cx="10656850" cy="49244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b-NO" sz="3500" b="0" kern="1200" baseline="0" dirty="0">
                <a:solidFill>
                  <a:srgbClr val="EDE7DE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r>
              <a:rPr lang="nb-NO" sz="1600" spc="50" baseline="0" dirty="0">
                <a:solidFill>
                  <a:srgbClr val="CDE1D0"/>
                </a:solidFill>
                <a:latin typeface="+mn-lt"/>
              </a:rPr>
              <a:t>thommessen.no</a:t>
            </a:r>
          </a:p>
          <a:p>
            <a:r>
              <a:rPr lang="nb-NO" sz="1600" spc="50" baseline="0" dirty="0">
                <a:solidFill>
                  <a:srgbClr val="CDE1D0"/>
                </a:solidFill>
                <a:latin typeface="+mn-lt"/>
              </a:rPr>
              <a:t>Oslo </a:t>
            </a:r>
            <a:r>
              <a:rPr lang="nb-NO" sz="1600" spc="50" baseline="0" dirty="0">
                <a:solidFill>
                  <a:srgbClr val="CDE1D0"/>
                </a:solidFill>
                <a:latin typeface="+mn-lt"/>
                <a:ea typeface="Roboto Slab Light" pitchFamily="2" charset="0"/>
                <a:sym typeface="Symbol" panose="05050102010706020507" pitchFamily="18" charset="2"/>
              </a:rPr>
              <a:t>• Bergen • Stavanger • London</a:t>
            </a:r>
            <a:endParaRPr lang="nb-NO" sz="1600" spc="50" baseline="0" dirty="0">
              <a:solidFill>
                <a:srgbClr val="CDE1D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911919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1493850"/>
            <a:ext cx="2700000" cy="4724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PICTURES</a:t>
            </a:r>
            <a:br>
              <a:rPr lang="nb-NO" sz="900" dirty="0">
                <a:latin typeface="+mn-lt"/>
                <a:cs typeface="Arial" panose="020B0604020202020204" pitchFamily="34" charset="0"/>
              </a:rPr>
            </a:br>
            <a:r>
              <a:rPr lang="nb-NO" sz="900" b="0" noProof="1">
                <a:solidFill>
                  <a:schemeClr val="tx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nsert corporate picture from Templafy</a:t>
            </a:r>
            <a:endParaRPr lang="nb-NO" altLang="da-DK" sz="900" b="0" noProof="1">
              <a:solidFill>
                <a:schemeClr val="tx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nb-NO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click on the icon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endParaRPr lang="nb-NO"/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GUIDES</a:t>
            </a:r>
            <a:endParaRPr lang="nb-NO" sz="1200" b="1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nb-NO" sz="900" b="0" i="0" dirty="0">
                <a:solidFill>
                  <a:srgbClr val="333333"/>
                </a:solidFill>
                <a:effectLst/>
                <a:latin typeface="Open Sans"/>
              </a:rPr>
              <a:t>⌘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nb-NO"/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131600" y="174274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173362" y="370384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52800" y="1493850"/>
            <a:ext cx="2700000" cy="458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HEADER &amp; FOOTER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spc="7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nb-NO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SLIDE ELEMENTS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766763" y="780169"/>
            <a:ext cx="10656887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b-NO" sz="24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  <a:endParaRPr lang="nb-NO"/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992821" y="204916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C11FF9A-2529-4A8B-BDEC-97D16FA23760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131861" y="298547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2821" y="518776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8288" y="1493850"/>
            <a:ext cx="2448000" cy="372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TEXT STYLES</a:t>
            </a:r>
            <a:endParaRPr lang="nb-NO" altLang="da-DK" sz="1200" b="0" spc="7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nb-NO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nb-NO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nb-NO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nb-NO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1200" spc="70" baseline="0" dirty="0">
                <a:latin typeface="+mn-lt"/>
                <a:cs typeface="Arial" panose="020B0604020202020204" pitchFamily="34" charset="0"/>
              </a:rPr>
              <a:t>SLIDES &amp; LAYOUTS</a:t>
            </a:r>
            <a:endParaRPr lang="nb-NO" sz="1600" spc="70" baseline="0" dirty="0"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nb-NO" sz="900" b="1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nb-NO" sz="90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endParaRPr lang="nb-NO" sz="900" dirty="0">
              <a:latin typeface="+mn-lt"/>
              <a:ea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1263" y="484329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71263" y="402629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73961" y="329314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71263" y="2581850"/>
            <a:ext cx="457143" cy="2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7985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black">
          <a:xfrm>
            <a:off x="0" y="0"/>
            <a:ext cx="12192000" cy="68616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nb-NO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4400" b="0" noProof="0" dirty="0">
                <a:solidFill>
                  <a:schemeClr val="bg1"/>
                </a:solidFill>
              </a:rPr>
              <a:t>If you see any </a:t>
            </a:r>
            <a:r>
              <a:rPr lang="nb-NO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nb-NO" sz="4400" b="0" i="0" noProof="0" dirty="0">
                <a:solidFill>
                  <a:schemeClr val="bg1"/>
                </a:solidFill>
              </a:rPr>
              <a:t>one</a:t>
            </a:r>
            <a:r>
              <a:rPr lang="nb-NO" sz="4400" b="1" i="1" noProof="0" dirty="0">
                <a:solidFill>
                  <a:schemeClr val="bg1"/>
                </a:solidFill>
              </a:rPr>
              <a:t>,</a:t>
            </a:r>
            <a:br>
              <a:rPr lang="nb-NO" sz="4400" b="0" i="0" noProof="0" dirty="0">
                <a:solidFill>
                  <a:schemeClr val="bg1"/>
                </a:solidFill>
              </a:rPr>
            </a:br>
            <a:r>
              <a:rPr lang="nb-NO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nb-NO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nb-NO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nb-NO" sz="2800" b="0" noProof="0" dirty="0">
                <a:solidFill>
                  <a:schemeClr val="bg1"/>
                </a:solidFill>
              </a:rPr>
            </a:br>
            <a:br>
              <a:rPr lang="nb-NO" sz="2800" b="0" noProof="0" dirty="0">
                <a:solidFill>
                  <a:schemeClr val="bg1"/>
                </a:solidFill>
              </a:rPr>
            </a:br>
            <a:endParaRPr lang="nb-NO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5000" b="1" i="1" noProof="0" dirty="0">
                <a:solidFill>
                  <a:schemeClr val="bg1"/>
                </a:solidFill>
              </a:rPr>
              <a:t>Do not use </a:t>
            </a:r>
            <a:endParaRPr lang="nb-NO" sz="150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346434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  <a:endParaRPr lang="nb-NO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nb-NO" sz="1800" b="0" noProof="0" dirty="0">
                <a:solidFill>
                  <a:schemeClr val="bg1"/>
                </a:solidFill>
              </a:rPr>
            </a:br>
            <a:endParaRPr lang="nb-NO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9F8763-6EAE-4A85-970B-65BAE2AFC8D7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923107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hommess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EDE7DE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white"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solidFill>
                  <a:srgbClr val="EDE7D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rgbClr val="EDE7DE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rgbClr val="EDE7D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C8107BB8-AF73-4FA4-BFC6-8111137A932F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9284421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64766" y="5186999"/>
            <a:ext cx="2481551" cy="295062"/>
          </a:xfrm>
          <a:prstGeom prst="rect">
            <a:avLst/>
          </a:prstGeom>
        </p:spPr>
      </p:pic>
      <p:grpSp>
        <p:nvGrpSpPr>
          <p:cNvPr id="28" name="Fifth element">
            <a:extLst>
              <a:ext uri="{FF2B5EF4-FFF2-40B4-BE49-F238E27FC236}">
                <a16:creationId xmlns:a16="http://schemas.microsoft.com/office/drawing/2014/main" id="{3FABA7DB-B61C-4597-B8EC-9B1628F38DEB}"/>
              </a:ext>
            </a:extLst>
          </p:cNvPr>
          <p:cNvGrpSpPr/>
          <p:nvPr userDrawn="1"/>
        </p:nvGrpSpPr>
        <p:grpSpPr>
          <a:xfrm>
            <a:off x="7084612" y="-267484"/>
            <a:ext cx="5108588" cy="7411895"/>
            <a:chOff x="7084612" y="-267484"/>
            <a:chExt cx="5108588" cy="7411895"/>
          </a:xfrm>
          <a:solidFill>
            <a:srgbClr val="81AECF"/>
          </a:solidFill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C68A22F-A696-49AB-A8F7-CD1E36206B49}"/>
                </a:ext>
              </a:extLst>
            </p:cNvPr>
            <p:cNvSpPr/>
            <p:nvPr userDrawn="1"/>
          </p:nvSpPr>
          <p:spPr>
            <a:xfrm>
              <a:off x="8127266" y="3286192"/>
              <a:ext cx="4065934" cy="28800"/>
            </a:xfrm>
            <a:custGeom>
              <a:avLst/>
              <a:gdLst>
                <a:gd name="connsiteX0" fmla="*/ 0 w 4065934"/>
                <a:gd name="connsiteY0" fmla="*/ 0 h 28800"/>
                <a:gd name="connsiteX1" fmla="*/ 4065934 w 4065934"/>
                <a:gd name="connsiteY1" fmla="*/ 0 h 28800"/>
                <a:gd name="connsiteX2" fmla="*/ 4065934 w 4065934"/>
                <a:gd name="connsiteY2" fmla="*/ 28800 h 28800"/>
                <a:gd name="connsiteX3" fmla="*/ 0 w 40659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65934" h="28800">
                  <a:moveTo>
                    <a:pt x="0" y="0"/>
                  </a:moveTo>
                  <a:lnTo>
                    <a:pt x="4065934" y="0"/>
                  </a:lnTo>
                  <a:lnTo>
                    <a:pt x="4065934" y="28800"/>
                  </a:lnTo>
                  <a:lnTo>
                    <a:pt x="0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EA4A0F1-6203-4D67-AD23-1D958B67E896}"/>
                </a:ext>
              </a:extLst>
            </p:cNvPr>
            <p:cNvSpPr/>
            <p:nvPr userDrawn="1"/>
          </p:nvSpPr>
          <p:spPr>
            <a:xfrm rot="3600000">
              <a:off x="5263046" y="1634033"/>
              <a:ext cx="3831834" cy="28800"/>
            </a:xfrm>
            <a:custGeom>
              <a:avLst/>
              <a:gdLst>
                <a:gd name="connsiteX0" fmla="*/ 0 w 3831834"/>
                <a:gd name="connsiteY0" fmla="*/ 28800 h 28800"/>
                <a:gd name="connsiteX1" fmla="*/ 16628 w 3831834"/>
                <a:gd name="connsiteY1" fmla="*/ 0 h 28800"/>
                <a:gd name="connsiteX2" fmla="*/ 3831834 w 3831834"/>
                <a:gd name="connsiteY2" fmla="*/ 0 h 28800"/>
                <a:gd name="connsiteX3" fmla="*/ 3831834 w 3831834"/>
                <a:gd name="connsiteY3" fmla="*/ 2880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31834" h="28800">
                  <a:moveTo>
                    <a:pt x="0" y="28800"/>
                  </a:moveTo>
                  <a:lnTo>
                    <a:pt x="16628" y="0"/>
                  </a:lnTo>
                  <a:lnTo>
                    <a:pt x="3831834" y="0"/>
                  </a:lnTo>
                  <a:lnTo>
                    <a:pt x="3831834" y="288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1A3655E-F98E-45BC-9AFC-FD7169CC23DA}"/>
                </a:ext>
              </a:extLst>
            </p:cNvPr>
            <p:cNvSpPr/>
            <p:nvPr userDrawn="1"/>
          </p:nvSpPr>
          <p:spPr>
            <a:xfrm rot="-3600000">
              <a:off x="5041823" y="5072823"/>
              <a:ext cx="4114377" cy="28800"/>
            </a:xfrm>
            <a:custGeom>
              <a:avLst/>
              <a:gdLst>
                <a:gd name="connsiteX0" fmla="*/ 4114377 w 4114377"/>
                <a:gd name="connsiteY0" fmla="*/ 0 h 28800"/>
                <a:gd name="connsiteX1" fmla="*/ 4114377 w 4114377"/>
                <a:gd name="connsiteY1" fmla="*/ 28800 h 28800"/>
                <a:gd name="connsiteX2" fmla="*/ 16628 w 4114377"/>
                <a:gd name="connsiteY2" fmla="*/ 28800 h 28800"/>
                <a:gd name="connsiteX3" fmla="*/ 0 w 4114377"/>
                <a:gd name="connsiteY3" fmla="*/ 0 h 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14377" h="28800">
                  <a:moveTo>
                    <a:pt x="4114377" y="0"/>
                  </a:moveTo>
                  <a:lnTo>
                    <a:pt x="4114377" y="28800"/>
                  </a:lnTo>
                  <a:lnTo>
                    <a:pt x="16628" y="2880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nb-NO" sz="100" noProof="0" dirty="0" err="1"/>
            </a:p>
          </p:txBody>
        </p:sp>
      </p:grp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589501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5918848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55F9B981-1865-43CB-8FAC-59B51EE928B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100258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pic>
        <p:nvPicPr>
          <p:cNvPr id="30" name="Logo">
            <a:extLst>
              <a:ext uri="{FF2B5EF4-FFF2-40B4-BE49-F238E27FC236}">
                <a16:creationId xmlns:a16="http://schemas.microsoft.com/office/drawing/2014/main" id="{666C3893-E06E-4A6F-8B5D-9D6F29E1D4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91A58D9E-27B0-42F4-B01E-896762B8E76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</a:p>
        </p:txBody>
      </p:sp>
    </p:spTree>
    <p:extLst>
      <p:ext uri="{BB962C8B-B14F-4D97-AF65-F5344CB8AC3E}">
        <p14:creationId xmlns:p14="http://schemas.microsoft.com/office/powerpoint/2010/main" val="2224585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F60E1D64-4C6B-487D-B9DB-12AB6C18E6C2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52E326F-B483-4C19-B8A2-1462956B4B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61" hasCustomPrompt="1"/>
          </p:nvPr>
        </p:nvSpPr>
        <p:spPr>
          <a:xfrm>
            <a:off x="766800" y="1861200"/>
            <a:ext cx="10659600" cy="4230000"/>
          </a:xfrm>
        </p:spPr>
        <p:txBody>
          <a:bodyPr bIns="360000"/>
          <a:lstStyle>
            <a:lvl1pPr marL="216000" indent="-216000">
              <a:buClrTx/>
              <a:buFont typeface="Wingdings" panose="05000000000000000000" pitchFamily="2" charset="2"/>
              <a:buChar char=""/>
              <a:defRPr sz="3000" spc="-10" baseline="0">
                <a:solidFill>
                  <a:srgbClr val="0D4065"/>
                </a:solidFill>
                <a:latin typeface="+mj-lt"/>
              </a:defRPr>
            </a:lvl1pPr>
            <a:lvl2pPr marL="360363" indent="-180000">
              <a:spcBef>
                <a:spcPts val="10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800">
                <a:solidFill>
                  <a:schemeClr val="accent4"/>
                </a:solidFill>
              </a:defRPr>
            </a:lvl2pPr>
            <a:lvl3pPr marL="432000" indent="-216000">
              <a:buClrTx/>
              <a:buFont typeface="Arial" panose="020B0604020202020204" pitchFamily="34" charset="0"/>
              <a:buChar char="•"/>
              <a:defRPr sz="1500" baseline="0">
                <a:solidFill>
                  <a:srgbClr val="0D4065"/>
                </a:solidFill>
                <a:latin typeface="+mn-lt"/>
              </a:defRPr>
            </a:lvl3pPr>
            <a:lvl4pPr marL="648000" indent="-216000">
              <a:lnSpc>
                <a:spcPct val="11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 spc="70">
                <a:solidFill>
                  <a:srgbClr val="0D4065"/>
                </a:solidFill>
                <a:latin typeface="+mn-lt"/>
              </a:defRPr>
            </a:lvl4pPr>
            <a:lvl5pPr marL="648000" indent="-216000">
              <a:lnSpc>
                <a:spcPct val="11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 spc="70">
                <a:solidFill>
                  <a:srgbClr val="0D4065"/>
                </a:solidFill>
                <a:latin typeface="+mn-lt"/>
              </a:defRPr>
            </a:lvl5pPr>
            <a:lvl6pPr marL="648000" indent="-216000">
              <a:lnSpc>
                <a:spcPct val="11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 spc="70">
                <a:solidFill>
                  <a:srgbClr val="00426A"/>
                </a:solidFill>
                <a:latin typeface="+mn-lt"/>
              </a:defRPr>
            </a:lvl6pPr>
            <a:lvl7pPr marL="648000" indent="-216000">
              <a:lnSpc>
                <a:spcPct val="11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 spc="70">
                <a:solidFill>
                  <a:srgbClr val="00426A"/>
                </a:solidFill>
                <a:latin typeface="+mn-lt"/>
              </a:defRPr>
            </a:lvl7pPr>
            <a:lvl8pPr marL="648000" indent="-216000">
              <a:lnSpc>
                <a:spcPct val="11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 spc="70">
                <a:solidFill>
                  <a:srgbClr val="00426A"/>
                </a:solidFill>
                <a:latin typeface="+mn-lt"/>
              </a:defRPr>
            </a:lvl8pPr>
            <a:lvl9pPr marL="648000" indent="-216000">
              <a:lnSpc>
                <a:spcPct val="110000"/>
              </a:lnSpc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sz="1200" spc="70">
                <a:solidFill>
                  <a:srgbClr val="00426A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2"/>
            <a:r>
              <a:rPr lang="nb-NO" dirty="0"/>
              <a:t>Andre nivå</a:t>
            </a:r>
          </a:p>
          <a:p>
            <a:pPr lvl="3"/>
            <a:r>
              <a:rPr lang="nb-NO" dirty="0"/>
              <a:t>Tredje nivå</a:t>
            </a:r>
          </a:p>
          <a:p>
            <a:pPr lvl="4"/>
            <a:r>
              <a:rPr lang="nb-NO" dirty="0"/>
              <a:t>4</a:t>
            </a:r>
          </a:p>
          <a:p>
            <a:pPr lvl="5"/>
            <a:r>
              <a:rPr lang="nb-NO" dirty="0"/>
              <a:t>5</a:t>
            </a:r>
          </a:p>
          <a:p>
            <a:pPr lvl="6"/>
            <a:r>
              <a:rPr lang="nb-NO" dirty="0"/>
              <a:t>6</a:t>
            </a:r>
          </a:p>
          <a:p>
            <a:pPr lvl="7"/>
            <a:r>
              <a:rPr lang="nb-NO" dirty="0"/>
              <a:t>7</a:t>
            </a:r>
          </a:p>
          <a:p>
            <a:pPr lvl="8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DEDCB01-9FEF-4286-9C1B-3721E755E7B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62"/>
          </p:nvPr>
        </p:nvSpPr>
        <p:spPr/>
        <p:txBody>
          <a:bodyPr/>
          <a:lstStyle/>
          <a:p>
            <a:fld id="{BAA415D7-A2ED-4FBC-914E-2D4ACB3C3C1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0B2387-AE94-424F-B8C1-1FE12CD3A7BE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35C9BA-35DF-41F4-947A-47B8905846FF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6031030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E52DFDC1-649B-4EE1-B25A-0571540A03DD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DF17C8B4-314C-40A1-AECB-B93A6F222E1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6799" y="756745"/>
            <a:ext cx="5711789" cy="354724"/>
          </a:xfrm>
        </p:spPr>
        <p:txBody>
          <a:bodyPr lIns="0" rIns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Klikk for å sette inn teks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6799" y="1252025"/>
            <a:ext cx="5711789" cy="2019098"/>
          </a:xfrm>
        </p:spPr>
        <p:txBody>
          <a:bodyPr anchor="b"/>
          <a:lstStyle>
            <a:lvl1pPr algn="l">
              <a:lnSpc>
                <a:spcPct val="90000"/>
              </a:lnSpc>
              <a:defRPr sz="4100" b="0" baseline="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FE22764-E163-4912-B950-BC38AE89BCD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3488303"/>
            <a:ext cx="5711788" cy="1747837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800" spc="0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50FA0AFC-4F95-41FA-8CC4-39779B1C081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6798" y="5900400"/>
            <a:ext cx="5713200" cy="216000"/>
          </a:xfrm>
        </p:spPr>
        <p:txBody>
          <a:bodyPr anchor="b" anchorCtr="0"/>
          <a:lstStyle>
            <a:lvl1pPr marL="0" indent="0">
              <a:buFontTx/>
              <a:buNone/>
              <a:defRPr sz="1250" cap="all" spc="0" baseline="0">
                <a:solidFill>
                  <a:schemeClr val="accent1"/>
                </a:solidFill>
                <a:latin typeface="+mn-lt"/>
              </a:defRPr>
            </a:lvl1pPr>
            <a:lvl2pPr marL="180000" indent="0">
              <a:buFontTx/>
              <a:buNone/>
              <a:defRPr/>
            </a:lvl2pPr>
            <a:lvl3pPr marL="360000" indent="0">
              <a:buFontTx/>
              <a:buNone/>
              <a:defRPr/>
            </a:lvl3pPr>
            <a:lvl4pPr marL="540000" indent="0">
              <a:buFontTx/>
              <a:buNone/>
              <a:defRPr/>
            </a:lvl4pPr>
            <a:lvl5pPr marL="720000" indent="0">
              <a:buFontTx/>
              <a:buNone/>
              <a:defRPr/>
            </a:lvl5pPr>
          </a:lstStyle>
          <a:p>
            <a:pPr lvl="0"/>
            <a:r>
              <a:rPr lang="nb-NO" dirty="0"/>
              <a:t>Sett inn foredragsholder her</a:t>
            </a:r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28000"/>
            <a:ext cx="5713200" cy="216000"/>
          </a:xfrm>
          <a:prstGeom prst="rect">
            <a:avLst/>
          </a:prstGeom>
        </p:spPr>
        <p:txBody>
          <a:bodyPr lIns="0" tIns="0" rIns="0" bIns="0"/>
          <a:lstStyle>
            <a:lvl1pPr>
              <a:defRPr sz="1250" cap="all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620E27CA-CC50-4653-BA4F-8C88A1573B81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8EBF1B01-D8D1-4606-A0A5-DAEFE48D12A4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116183" y="0"/>
            <a:ext cx="5075817" cy="5835227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4FFCE1D-578D-455E-B8FA-BEA46081BE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5969" y="6228259"/>
            <a:ext cx="211938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04235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6" name="Background">
            <a:extLst>
              <a:ext uri="{FF2B5EF4-FFF2-40B4-BE49-F238E27FC236}">
                <a16:creationId xmlns:a16="http://schemas.microsoft.com/office/drawing/2014/main" id="{C8ABAC56-4FB8-4BBE-BF07-3C1A2B53E016}"/>
              </a:ext>
            </a:extLst>
          </p:cNvPr>
          <p:cNvSpPr/>
          <p:nvPr userDrawn="1"/>
        </p:nvSpPr>
        <p:spPr>
          <a:xfrm>
            <a:off x="8866800" y="0"/>
            <a:ext cx="33264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83A41F11-0393-40B1-B678-188E5C99FF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4942239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4945025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 baseline="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70C8DDA8-8AF3-4EC5-90DF-91B01B963F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478589" y="1022363"/>
            <a:ext cx="4945061" cy="4812864"/>
          </a:xfrm>
          <a:solidFill>
            <a:schemeClr val="bg1"/>
          </a:solidFill>
        </p:spPr>
        <p:txBody>
          <a:bodyPr lIns="0" tIns="72000" rIns="0" anchor="t" anchorCtr="0"/>
          <a:lstStyle>
            <a:lvl1pPr marL="0" indent="0" algn="ctr">
              <a:buFontTx/>
              <a:buNone/>
              <a:defRPr sz="1200" b="0"/>
            </a:lvl1pPr>
          </a:lstStyle>
          <a:p>
            <a:r>
              <a:rPr lang="nb-NO" dirty="0"/>
              <a:t>Sett inn bilde fra Templafy/Mediebank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8A5102C3-478C-4B75-87C8-3400329B689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fld id="{ECB727A9-BA98-476E-B56F-1C772FBEE372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22631A6-BF10-47BB-A9CC-EE722CD6220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410DE46-7A29-47ED-83FB-AD426DDF0D7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>
                <a:solidFill>
                  <a:schemeClr val="accent4"/>
                </a:solidFill>
              </a:rPr>
              <a:pPr>
                <a:tabLst>
                  <a:tab pos="10659600" algn="r"/>
                </a:tabLst>
              </a:pPr>
              <a:t>‹#›</a:t>
            </a:fld>
            <a:endParaRPr lang="nb-NO" noProof="1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979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F60E1D64-4C6B-487D-B9DB-12AB6C18E6C2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52E326F-B483-4C19-B8A2-1462956B4B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22AF8EB-2B57-4D29-957D-27FD942217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DEDCB01-9FEF-4286-9C1B-3721E755E7B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62"/>
          </p:nvPr>
        </p:nvSpPr>
        <p:spPr/>
        <p:txBody>
          <a:bodyPr/>
          <a:lstStyle/>
          <a:p>
            <a:fld id="{4D6F757B-AB2B-42D6-BF44-00E6AB0623B1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0B2387-AE94-424F-B8C1-1FE12CD3A7BE}"/>
              </a:ext>
            </a:extLst>
          </p:cNvPr>
          <p:cNvSpPr>
            <a:spLocks noGrp="1"/>
          </p:cNvSpPr>
          <p:nvPr>
            <p:ph type="ftr" sz="quarter" idx="63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A35C9BA-35DF-41F4-947A-47B8905846FF}"/>
              </a:ext>
            </a:extLst>
          </p:cNvPr>
          <p:cNvSpPr>
            <a:spLocks noGrp="1"/>
          </p:cNvSpPr>
          <p:nvPr>
            <p:ph type="sldNum" sz="quarter" idx="64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808741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ext Sn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Background">
            <a:extLst>
              <a:ext uri="{FF2B5EF4-FFF2-40B4-BE49-F238E27FC236}">
                <a16:creationId xmlns:a16="http://schemas.microsoft.com/office/drawing/2014/main" id="{1E7F75C0-AA39-4D66-B98B-BBC6C93F81D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0F7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D494524-1653-4357-8F5F-EEF4605269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800" y="766800"/>
            <a:ext cx="10656000" cy="327600"/>
          </a:xfrm>
        </p:spPr>
        <p:txBody>
          <a:bodyPr tIns="0"/>
          <a:lstStyle>
            <a:lvl1pPr>
              <a:defRPr sz="2000" baseline="0">
                <a:solidFill>
                  <a:srgbClr val="0D4065"/>
                </a:solidFill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30D184A-DDE2-4AC6-8549-6CB40583E6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6763" y="1860144"/>
            <a:ext cx="10656887" cy="4231093"/>
          </a:xfrm>
        </p:spPr>
        <p:txBody>
          <a:bodyPr/>
          <a:lstStyle>
            <a:lvl1pPr marL="216000" indent="-216000">
              <a:spcAft>
                <a:spcPts val="0"/>
              </a:spcAft>
              <a:buFont typeface="Wingdings" panose="05000000000000000000" pitchFamily="2" charset="2"/>
              <a:buChar char=""/>
              <a:defRPr sz="2400" spc="-10" baseline="0">
                <a:solidFill>
                  <a:srgbClr val="0D4065"/>
                </a:solidFill>
                <a:latin typeface="+mn-lt"/>
              </a:defRPr>
            </a:lvl1pPr>
            <a:lvl2pPr marL="432000" indent="-216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600">
                <a:solidFill>
                  <a:srgbClr val="0D4065"/>
                </a:solidFill>
              </a:defRPr>
            </a:lvl2pPr>
            <a:lvl3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3pPr>
            <a:lvl4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4pPr>
            <a:lvl5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5pPr>
            <a:lvl6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6pPr>
            <a:lvl7pPr marL="648000" indent="-216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7pPr>
            <a:lvl8pPr marL="648000" indent="-216000">
              <a:lnSpc>
                <a:spcPct val="100000"/>
              </a:lnSpc>
              <a:spcBef>
                <a:spcPts val="600"/>
              </a:spcBef>
              <a:defRPr sz="1400" spc="50" baseline="0">
                <a:solidFill>
                  <a:srgbClr val="0D4065"/>
                </a:solidFill>
              </a:defRPr>
            </a:lvl8pPr>
            <a:lvl9pPr marL="648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spc="50" baseline="0">
                <a:solidFill>
                  <a:srgbClr val="0D4065"/>
                </a:solidFill>
                <a:latin typeface="+mn-lt"/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Second level</a:t>
            </a:r>
          </a:p>
          <a:p>
            <a:pPr lvl="2"/>
            <a:r>
              <a:rPr lang="nb-NO" dirty="0"/>
              <a:t>Third level</a:t>
            </a:r>
          </a:p>
          <a:p>
            <a:pPr lvl="3"/>
            <a:r>
              <a:rPr lang="nb-NO" dirty="0"/>
              <a:t>Fourth level</a:t>
            </a:r>
          </a:p>
          <a:p>
            <a:pPr lvl="4"/>
            <a:r>
              <a:rPr lang="nb-NO" dirty="0"/>
              <a:t>Fifth level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BD4763D3-18D1-4EB8-8BCD-2CC7B57B2E20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7"/>
          </p:nvPr>
        </p:nvSpPr>
        <p:spPr/>
        <p:txBody>
          <a:bodyPr/>
          <a:lstStyle/>
          <a:p>
            <a:fld id="{C099A6A1-E98F-4EAF-BBF7-BFA89C523FD9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760C88E-4AFE-4F58-A048-1F5C150D2ABC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400B9CA-BDAC-4E13-BB19-E7F9F443B688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379674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72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0D40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 baseline="0">
                <a:solidFill>
                  <a:srgbClr val="EDE7DE"/>
                </a:solidFill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EDE7DE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D6E16DA1-4C92-43BA-A0B5-91BA03EE1FC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ftr" sz="quarter" idx="18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white"/>
        <p:txBody>
          <a:bodyPr/>
          <a:lstStyle>
            <a:lvl1pPr>
              <a:defRPr>
                <a:solidFill>
                  <a:srgbClr val="EDE7DE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7940800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ice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DAE9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C8B57FAB-9877-47D3-96AB-D5246EF2729A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0690376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er Picture s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ackground">
            <a:extLst>
              <a:ext uri="{FF2B5EF4-FFF2-40B4-BE49-F238E27FC236}">
                <a16:creationId xmlns:a16="http://schemas.microsoft.com/office/drawing/2014/main" id="{7743B014-890B-4A9A-AC34-A2A1377F2DE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EDE7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1E18F8-D84D-4A0D-9A5E-E634A2654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00" y="2302376"/>
            <a:ext cx="5710588" cy="1587113"/>
          </a:xfrm>
        </p:spPr>
        <p:txBody>
          <a:bodyPr anchor="b" anchorCtr="0"/>
          <a:lstStyle>
            <a:lvl1pPr>
              <a:defRPr sz="3600">
                <a:latin typeface="+mj-lt"/>
              </a:defRPr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A0535D5-0958-486D-82A1-F25FC81299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800" y="4138377"/>
            <a:ext cx="5711788" cy="768987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300" cap="none" spc="0" baseline="0">
                <a:solidFill>
                  <a:srgbClr val="0D4065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BD7C53AA-C9EF-43A5-8B73-706297951FAF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A23705E6-23E7-41DC-8AE7-D64BA50A7DAB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33" name="Footer Placeholder 32">
            <a:extLst>
              <a:ext uri="{FF2B5EF4-FFF2-40B4-BE49-F238E27FC236}">
                <a16:creationId xmlns:a16="http://schemas.microsoft.com/office/drawing/2014/main" id="{BE26EAAA-0C63-44D3-9F7D-5DF431E0E9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4" name="Slide Number Placeholder 33">
            <a:extLst>
              <a:ext uri="{FF2B5EF4-FFF2-40B4-BE49-F238E27FC236}">
                <a16:creationId xmlns:a16="http://schemas.microsoft.com/office/drawing/2014/main" id="{747FC981-B80E-4F6E-853F-4205204CF56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258050" y="2302375"/>
            <a:ext cx="3909223" cy="4561200"/>
          </a:xfrm>
          <a:solidFill>
            <a:schemeClr val="bg1"/>
          </a:solidFill>
        </p:spPr>
        <p:txBody>
          <a:bodyPr lIns="0" tIns="72000" rIns="0" bIns="0" anchor="t" anchorCtr="0"/>
          <a:lstStyle>
            <a:lvl1pPr marL="0" indent="0" algn="ctr">
              <a:buNone/>
              <a:defRPr sz="1200" baseline="0">
                <a:solidFill>
                  <a:srgbClr val="0D4065"/>
                </a:solidFill>
              </a:defRPr>
            </a:lvl1pPr>
          </a:lstStyle>
          <a:p>
            <a:r>
              <a:rPr lang="nb-NO" noProof="1"/>
              <a:t>Sett inn bilde fra Templafy/Mediebank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534353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958A8B80-ADA8-4DEF-AD9B-B0343B3EDAB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686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5025102-6E96-4916-8024-40266DF0B5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66801" y="2311200"/>
            <a:ext cx="10659600" cy="3778450"/>
          </a:xfrm>
        </p:spPr>
        <p:txBody>
          <a:bodyPr rIns="0" anchor="t"/>
          <a:lstStyle>
            <a:lvl1pPr>
              <a:lnSpc>
                <a:spcPct val="100000"/>
              </a:lnSpc>
              <a:spcAft>
                <a:spcPts val="600"/>
              </a:spcAft>
              <a:defRPr sz="160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40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sz="1200">
                <a:solidFill>
                  <a:srgbClr val="0D4065"/>
                </a:solidFill>
              </a:defRPr>
            </a:lvl5pPr>
            <a:lvl6pPr>
              <a:lnSpc>
                <a:spcPct val="100000"/>
              </a:lnSpc>
              <a:defRPr>
                <a:solidFill>
                  <a:srgbClr val="0D4065"/>
                </a:solidFill>
              </a:defRPr>
            </a:lvl6pPr>
            <a:lvl7pPr>
              <a:lnSpc>
                <a:spcPct val="100000"/>
              </a:lnSpc>
              <a:defRPr>
                <a:solidFill>
                  <a:srgbClr val="0D4065"/>
                </a:solidFill>
              </a:defRPr>
            </a:lvl7pPr>
            <a:lvl8pPr>
              <a:lnSpc>
                <a:spcPct val="100000"/>
              </a:lnSpc>
              <a:defRPr>
                <a:solidFill>
                  <a:srgbClr val="0D4065"/>
                </a:solidFill>
              </a:defRPr>
            </a:lvl8pPr>
            <a:lvl9pPr>
              <a:defRPr>
                <a:solidFill>
                  <a:srgbClr val="0D4065"/>
                </a:solidFill>
              </a:defRPr>
            </a:lvl9pPr>
          </a:lstStyle>
          <a:p>
            <a:pPr lvl="0"/>
            <a:r>
              <a:rPr lang="nb-NO" dirty="0"/>
              <a:t>Klikk for å sette inn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  <a:p>
            <a:pPr lvl="5"/>
            <a:r>
              <a:rPr lang="nb-NO" dirty="0"/>
              <a:t>6</a:t>
            </a:r>
          </a:p>
          <a:p>
            <a:pPr lvl="6"/>
            <a:r>
              <a:rPr lang="nb-NO" dirty="0"/>
              <a:t>7</a:t>
            </a:r>
          </a:p>
          <a:p>
            <a:pPr lvl="7"/>
            <a:r>
              <a:rPr lang="nb-NO" dirty="0"/>
              <a:t>8</a:t>
            </a:r>
          </a:p>
          <a:p>
            <a:pPr lvl="8"/>
            <a:r>
              <a:rPr lang="nb-NO" dirty="0"/>
              <a:t>9</a:t>
            </a: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EF5BAD64-E812-48E9-9EDE-8CAB9F3CB99A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ECDBC5A7-9F04-4189-BAF6-BD46C1EBE7F4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47B46E49-D192-4213-801F-0C058B982D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8B25C58-3F75-43F4-A5DB-2935992A3E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7207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455">
          <p15:clr>
            <a:srgbClr val="A4A3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>
            <a:extLst>
              <a:ext uri="{FF2B5EF4-FFF2-40B4-BE49-F238E27FC236}">
                <a16:creationId xmlns:a16="http://schemas.microsoft.com/office/drawing/2014/main" id="{D8B98C7D-C3F2-43E5-A9EE-BD514B0FC7B0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63D9972-5495-41D0-B9D8-64949ED52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å sette inn titt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342AEF0C-22EC-413B-B75F-78A37B9886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2310448"/>
            <a:ext cx="4945062" cy="3779202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defRPr lang="en-GB" sz="1600" dirty="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4257157-A5A3-4538-B1A3-F1805141E2F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480176" y="2310448"/>
            <a:ext cx="4943473" cy="3779202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lang="en-GB" sz="1600" dirty="0">
                <a:solidFill>
                  <a:srgbClr val="0D4065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lang="en-GB" sz="1400" dirty="0">
                <a:solidFill>
                  <a:srgbClr val="0D4065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4pPr>
            <a:lvl5pPr>
              <a:lnSpc>
                <a:spcPct val="100000"/>
              </a:lnSpc>
              <a:spcAft>
                <a:spcPts val="0"/>
              </a:spcAft>
              <a:defRPr lang="en-GB" sz="1200" dirty="0">
                <a:solidFill>
                  <a:srgbClr val="0D4065"/>
                </a:solidFill>
              </a:defRPr>
            </a:lvl5pPr>
          </a:lstStyle>
          <a:p>
            <a:pPr lvl="0">
              <a:spcAft>
                <a:spcPts val="600"/>
              </a:spcAft>
            </a:pPr>
            <a:r>
              <a:rPr lang="nb-NO" dirty="0"/>
              <a:t>Klikk for å sette inn tekst</a:t>
            </a:r>
          </a:p>
          <a:p>
            <a:pPr lvl="1">
              <a:spcAft>
                <a:spcPts val="600"/>
              </a:spcAft>
            </a:pPr>
            <a:r>
              <a:rPr lang="nb-NO" dirty="0"/>
              <a:t>Andre nivå</a:t>
            </a:r>
          </a:p>
          <a:p>
            <a:pPr lvl="2">
              <a:spcAft>
                <a:spcPts val="600"/>
              </a:spcAft>
            </a:pPr>
            <a:r>
              <a:rPr lang="nb-NO" dirty="0"/>
              <a:t>Tredje nivå</a:t>
            </a:r>
          </a:p>
          <a:p>
            <a:pPr lvl="3">
              <a:spcAft>
                <a:spcPts val="600"/>
              </a:spcAft>
            </a:pPr>
            <a:r>
              <a:rPr lang="nb-NO" dirty="0"/>
              <a:t>Fjerde nivå</a:t>
            </a:r>
          </a:p>
          <a:p>
            <a:pPr lvl="4">
              <a:spcAft>
                <a:spcPts val="600"/>
              </a:spcAft>
            </a:pPr>
            <a:r>
              <a:rPr lang="nb-NO" dirty="0"/>
              <a:t>Femte nivå</a:t>
            </a:r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BB4120F7-DEF4-41C3-8522-11B183EC36E5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9"/>
          </p:nvPr>
        </p:nvSpPr>
        <p:spPr/>
        <p:txBody>
          <a:bodyPr/>
          <a:lstStyle/>
          <a:p>
            <a:fld id="{F761C5A0-6FDA-44E0-891A-38310D53169D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179864-C9DD-4F31-A9F6-7C5A4D07CAE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5E22F5-6F3C-4F95-A3DC-FE073C4FD4D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806546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>
            <a:extLst>
              <a:ext uri="{FF2B5EF4-FFF2-40B4-BE49-F238E27FC236}">
                <a16:creationId xmlns:a16="http://schemas.microsoft.com/office/drawing/2014/main" id="{075B19B2-D2E5-4FC7-990F-41BE900C7C92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766800" y="435600"/>
            <a:ext cx="10659600" cy="3276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cap="none" spc="0" baseline="0">
                <a:solidFill>
                  <a:srgbClr val="0D4065"/>
                </a:solidFill>
                <a:latin typeface="+mj-lt"/>
              </a:defRPr>
            </a:lvl1pPr>
            <a:lvl2pPr marL="800100" indent="-342900" algn="l">
              <a:buFont typeface="Arial" panose="020B0604020202020204" pitchFamily="34" charset="0"/>
              <a:buChar char="•"/>
              <a:defRPr sz="2000"/>
            </a:lvl2pPr>
            <a:lvl3pPr marL="1200150" indent="-285750" algn="l">
              <a:buFont typeface="Arial" panose="020B0604020202020204" pitchFamily="34" charset="0"/>
              <a:buChar char="•"/>
              <a:defRPr sz="2000"/>
            </a:lvl3pPr>
            <a:lvl4pPr marL="1657350" indent="-285750" algn="l">
              <a:buFont typeface="Arial" panose="020B0604020202020204" pitchFamily="34" charset="0"/>
              <a:buChar char="•"/>
              <a:defRPr sz="2000"/>
            </a:lvl4pPr>
            <a:lvl5pPr marL="2114550" indent="-285750" algn="l">
              <a:buFont typeface="Arial" panose="020B0604020202020204" pitchFamily="34" charset="0"/>
              <a:buChar char="•"/>
              <a:defRPr sz="2000"/>
            </a:lvl5pPr>
            <a:lvl6pPr marL="2571750" indent="-285750" algn="l">
              <a:buFont typeface="Arial" panose="020B0604020202020204" pitchFamily="34" charset="0"/>
              <a:buChar char="•"/>
              <a:defRPr sz="2000"/>
            </a:lvl6pPr>
            <a:lvl7pPr marL="3028950" indent="-285750" algn="l">
              <a:buFont typeface="Arial" panose="020B0604020202020204" pitchFamily="34" charset="0"/>
              <a:buChar char="•"/>
              <a:defRPr sz="2000"/>
            </a:lvl7pPr>
            <a:lvl8pPr marL="3486150" indent="-285750" algn="l">
              <a:buFont typeface="Arial" panose="020B0604020202020204" pitchFamily="34" charset="0"/>
              <a:buChar char="•"/>
              <a:defRPr sz="2000"/>
            </a:lvl8pPr>
            <a:lvl9pPr marL="3943350" indent="-285750" algn="l"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nb-NO" dirty="0"/>
              <a:t>Klikk for å sette inn undertitt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AAB13FA-F506-42DD-9BED-12D0CC8738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0D4065"/>
                </a:solidFill>
              </a:defRPr>
            </a:lvl1pPr>
          </a:lstStyle>
          <a:p>
            <a:r>
              <a:rPr lang="nb-NO" noProof="0" dirty="0"/>
              <a:t>Klikk for å sette inn tittel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520EC5DF-5302-4D19-A0B6-5CECA1391718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17"/>
          </p:nvPr>
        </p:nvSpPr>
        <p:spPr/>
        <p:txBody>
          <a:bodyPr/>
          <a:lstStyle/>
          <a:p>
            <a:fld id="{56923681-7A9C-495E-9AEF-54D5AF578F7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27A7C0-69B5-46FA-9874-F1604563551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4C2EE2AD-CDD0-4CFB-A349-B4F3FB82CF8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066886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55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9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42" Type="http://schemas.openxmlformats.org/officeDocument/2006/relationships/slideLayout" Target="../slideLayouts/slideLayout77.xml"/><Relationship Id="rId47" Type="http://schemas.openxmlformats.org/officeDocument/2006/relationships/slideLayout" Target="../slideLayouts/slideLayout82.xml"/><Relationship Id="rId50" Type="http://schemas.openxmlformats.org/officeDocument/2006/relationships/slideLayout" Target="../slideLayouts/slideLayout85.xml"/><Relationship Id="rId55" Type="http://schemas.openxmlformats.org/officeDocument/2006/relationships/oleObject" Target="../embeddings/oleObject2.bin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slideLayout" Target="../slideLayouts/slideLayout73.xml"/><Relationship Id="rId46" Type="http://schemas.openxmlformats.org/officeDocument/2006/relationships/slideLayout" Target="../slideLayouts/slideLayout81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41" Type="http://schemas.openxmlformats.org/officeDocument/2006/relationships/slideLayout" Target="../slideLayouts/slideLayout76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40" Type="http://schemas.openxmlformats.org/officeDocument/2006/relationships/slideLayout" Target="../slideLayouts/slideLayout75.xml"/><Relationship Id="rId45" Type="http://schemas.openxmlformats.org/officeDocument/2006/relationships/slideLayout" Target="../slideLayouts/slideLayout80.xml"/><Relationship Id="rId53" Type="http://schemas.openxmlformats.org/officeDocument/2006/relationships/vmlDrawing" Target="../drawings/vmlDrawing2.vml"/><Relationship Id="rId58" Type="http://schemas.openxmlformats.org/officeDocument/2006/relationships/image" Target="../media/image3.png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49" Type="http://schemas.openxmlformats.org/officeDocument/2006/relationships/slideLayout" Target="../slideLayouts/slideLayout84.xml"/><Relationship Id="rId57" Type="http://schemas.openxmlformats.org/officeDocument/2006/relationships/image" Target="../media/image2.png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4" Type="http://schemas.openxmlformats.org/officeDocument/2006/relationships/slideLayout" Target="../slideLayouts/slideLayout79.xml"/><Relationship Id="rId52" Type="http://schemas.openxmlformats.org/officeDocument/2006/relationships/theme" Target="../theme/theme2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43" Type="http://schemas.openxmlformats.org/officeDocument/2006/relationships/slideLayout" Target="../slideLayouts/slideLayout78.xml"/><Relationship Id="rId48" Type="http://schemas.openxmlformats.org/officeDocument/2006/relationships/slideLayout" Target="../slideLayouts/slideLayout83.xml"/><Relationship Id="rId56" Type="http://schemas.openxmlformats.org/officeDocument/2006/relationships/image" Target="../media/image21.emf"/><Relationship Id="rId8" Type="http://schemas.openxmlformats.org/officeDocument/2006/relationships/slideLayout" Target="../slideLayouts/slideLayout43.xml"/><Relationship Id="rId51" Type="http://schemas.openxmlformats.org/officeDocument/2006/relationships/slideLayout" Target="../slideLayouts/slideLayout86.xml"/><Relationship Id="rId3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ags" Target="../tags/tag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vmlDrawing" Target="../drawings/vmlDrawing3.v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25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theme" Target="../theme/theme3.xml"/><Relationship Id="rId40" Type="http://schemas.openxmlformats.org/officeDocument/2006/relationships/oleObject" Target="../embeddings/oleObject3.bin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Relationship Id="rId43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95309CC-9F69-4C49-A6FB-918015ABB5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66117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39" imgW="308" imgH="308" progId="TCLayout.ActiveDocument.1">
                  <p:embed/>
                </p:oleObj>
              </mc:Choice>
              <mc:Fallback>
                <p:oleObj name="think-cell Slide" r:id="rId39" imgW="308" imgH="3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FE50924-276A-49BA-AF2F-61A6233D8C34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C04CBA90-25B2-4002-A310-51481E5A9A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800" y="6580800"/>
            <a:ext cx="106596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tabLst>
                <a:tab pos="2052000" algn="r"/>
              </a:tabLst>
              <a:defRPr sz="600" cap="all" spc="-10" baseline="0"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pic>
        <p:nvPicPr>
          <p:cNvPr id="13" name="Picture 12" descr="Background pattern&#10;&#10;Description automatically generated" hidden="1">
            <a:extLst>
              <a:ext uri="{FF2B5EF4-FFF2-40B4-BE49-F238E27FC236}">
                <a16:creationId xmlns:a16="http://schemas.microsoft.com/office/drawing/2014/main" id="{C9EAA71A-8261-4441-B7D4-60A0C37E080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6800" y="2425913"/>
            <a:ext cx="10658400" cy="36637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dirty="0"/>
              <a:t>Level 1 (Enter+TAB for next text level, SHIFT+TAB to go back in levels)</a:t>
            </a:r>
          </a:p>
          <a:p>
            <a:pPr lvl="1"/>
            <a:r>
              <a:rPr lang="nb-NO" noProof="0" dirty="0"/>
              <a:t>Level 2</a:t>
            </a:r>
          </a:p>
          <a:p>
            <a:pPr lvl="2"/>
            <a:r>
              <a:rPr lang="nb-NO" noProof="0" dirty="0"/>
              <a:t>Level 3</a:t>
            </a:r>
          </a:p>
          <a:p>
            <a:pPr lvl="3"/>
            <a:r>
              <a:rPr lang="nb-NO" noProof="0" dirty="0"/>
              <a:t>Level 4</a:t>
            </a:r>
          </a:p>
          <a:p>
            <a:pPr lvl="4"/>
            <a:r>
              <a:rPr lang="nb-NO" noProof="0" dirty="0"/>
              <a:t>Level 5</a:t>
            </a:r>
          </a:p>
          <a:p>
            <a:pPr lvl="5"/>
            <a:r>
              <a:rPr lang="nb-NO" noProof="0" dirty="0"/>
              <a:t>Level 6</a:t>
            </a:r>
          </a:p>
          <a:p>
            <a:pPr lvl="6"/>
            <a:r>
              <a:rPr lang="nb-NO" noProof="0" dirty="0"/>
              <a:t>Level 7 Open Sans Semibold 12 pt</a:t>
            </a:r>
          </a:p>
          <a:p>
            <a:pPr lvl="7"/>
            <a:r>
              <a:rPr lang="nb-NO" noProof="0" dirty="0"/>
              <a:t>Level 8</a:t>
            </a:r>
          </a:p>
          <a:p>
            <a:pPr lvl="8"/>
            <a:r>
              <a:rPr lang="nb-NO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1307625"/>
            <a:ext cx="10658400" cy="11182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dirty="0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4547" y="6580800"/>
            <a:ext cx="7800744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cap="all" spc="-10" baseline="0"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430FC4E-B33B-47A0-B1B7-9AB03E7BF38A}"/>
              </a:ext>
            </a:extLst>
          </p:cNvPr>
          <p:cNvSpPr/>
          <p:nvPr userDrawn="1"/>
        </p:nvSpPr>
        <p:spPr>
          <a:xfrm>
            <a:off x="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FEBC6F-46DE-496C-ADF6-7DAB19B9CAAC}"/>
              </a:ext>
            </a:extLst>
          </p:cNvPr>
          <p:cNvSpPr/>
          <p:nvPr userDrawn="1"/>
        </p:nvSpPr>
        <p:spPr>
          <a:xfrm>
            <a:off x="571260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2FD1705-F240-46C4-876D-A6E5036280C1}"/>
              </a:ext>
            </a:extLst>
          </p:cNvPr>
          <p:cNvSpPr/>
          <p:nvPr userDrawn="1"/>
        </p:nvSpPr>
        <p:spPr>
          <a:xfrm>
            <a:off x="11425200" y="609120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9" name="Date Placeholder 4" hidden="1">
            <a:extLst>
              <a:ext uri="{FF2B5EF4-FFF2-40B4-BE49-F238E27FC236}">
                <a16:creationId xmlns:a16="http://schemas.microsoft.com/office/drawing/2014/main" id="{770EF6FC-F1A0-4B0E-96C7-40EE8889CDD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A3F83C09-75E3-4E04-9182-896BF72A4F8F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29" r:id="rId2"/>
    <p:sldLayoutId id="2147483774" r:id="rId3"/>
    <p:sldLayoutId id="2147483775" r:id="rId4"/>
    <p:sldLayoutId id="2147483777" r:id="rId5"/>
    <p:sldLayoutId id="2147483776" r:id="rId6"/>
    <p:sldLayoutId id="2147483778" r:id="rId7"/>
    <p:sldLayoutId id="2147483737" r:id="rId8"/>
    <p:sldLayoutId id="2147483799" r:id="rId9"/>
    <p:sldLayoutId id="2147483787" r:id="rId10"/>
    <p:sldLayoutId id="2147483802" r:id="rId11"/>
    <p:sldLayoutId id="2147483805" r:id="rId12"/>
    <p:sldLayoutId id="2147483800" r:id="rId13"/>
    <p:sldLayoutId id="2147483806" r:id="rId14"/>
    <p:sldLayoutId id="2147483758" r:id="rId15"/>
    <p:sldLayoutId id="2147483757" r:id="rId16"/>
    <p:sldLayoutId id="2147483808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8" r:id="rId23"/>
    <p:sldLayoutId id="2147483739" r:id="rId24"/>
    <p:sldLayoutId id="2147483791" r:id="rId25"/>
    <p:sldLayoutId id="2147483789" r:id="rId26"/>
    <p:sldLayoutId id="2147483790" r:id="rId27"/>
    <p:sldLayoutId id="2147483797" r:id="rId28"/>
    <p:sldLayoutId id="2147483796" r:id="rId29"/>
    <p:sldLayoutId id="2147483795" r:id="rId30"/>
    <p:sldLayoutId id="2147483794" r:id="rId31"/>
    <p:sldLayoutId id="2147483792" r:id="rId32"/>
    <p:sldLayoutId id="2147483793" r:id="rId33"/>
    <p:sldLayoutId id="2147483762" r:id="rId34"/>
    <p:sldLayoutId id="2147483751" r:id="rId3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Roboto Slab Light" pitchFamily="2" charset="0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2000"/>
        </a:spcBef>
        <a:spcAft>
          <a:spcPts val="0"/>
        </a:spcAft>
        <a:buFont typeface="Arial" panose="020B0604020202020204" pitchFamily="34" charset="0"/>
        <a:buChar char="•"/>
        <a:defRPr sz="1500" kern="1200" spc="7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kern="1200" spc="7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kern="1200" spc="7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kern="1200" spc="7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tabLst/>
        <a:defRPr sz="1200" kern="1200" spc="7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kern="1200" spc="7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​"/>
        <a:defRPr sz="1200" b="0" kern="1200" spc="70" baseline="0">
          <a:solidFill>
            <a:schemeClr val="tx1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7pPr>
      <a:lvl8pPr marL="1080000" indent="-180000" algn="l" defTabSz="914400" rtl="0" eaLnBrk="1" latinLnBrk="0" hangingPunct="1">
        <a:lnSpc>
          <a:spcPct val="11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kern="1200" spc="7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83" userDrawn="1">
          <p15:clr>
            <a:srgbClr val="A4A3A4"/>
          </p15:clr>
        </p15:guide>
        <p15:guide id="4" orient="horz" pos="483" userDrawn="1">
          <p15:clr>
            <a:srgbClr val="A4A3A4"/>
          </p15:clr>
        </p15:guide>
        <p15:guide id="5" pos="3598" userDrawn="1">
          <p15:clr>
            <a:srgbClr val="A4A3A4"/>
          </p15:clr>
        </p15:guide>
        <p15:guide id="6" pos="4081" userDrawn="1">
          <p15:clr>
            <a:srgbClr val="A4A3A4"/>
          </p15:clr>
        </p15:guide>
        <p15:guide id="7" pos="7196" userDrawn="1">
          <p15:clr>
            <a:srgbClr val="A4A3A4"/>
          </p15:clr>
        </p15:guide>
        <p15:guide id="8" orient="horz" pos="3836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63539AFD-376A-4B9E-9C59-510A79D95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434767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55" imgW="360" imgH="360" progId="TCLayout.ActiveDocument.1">
                  <p:embed/>
                </p:oleObj>
              </mc:Choice>
              <mc:Fallback>
                <p:oleObj name="think-cell Slide" r:id="rId55" imgW="360" imgH="360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63539AFD-376A-4B9E-9C59-510A79D95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FE50924-276A-49BA-AF2F-61A6233D8C34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C04CBA90-25B2-4002-A310-51481E5A9A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800" y="6580800"/>
            <a:ext cx="106596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tabLst>
                <a:tab pos="2052000" algn="r"/>
              </a:tabLst>
              <a:defRPr sz="600" cap="all" spc="-10" baseline="0"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pic>
        <p:nvPicPr>
          <p:cNvPr id="13" name="Picture 12" descr="Background pattern&#10;&#10;Description automatically generated" hidden="1">
            <a:extLst>
              <a:ext uri="{FF2B5EF4-FFF2-40B4-BE49-F238E27FC236}">
                <a16:creationId xmlns:a16="http://schemas.microsoft.com/office/drawing/2014/main" id="{C9EAA71A-8261-4441-B7D4-60A0C37E080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8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6800" y="2311200"/>
            <a:ext cx="10658400" cy="3778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dirty="0"/>
              <a:t>Level 1 (</a:t>
            </a:r>
            <a:r>
              <a:rPr lang="nb-NO" noProof="0" dirty="0" err="1"/>
              <a:t>Enter+TAB</a:t>
            </a:r>
            <a:r>
              <a:rPr lang="nb-NO" noProof="0" dirty="0"/>
              <a:t> for </a:t>
            </a:r>
            <a:r>
              <a:rPr lang="nb-NO" noProof="0" dirty="0" err="1"/>
              <a:t>next</a:t>
            </a:r>
            <a:r>
              <a:rPr lang="nb-NO" noProof="0" dirty="0"/>
              <a:t> </a:t>
            </a:r>
            <a:r>
              <a:rPr lang="nb-NO" noProof="0" dirty="0" err="1"/>
              <a:t>text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r>
              <a:rPr lang="nb-NO" noProof="0" dirty="0"/>
              <a:t>, SHIFT+TAB to </a:t>
            </a:r>
            <a:r>
              <a:rPr lang="nb-NO" noProof="0" dirty="0" err="1"/>
              <a:t>go</a:t>
            </a:r>
            <a:r>
              <a:rPr lang="nb-NO" noProof="0" dirty="0"/>
              <a:t> back in </a:t>
            </a:r>
            <a:r>
              <a:rPr lang="nb-NO" noProof="0" dirty="0" err="1"/>
              <a:t>levels</a:t>
            </a:r>
            <a:r>
              <a:rPr lang="nb-NO" noProof="0" dirty="0"/>
              <a:t>)</a:t>
            </a:r>
            <a:endParaRPr lang="nb-NO" dirty="0"/>
          </a:p>
          <a:p>
            <a:pPr lvl="1"/>
            <a:r>
              <a:rPr lang="nb-NO" noProof="0" dirty="0"/>
              <a:t>Level 2</a:t>
            </a:r>
            <a:endParaRPr lang="nb-NO" dirty="0"/>
          </a:p>
          <a:p>
            <a:pPr lvl="2"/>
            <a:r>
              <a:rPr lang="nb-NO" noProof="0" dirty="0"/>
              <a:t>Level 3</a:t>
            </a:r>
            <a:endParaRPr lang="nb-NO" dirty="0"/>
          </a:p>
          <a:p>
            <a:pPr lvl="3"/>
            <a:r>
              <a:rPr lang="nb-NO" noProof="0" dirty="0"/>
              <a:t>Level 4</a:t>
            </a:r>
            <a:endParaRPr lang="nb-NO" dirty="0"/>
          </a:p>
          <a:p>
            <a:pPr lvl="4"/>
            <a:r>
              <a:rPr lang="nb-NO" noProof="0" dirty="0"/>
              <a:t>Level 5</a:t>
            </a:r>
            <a:endParaRPr lang="nb-NO" dirty="0"/>
          </a:p>
          <a:p>
            <a:pPr lvl="5"/>
            <a:r>
              <a:rPr lang="nb-NO" noProof="0" dirty="0"/>
              <a:t>Level 6</a:t>
            </a:r>
            <a:endParaRPr lang="nb-NO" dirty="0"/>
          </a:p>
          <a:p>
            <a:pPr lvl="6"/>
            <a:r>
              <a:rPr lang="nb-NO" noProof="0" dirty="0"/>
              <a:t>Level 7 Open Sans </a:t>
            </a:r>
            <a:r>
              <a:rPr lang="nb-NO" noProof="0" dirty="0" err="1"/>
              <a:t>Semibold</a:t>
            </a:r>
            <a:r>
              <a:rPr lang="nb-NO" noProof="0" dirty="0"/>
              <a:t> 12 </a:t>
            </a:r>
            <a:r>
              <a:rPr lang="nb-NO" noProof="0" dirty="0" err="1"/>
              <a:t>pt</a:t>
            </a:r>
            <a:endParaRPr lang="nb-NO" dirty="0"/>
          </a:p>
          <a:p>
            <a:pPr lvl="7"/>
            <a:r>
              <a:rPr lang="nb-NO" noProof="0" dirty="0"/>
              <a:t>Level 8</a:t>
            </a:r>
            <a:endParaRPr lang="nb-NO" dirty="0"/>
          </a:p>
          <a:p>
            <a:pPr lvl="8"/>
            <a:r>
              <a:rPr lang="nb-NO" noProof="0" dirty="0"/>
              <a:t>Level 9, </a:t>
            </a:r>
            <a:r>
              <a:rPr lang="nb-NO" noProof="0" dirty="0" err="1"/>
              <a:t>Infographic</a:t>
            </a:r>
            <a:endParaRPr lang="nb-NO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7680"/>
            <a:ext cx="10658400" cy="11182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4547" y="6580800"/>
            <a:ext cx="7800744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cap="all" spc="-10" baseline="0"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430FC4E-B33B-47A0-B1B7-9AB03E7BF38A}"/>
              </a:ext>
            </a:extLst>
          </p:cNvPr>
          <p:cNvSpPr/>
          <p:nvPr userDrawn="1"/>
        </p:nvSpPr>
        <p:spPr>
          <a:xfrm>
            <a:off x="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FEBC6F-46DE-496C-ADF6-7DAB19B9CAAC}"/>
              </a:ext>
            </a:extLst>
          </p:cNvPr>
          <p:cNvSpPr/>
          <p:nvPr userDrawn="1"/>
        </p:nvSpPr>
        <p:spPr>
          <a:xfrm>
            <a:off x="571260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2FD1705-F240-46C4-876D-A6E5036280C1}"/>
              </a:ext>
            </a:extLst>
          </p:cNvPr>
          <p:cNvSpPr/>
          <p:nvPr userDrawn="1"/>
        </p:nvSpPr>
        <p:spPr>
          <a:xfrm>
            <a:off x="11425200" y="609120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9" name="Date Placeholder 4" hidden="1">
            <a:extLst>
              <a:ext uri="{FF2B5EF4-FFF2-40B4-BE49-F238E27FC236}">
                <a16:creationId xmlns:a16="http://schemas.microsoft.com/office/drawing/2014/main" id="{770EF6FC-F1A0-4B0E-96C7-40EE8889CDD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6E076E71-ABCB-4FB8-AAD4-BF7C39055FA0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06682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  <p:sldLayoutId id="2147483831" r:id="rId22"/>
    <p:sldLayoutId id="2147483832" r:id="rId23"/>
    <p:sldLayoutId id="2147483833" r:id="rId24"/>
    <p:sldLayoutId id="2147483834" r:id="rId25"/>
    <p:sldLayoutId id="2147483835" r:id="rId26"/>
    <p:sldLayoutId id="2147483836" r:id="rId27"/>
    <p:sldLayoutId id="2147483837" r:id="rId28"/>
    <p:sldLayoutId id="2147483838" r:id="rId29"/>
    <p:sldLayoutId id="2147483839" r:id="rId30"/>
    <p:sldLayoutId id="2147483840" r:id="rId31"/>
    <p:sldLayoutId id="2147483841" r:id="rId32"/>
    <p:sldLayoutId id="2147483842" r:id="rId33"/>
    <p:sldLayoutId id="2147483843" r:id="rId34"/>
    <p:sldLayoutId id="2147483844" r:id="rId35"/>
    <p:sldLayoutId id="2147483845" r:id="rId36"/>
    <p:sldLayoutId id="2147483846" r:id="rId37"/>
    <p:sldLayoutId id="2147483847" r:id="rId38"/>
    <p:sldLayoutId id="2147483848" r:id="rId39"/>
    <p:sldLayoutId id="2147483849" r:id="rId40"/>
    <p:sldLayoutId id="2147483850" r:id="rId41"/>
    <p:sldLayoutId id="2147483851" r:id="rId42"/>
    <p:sldLayoutId id="2147483852" r:id="rId43"/>
    <p:sldLayoutId id="2147483853" r:id="rId44"/>
    <p:sldLayoutId id="2147483854" r:id="rId45"/>
    <p:sldLayoutId id="2147483855" r:id="rId46"/>
    <p:sldLayoutId id="2147483856" r:id="rId47"/>
    <p:sldLayoutId id="2147483857" r:id="rId48"/>
    <p:sldLayoutId id="2147483858" r:id="rId49"/>
    <p:sldLayoutId id="2147483859" r:id="rId50"/>
    <p:sldLayoutId id="2147483860" r:id="rId5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D4065"/>
          </a:solidFill>
          <a:latin typeface="+mj-lt"/>
          <a:ea typeface="Roboto Slab Light" pitchFamily="2" charset="0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 typeface="Arial" panose="020B0604020202020204" pitchFamily="34" charset="0"/>
        <a:buChar char="•"/>
        <a:defRPr sz="1600" kern="1200" spc="50" baseline="0">
          <a:solidFill>
            <a:srgbClr val="0D4065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 spc="50" baseline="0">
          <a:solidFill>
            <a:srgbClr val="0D4065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 spc="50" baseline="0">
          <a:solidFill>
            <a:srgbClr val="0D4065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kern="1200" spc="50" baseline="0">
          <a:solidFill>
            <a:srgbClr val="0D4065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tabLst/>
        <a:defRPr sz="1200" kern="1200" spc="50" baseline="0">
          <a:solidFill>
            <a:srgbClr val="0D4065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kern="1200" spc="50" baseline="0">
          <a:solidFill>
            <a:srgbClr val="0D4065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​"/>
        <a:defRPr sz="1200" b="0" kern="1200" spc="50" baseline="0">
          <a:solidFill>
            <a:srgbClr val="0D4065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7pPr>
      <a:lvl8pPr marL="108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kern="1200" spc="50" baseline="0">
          <a:solidFill>
            <a:srgbClr val="0D4065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rgbClr val="0D4065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83">
          <p15:clr>
            <a:srgbClr val="A4A3A4"/>
          </p15:clr>
        </p15:guide>
        <p15:guide id="4" orient="horz" pos="483">
          <p15:clr>
            <a:srgbClr val="A4A3A4"/>
          </p15:clr>
        </p15:guide>
        <p15:guide id="5" pos="3598">
          <p15:clr>
            <a:srgbClr val="A4A3A4"/>
          </p15:clr>
        </p15:guide>
        <p15:guide id="6" pos="4081">
          <p15:clr>
            <a:srgbClr val="A4A3A4"/>
          </p15:clr>
        </p15:guide>
        <p15:guide id="7" pos="7196">
          <p15:clr>
            <a:srgbClr val="A4A3A4"/>
          </p15:clr>
        </p15:guide>
        <p15:guide id="8" orient="horz" pos="3836">
          <p15:clr>
            <a:srgbClr val="A4A3A4"/>
          </p15:clr>
        </p15:guide>
        <p15:guide id="9" orient="horz" pos="274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FFA65B-0395-4A59-BF16-C03F801C58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165665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40" imgW="307" imgH="306" progId="TCLayout.ActiveDocument.1">
                  <p:embed/>
                </p:oleObj>
              </mc:Choice>
              <mc:Fallback>
                <p:oleObj name="think-cell Slide" r:id="rId40" imgW="307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hidden="1">
            <a:extLst>
              <a:ext uri="{FF2B5EF4-FFF2-40B4-BE49-F238E27FC236}">
                <a16:creationId xmlns:a16="http://schemas.microsoft.com/office/drawing/2014/main" id="{4FE50924-276A-49BA-AF2F-61A6233D8C34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Slide Number Placeholder 6">
            <a:extLst>
              <a:ext uri="{FF2B5EF4-FFF2-40B4-BE49-F238E27FC236}">
                <a16:creationId xmlns:a16="http://schemas.microsoft.com/office/drawing/2014/main" id="{C04CBA90-25B2-4002-A310-51481E5A9A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800" y="6580800"/>
            <a:ext cx="106596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tabLst>
                <a:tab pos="2052000" algn="r"/>
              </a:tabLst>
              <a:defRPr sz="600" cap="all" spc="-10" baseline="0">
                <a:solidFill>
                  <a:srgbClr val="0D4065"/>
                </a:solidFill>
              </a:defRPr>
            </a:lvl1pPr>
          </a:lstStyle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‹#›</a:t>
            </a:fld>
            <a:endParaRPr lang="nb-NO" noProof="1"/>
          </a:p>
        </p:txBody>
      </p:sp>
      <p:pic>
        <p:nvPicPr>
          <p:cNvPr id="13" name="Picture 12" descr="Background pattern&#10;&#10;Description automatically generated" hidden="1">
            <a:extLst>
              <a:ext uri="{FF2B5EF4-FFF2-40B4-BE49-F238E27FC236}">
                <a16:creationId xmlns:a16="http://schemas.microsoft.com/office/drawing/2014/main" id="{C9EAA71A-8261-4441-B7D4-60A0C37E080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6800" y="2311200"/>
            <a:ext cx="10658400" cy="3778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dirty="0"/>
              <a:t>Level 1 (Enter+TAB for next text level, SHIFT+TAB to go back in levels)</a:t>
            </a:r>
          </a:p>
          <a:p>
            <a:pPr lvl="1"/>
            <a:r>
              <a:rPr lang="nb-NO" noProof="0" dirty="0"/>
              <a:t>Level 2</a:t>
            </a:r>
          </a:p>
          <a:p>
            <a:pPr lvl="2"/>
            <a:r>
              <a:rPr lang="nb-NO" noProof="0" dirty="0"/>
              <a:t>Level 3</a:t>
            </a:r>
          </a:p>
          <a:p>
            <a:pPr lvl="3"/>
            <a:r>
              <a:rPr lang="nb-NO" noProof="0" dirty="0"/>
              <a:t>Level 4</a:t>
            </a:r>
          </a:p>
          <a:p>
            <a:pPr lvl="4"/>
            <a:r>
              <a:rPr lang="nb-NO" noProof="0" dirty="0"/>
              <a:t>Level 5</a:t>
            </a:r>
          </a:p>
          <a:p>
            <a:pPr lvl="5"/>
            <a:r>
              <a:rPr lang="nb-NO" noProof="0" dirty="0"/>
              <a:t>Level 6</a:t>
            </a:r>
          </a:p>
          <a:p>
            <a:pPr lvl="6"/>
            <a:r>
              <a:rPr lang="nb-NO" noProof="0" dirty="0"/>
              <a:t>Level 7 Open Sans Semibold 12 pt</a:t>
            </a:r>
          </a:p>
          <a:p>
            <a:pPr lvl="7"/>
            <a:r>
              <a:rPr lang="nb-NO" noProof="0" dirty="0"/>
              <a:t>Level 8</a:t>
            </a:r>
          </a:p>
          <a:p>
            <a:pPr lvl="8"/>
            <a:r>
              <a:rPr lang="nb-NO" noProof="0" dirty="0"/>
              <a:t>Level 9, 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7680"/>
            <a:ext cx="10658400" cy="11182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dirty="0"/>
              <a:t>Click to add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94547" y="6580800"/>
            <a:ext cx="7800744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cap="all" spc="-10" baseline="0">
                <a:solidFill>
                  <a:srgbClr val="0D4065"/>
                </a:solidFill>
              </a:defRPr>
            </a:lvl1pPr>
          </a:lstStyle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430FC4E-B33B-47A0-B1B7-9AB03E7BF38A}"/>
              </a:ext>
            </a:extLst>
          </p:cNvPr>
          <p:cNvSpPr/>
          <p:nvPr userDrawn="1"/>
        </p:nvSpPr>
        <p:spPr>
          <a:xfrm>
            <a:off x="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FEBC6F-46DE-496C-ADF6-7DAB19B9CAAC}"/>
              </a:ext>
            </a:extLst>
          </p:cNvPr>
          <p:cNvSpPr/>
          <p:nvPr userDrawn="1"/>
        </p:nvSpPr>
        <p:spPr>
          <a:xfrm>
            <a:off x="5712600" y="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2FD1705-F240-46C4-876D-A6E5036280C1}"/>
              </a:ext>
            </a:extLst>
          </p:cNvPr>
          <p:cNvSpPr/>
          <p:nvPr userDrawn="1"/>
        </p:nvSpPr>
        <p:spPr>
          <a:xfrm>
            <a:off x="11425200" y="6091200"/>
            <a:ext cx="766800" cy="766800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nb-NO" sz="2000" noProof="0" dirty="0" err="1"/>
          </a:p>
        </p:txBody>
      </p:sp>
      <p:sp>
        <p:nvSpPr>
          <p:cNvPr id="19" name="Date Placeholder 4" hidden="1">
            <a:extLst>
              <a:ext uri="{FF2B5EF4-FFF2-40B4-BE49-F238E27FC236}">
                <a16:creationId xmlns:a16="http://schemas.microsoft.com/office/drawing/2014/main" id="{770EF6FC-F1A0-4B0E-96C7-40EE8889CDD4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AD71FC53-0B84-4822-8F24-B14F59B63703}" type="datetime1">
              <a:rPr lang="nb-NO" smtClean="0"/>
              <a:t>27.10.20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6163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  <p:sldLayoutId id="2147483883" r:id="rId22"/>
    <p:sldLayoutId id="2147483884" r:id="rId23"/>
    <p:sldLayoutId id="2147483885" r:id="rId24"/>
    <p:sldLayoutId id="2147483886" r:id="rId25"/>
    <p:sldLayoutId id="2147483887" r:id="rId26"/>
    <p:sldLayoutId id="2147483888" r:id="rId27"/>
    <p:sldLayoutId id="2147483889" r:id="rId28"/>
    <p:sldLayoutId id="2147483890" r:id="rId29"/>
    <p:sldLayoutId id="2147483891" r:id="rId30"/>
    <p:sldLayoutId id="2147483892" r:id="rId31"/>
    <p:sldLayoutId id="2147483893" r:id="rId32"/>
    <p:sldLayoutId id="2147483894" r:id="rId33"/>
    <p:sldLayoutId id="2147483895" r:id="rId34"/>
    <p:sldLayoutId id="2147483896" r:id="rId35"/>
    <p:sldLayoutId id="2147483897" r:id="rId3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rgbClr val="0D4065"/>
          </a:solidFill>
          <a:latin typeface="+mj-lt"/>
          <a:ea typeface="Roboto Slab Light" pitchFamily="2" charset="0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800"/>
        </a:spcBef>
        <a:spcAft>
          <a:spcPts val="600"/>
        </a:spcAft>
        <a:buFont typeface="Arial" panose="020B0604020202020204" pitchFamily="34" charset="0"/>
        <a:buChar char="•"/>
        <a:defRPr sz="1600" kern="1200" spc="50" baseline="0">
          <a:solidFill>
            <a:srgbClr val="0D4065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 spc="50" baseline="0">
          <a:solidFill>
            <a:srgbClr val="0D4065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400" kern="1200" spc="50" baseline="0">
          <a:solidFill>
            <a:srgbClr val="0D4065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kern="1200" spc="50" baseline="0">
          <a:solidFill>
            <a:srgbClr val="0D4065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tabLst/>
        <a:defRPr sz="1200" kern="1200" spc="50" baseline="0">
          <a:solidFill>
            <a:srgbClr val="0D4065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kern="1200" spc="50" baseline="0">
          <a:solidFill>
            <a:srgbClr val="0D4065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​"/>
        <a:defRPr sz="1200" b="0" kern="1200" spc="50" baseline="0">
          <a:solidFill>
            <a:srgbClr val="0D4065"/>
          </a:solidFill>
          <a:latin typeface="Open Sans Semibold" panose="020B0706030804020204" pitchFamily="34" charset="0"/>
          <a:ea typeface="Open Sans Semibold" panose="020B0706030804020204" pitchFamily="34" charset="0"/>
          <a:cs typeface="Open Sans Semibold" panose="020B0706030804020204" pitchFamily="34" charset="0"/>
        </a:defRPr>
      </a:lvl7pPr>
      <a:lvl8pPr marL="1080000" indent="-180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Char char="•"/>
        <a:defRPr sz="1200" b="0" kern="1200" spc="50" baseline="0">
          <a:solidFill>
            <a:srgbClr val="0D4065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rgbClr val="0D4065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83">
          <p15:clr>
            <a:srgbClr val="A4A3A4"/>
          </p15:clr>
        </p15:guide>
        <p15:guide id="4" orient="horz" pos="483">
          <p15:clr>
            <a:srgbClr val="A4A3A4"/>
          </p15:clr>
        </p15:guide>
        <p15:guide id="5" pos="3598">
          <p15:clr>
            <a:srgbClr val="A4A3A4"/>
          </p15:clr>
        </p15:guide>
        <p15:guide id="6" pos="4081">
          <p15:clr>
            <a:srgbClr val="A4A3A4"/>
          </p15:clr>
        </p15:guide>
        <p15:guide id="7" pos="7196">
          <p15:clr>
            <a:srgbClr val="A4A3A4"/>
          </p15:clr>
        </p15:guide>
        <p15:guide id="8" orient="horz" pos="3836">
          <p15:clr>
            <a:srgbClr val="A4A3A4"/>
          </p15:clr>
        </p15:guide>
        <p15:guide id="9" orient="horz" pos="274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89.xml"/><Relationship Id="rId4" Type="http://schemas.openxmlformats.org/officeDocument/2006/relationships/tags" Target="../tags/tag7.xml"/><Relationship Id="rId9" Type="http://schemas.openxmlformats.org/officeDocument/2006/relationships/image" Target="../media/image2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slideLayout" Target="../slideLayouts/slideLayout99.xml"/><Relationship Id="rId7" Type="http://schemas.openxmlformats.org/officeDocument/2006/relationships/image" Target="../media/image4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2.jpeg"/><Relationship Id="rId5" Type="http://schemas.openxmlformats.org/officeDocument/2006/relationships/image" Target="../media/image25.emf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5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8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3" Type="http://schemas.openxmlformats.org/officeDocument/2006/relationships/tags" Target="../tags/tag33.xml"/><Relationship Id="rId7" Type="http://schemas.openxmlformats.org/officeDocument/2006/relationships/image" Target="../media/image49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0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1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30.bin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99.xml"/><Relationship Id="rId12" Type="http://schemas.openxmlformats.org/officeDocument/2006/relationships/image" Target="../media/image29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tags" Target="../tags/tag12.xml"/><Relationship Id="rId11" Type="http://schemas.openxmlformats.org/officeDocument/2006/relationships/image" Target="../media/image28.bin"/><Relationship Id="rId5" Type="http://schemas.openxmlformats.org/officeDocument/2006/relationships/tags" Target="../tags/tag11.xml"/><Relationship Id="rId10" Type="http://schemas.openxmlformats.org/officeDocument/2006/relationships/image" Target="../media/image21.emf"/><Relationship Id="rId4" Type="http://schemas.openxmlformats.org/officeDocument/2006/relationships/tags" Target="../tags/tag10.xml"/><Relationship Id="rId9" Type="http://schemas.openxmlformats.org/officeDocument/2006/relationships/oleObject" Target="../embeddings/oleObject5.bin"/><Relationship Id="rId14" Type="http://schemas.openxmlformats.org/officeDocument/2006/relationships/image" Target="../media/image3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2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3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4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1.bin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56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0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0.xml"/><Relationship Id="rId7" Type="http://schemas.openxmlformats.org/officeDocument/2006/relationships/image" Target="../media/image60.jpe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59.jpe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6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0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bin"/><Relationship Id="rId3" Type="http://schemas.openxmlformats.org/officeDocument/2006/relationships/tags" Target="../tags/tag17.xml"/><Relationship Id="rId7" Type="http://schemas.openxmlformats.org/officeDocument/2006/relationships/oleObject" Target="../embeddings/oleObject8.bin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99.xml"/><Relationship Id="rId4" Type="http://schemas.openxmlformats.org/officeDocument/2006/relationships/tags" Target="../tags/tag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0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7" Type="http://schemas.openxmlformats.org/officeDocument/2006/relationships/image" Target="../media/image36.sv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5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tags" Target="../tags/tag23.xml"/><Relationship Id="rId7" Type="http://schemas.openxmlformats.org/officeDocument/2006/relationships/image" Target="../media/image2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103.xml"/><Relationship Id="rId4" Type="http://schemas.openxmlformats.org/officeDocument/2006/relationships/tags" Target="../tags/tag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1C9F2F-9C30-42CE-B5F4-78F96CC684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1C9F2F-9C30-42CE-B5F4-78F96CC684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361D953-19FE-43F0-80F0-EF5328474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Roboto Slab" pitchFamily="2" charset="0"/>
              <a:cs typeface="+mn-cs"/>
              <a:sym typeface="Roboto Slab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DE6EF1-5D12-4F5D-9C02-67106169B97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5E30DC-B67A-4455-9CE7-CB616EF7236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Juridisk nytt for eiendomsbransje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BC90DB0-DD29-4CDD-ADD1-7C3CAEC1B85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nb-NO"/>
              <a:t>Mette borger fyksen og MATHILDE RYE RAmBERG</a:t>
            </a:r>
            <a:endParaRPr lang="nb-NO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3F21DFC-6A54-41E8-AFD5-62F256CD852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66796" y="6251640"/>
            <a:ext cx="5713200" cy="19236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1400" kern="1200" cap="none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5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8. oktober 2021</a:t>
            </a:r>
          </a:p>
        </p:txBody>
      </p:sp>
      <p:pic>
        <p:nvPicPr>
          <p:cNvPr id="13" name="Picture Placeholder 11">
            <a:extLst>
              <a:ext uri="{FF2B5EF4-FFF2-40B4-BE49-F238E27FC236}">
                <a16:creationId xmlns:a16="http://schemas.microsoft.com/office/drawing/2014/main" id="{C4010B08-FFD5-4203-95F3-FF6119B2D464}"/>
              </a:ext>
            </a:extLst>
          </p:cNvPr>
          <p:cNvPicPr>
            <a:picLocks noGrp="1" noChangeAspect="1"/>
          </p:cNvPicPr>
          <p:nvPr>
            <p:ph type="pic" sz="quarter" idx="25"/>
            <p:custDataLst>
              <p:tags r:id="rId4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2" r="21012"/>
          <a:stretch/>
        </p:blipFill>
        <p:spPr>
          <a:xfrm>
            <a:off x="7116183" y="0"/>
            <a:ext cx="5075817" cy="5835227"/>
          </a:xfrm>
        </p:spPr>
      </p:pic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E15200E-EC10-45D8-83B3-3E64899DDD6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5F2020A-6DB9-4690-B3A4-0F59A22401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061948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0F6F024-AD13-4FB9-BB80-E9AF83046A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798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4" imgW="308" imgH="308" progId="TCLayout.ActiveDocument.1">
                  <p:embed/>
                </p:oleObj>
              </mc:Choice>
              <mc:Fallback>
                <p:oleObj name="think-cell Slide" r:id="rId4" imgW="308" imgH="30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0F6F024-AD13-4FB9-BB80-E9AF83046A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5D7A01-B5A8-4258-B099-AFF64BD87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9200"/>
            <a:ext cx="4943438" cy="1118288"/>
          </a:xfrm>
        </p:spPr>
        <p:txBody>
          <a:bodyPr vert="horz"/>
          <a:lstStyle/>
          <a:p>
            <a:r>
              <a:rPr lang="nb-NO" dirty="0"/>
              <a:t> </a:t>
            </a:r>
          </a:p>
        </p:txBody>
      </p:sp>
      <p:sp>
        <p:nvSpPr>
          <p:cNvPr id="35" name="Content Placeholder 34">
            <a:extLst>
              <a:ext uri="{FF2B5EF4-FFF2-40B4-BE49-F238E27FC236}">
                <a16:creationId xmlns:a16="http://schemas.microsoft.com/office/drawing/2014/main" id="{11CC39CB-C61C-49E4-A390-16D1A56DC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2587624"/>
            <a:ext cx="4945062" cy="3502025"/>
          </a:xfrm>
        </p:spPr>
        <p:txBody>
          <a:bodyPr/>
          <a:lstStyle/>
          <a:p>
            <a:pPr marL="0" indent="0">
              <a:buNone/>
            </a:pPr>
            <a:r>
              <a:rPr lang="nb-NO" b="1" dirty="0"/>
              <a:t>Eksempler på manglende harmonisering</a:t>
            </a:r>
          </a:p>
          <a:p>
            <a:r>
              <a:rPr lang="nb-NO" dirty="0"/>
              <a:t>Definisjon av NZEB</a:t>
            </a:r>
          </a:p>
          <a:p>
            <a:r>
              <a:rPr lang="nb-NO" dirty="0"/>
              <a:t>Dokumentasjon av primærenergi</a:t>
            </a:r>
          </a:p>
          <a:p>
            <a:r>
              <a:rPr lang="nb-NO" dirty="0"/>
              <a:t>Nasjonal database for energibruk</a:t>
            </a:r>
          </a:p>
          <a:p>
            <a:endParaRPr lang="nb-NO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8805B4D-38D1-4260-91B9-835B870224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B9D98343-CF76-4702-9885-B16121864059}" type="datetime1">
              <a:rPr lang="nb-NO" noProof="0" smtClean="0"/>
              <a:t>27.10.2021</a:t>
            </a:fld>
            <a:endParaRPr lang="nb-NO" noProof="0" dirty="0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F08FD127-5F10-467D-B705-8F2F3AC71C45}"/>
              </a:ext>
            </a:extLst>
          </p:cNvPr>
          <p:cNvSpPr txBox="1">
            <a:spLocks/>
          </p:cNvSpPr>
          <p:nvPr/>
        </p:nvSpPr>
        <p:spPr>
          <a:xfrm>
            <a:off x="765174" y="1307625"/>
            <a:ext cx="4945063" cy="11182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Roboto Slab Light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Roboto Slab Light"/>
                <a:ea typeface="Roboto Slab Light" pitchFamily="2" charset="0"/>
                <a:cs typeface="+mj-cs"/>
              </a:rPr>
              <a:t>EU-regler v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Roboto Slab Light"/>
                <a:ea typeface="Roboto Slab Light" pitchFamily="2" charset="0"/>
                <a:cs typeface="+mj-cs"/>
              </a:rPr>
              <a:t>norske regl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005873-AC5C-4DA2-8583-55F4E84B98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47564" y="1307625"/>
            <a:ext cx="4920026" cy="49261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CB424584-8F05-459E-8D25-2FFE9C42C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28C3CAEC-0380-4975-BB98-1A5094DA7D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10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8584292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5A3D889-38A2-4204-B2BE-BE507E7BB9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5A3D889-38A2-4204-B2BE-BE507E7BB9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C7CE97-D937-4C6A-B73C-13CB3C549CA5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E1DF1C-5552-42D6-89E3-05950927E089}" type="datetime1">
              <a:rPr kumimoji="0" lang="nb-NO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27.10.2021</a:t>
            </a:fld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D460901-AA42-427E-B9C8-E790892925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881" y="1163712"/>
            <a:ext cx="10492319" cy="967341"/>
          </a:xfrm>
        </p:spPr>
        <p:txBody>
          <a:bodyPr vert="horz"/>
          <a:lstStyle/>
          <a:p>
            <a:pPr algn="ctr"/>
            <a:r>
              <a:rPr lang="nb-NO" sz="4000" dirty="0"/>
              <a:t>Dette bør selskapet gjøre </a:t>
            </a:r>
            <a:br>
              <a:rPr lang="nb-NO" sz="4000" dirty="0"/>
            </a:br>
            <a:r>
              <a:rPr lang="nb-NO" sz="1500" dirty="0">
                <a:latin typeface="+mn-lt"/>
              </a:rPr>
              <a:t>Overordnet tilnærming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050656B-A090-42C9-87BC-FEEDA5E39AAD}"/>
              </a:ext>
            </a:extLst>
          </p:cNvPr>
          <p:cNvSpPr/>
          <p:nvPr/>
        </p:nvSpPr>
        <p:spPr>
          <a:xfrm>
            <a:off x="766800" y="2893689"/>
            <a:ext cx="2474752" cy="245375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1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urder hva du tror 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etydningen av regelverket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an bli for din virksomhe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5139A1A-BBE9-41DF-AF56-18B1CCF988B0}"/>
              </a:ext>
            </a:extLst>
          </p:cNvPr>
          <p:cNvSpPr/>
          <p:nvPr/>
        </p:nvSpPr>
        <p:spPr>
          <a:xfrm>
            <a:off x="3466838" y="2906032"/>
            <a:ext cx="2474752" cy="245375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2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urder hvilke deler av virksomheten som 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an</a:t>
            </a:r>
            <a:r>
              <a:rPr kumimoji="0" lang="nb-NO" sz="1400" b="1" i="1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valifisere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om "bærekraftig økonomisk aktivitet"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3D1D409-A7D8-488E-8D8E-2A83D5D91F1D}"/>
              </a:ext>
            </a:extLst>
          </p:cNvPr>
          <p:cNvSpPr/>
          <p:nvPr/>
        </p:nvSpPr>
        <p:spPr>
          <a:xfrm>
            <a:off x="6166876" y="2906032"/>
            <a:ext cx="2474752" cy="245375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3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dentifiser hvor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utfordringene</a:t>
            </a:r>
            <a:r>
              <a:rPr kumimoji="0" lang="nb-NO" sz="1400" b="1" i="1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ligger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 selskape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639A4EA-1319-4011-B605-80EE14B0A344}"/>
              </a:ext>
            </a:extLst>
          </p:cNvPr>
          <p:cNvSpPr/>
          <p:nvPr/>
        </p:nvSpPr>
        <p:spPr>
          <a:xfrm>
            <a:off x="8866913" y="2926122"/>
            <a:ext cx="2474752" cy="245375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4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tabler gode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arbeidsprosesser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pSp>
        <p:nvGrpSpPr>
          <p:cNvPr id="21" name="Picture 2">
            <a:extLst>
              <a:ext uri="{FF2B5EF4-FFF2-40B4-BE49-F238E27FC236}">
                <a16:creationId xmlns:a16="http://schemas.microsoft.com/office/drawing/2014/main" id="{B6010D75-DB91-4F8B-B5FB-BBD62C542C6E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2981394" y="4046515"/>
            <a:ext cx="485443" cy="172785"/>
            <a:chOff x="5500000" y="3207000"/>
            <a:chExt cx="1180000" cy="420000"/>
          </a:xfrm>
          <a:solidFill>
            <a:srgbClr val="E45050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958B1E5-FDC0-4BEF-B38C-D18BE76657CD}"/>
                </a:ext>
              </a:extLst>
            </p:cNvPr>
            <p:cNvSpPr/>
            <p:nvPr/>
          </p:nvSpPr>
          <p:spPr>
            <a:xfrm>
              <a:off x="6480000" y="3207000"/>
              <a:ext cx="200000" cy="420000"/>
            </a:xfrm>
            <a:custGeom>
              <a:avLst/>
              <a:gdLst>
                <a:gd name="connsiteX0" fmla="*/ 0 w 200000"/>
                <a:gd name="connsiteY0" fmla="*/ 0 h 420000"/>
                <a:gd name="connsiteX1" fmla="*/ 200000 w 200000"/>
                <a:gd name="connsiteY1" fmla="*/ 220000 h 420000"/>
                <a:gd name="connsiteX2" fmla="*/ 0 w 200000"/>
                <a:gd name="connsiteY2" fmla="*/ 440000 h 420000"/>
                <a:gd name="connsiteX3" fmla="*/ 200000 w 200000"/>
                <a:gd name="connsiteY3" fmla="*/ 220000 h 4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000" h="420000">
                  <a:moveTo>
                    <a:pt x="0" y="0"/>
                  </a:moveTo>
                  <a:lnTo>
                    <a:pt x="200000" y="220000"/>
                  </a:lnTo>
                  <a:lnTo>
                    <a:pt x="0" y="440000"/>
                  </a:lnTo>
                  <a:lnTo>
                    <a:pt x="200000" y="220000"/>
                  </a:lnTo>
                  <a:close/>
                </a:path>
              </a:pathLst>
            </a:custGeom>
            <a:grpFill/>
            <a:ln w="12700" cap="flat">
              <a:solidFill>
                <a:srgbClr val="E4505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7173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A583454-5777-486B-AD72-17A96FB7EDD9}"/>
                </a:ext>
              </a:extLst>
            </p:cNvPr>
            <p:cNvSpPr/>
            <p:nvPr/>
          </p:nvSpPr>
          <p:spPr>
            <a:xfrm>
              <a:off x="5500000" y="3427000"/>
              <a:ext cx="900000" cy="20000"/>
            </a:xfrm>
            <a:custGeom>
              <a:avLst/>
              <a:gdLst>
                <a:gd name="connsiteX0" fmla="*/ 910000 w 900000"/>
                <a:gd name="connsiteY0" fmla="*/ 0 h 0"/>
                <a:gd name="connsiteX1" fmla="*/ 0 w 900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0000">
                  <a:moveTo>
                    <a:pt x="910000" y="0"/>
                  </a:moveTo>
                  <a:lnTo>
                    <a:pt x="0" y="0"/>
                  </a:lnTo>
                </a:path>
              </a:pathLst>
            </a:custGeom>
            <a:grpFill/>
            <a:ln w="12700" cap="sq">
              <a:solidFill>
                <a:srgbClr val="E4505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7173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24" name="Picture 2">
            <a:extLst>
              <a:ext uri="{FF2B5EF4-FFF2-40B4-BE49-F238E27FC236}">
                <a16:creationId xmlns:a16="http://schemas.microsoft.com/office/drawing/2014/main" id="{20ED38DE-80F8-490F-BC01-2EC5F6B54576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5678973" y="4046515"/>
            <a:ext cx="485443" cy="172785"/>
            <a:chOff x="5500000" y="3207000"/>
            <a:chExt cx="1180000" cy="420000"/>
          </a:xfrm>
          <a:solidFill>
            <a:srgbClr val="E45050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C694E8-F0A8-4D9D-A406-56D33DE04F54}"/>
                </a:ext>
              </a:extLst>
            </p:cNvPr>
            <p:cNvSpPr/>
            <p:nvPr/>
          </p:nvSpPr>
          <p:spPr>
            <a:xfrm>
              <a:off x="6480000" y="3207000"/>
              <a:ext cx="200000" cy="420000"/>
            </a:xfrm>
            <a:custGeom>
              <a:avLst/>
              <a:gdLst>
                <a:gd name="connsiteX0" fmla="*/ 0 w 200000"/>
                <a:gd name="connsiteY0" fmla="*/ 0 h 420000"/>
                <a:gd name="connsiteX1" fmla="*/ 200000 w 200000"/>
                <a:gd name="connsiteY1" fmla="*/ 220000 h 420000"/>
                <a:gd name="connsiteX2" fmla="*/ 0 w 200000"/>
                <a:gd name="connsiteY2" fmla="*/ 440000 h 420000"/>
                <a:gd name="connsiteX3" fmla="*/ 200000 w 200000"/>
                <a:gd name="connsiteY3" fmla="*/ 220000 h 4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000" h="420000">
                  <a:moveTo>
                    <a:pt x="0" y="0"/>
                  </a:moveTo>
                  <a:lnTo>
                    <a:pt x="200000" y="220000"/>
                  </a:lnTo>
                  <a:lnTo>
                    <a:pt x="0" y="440000"/>
                  </a:lnTo>
                  <a:lnTo>
                    <a:pt x="200000" y="220000"/>
                  </a:lnTo>
                  <a:close/>
                </a:path>
              </a:pathLst>
            </a:custGeom>
            <a:grpFill/>
            <a:ln w="12700" cap="flat">
              <a:solidFill>
                <a:srgbClr val="E4505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7173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63396F1-A9BD-4AFD-B224-0DF5136A5E5A}"/>
                </a:ext>
              </a:extLst>
            </p:cNvPr>
            <p:cNvSpPr/>
            <p:nvPr/>
          </p:nvSpPr>
          <p:spPr>
            <a:xfrm>
              <a:off x="5500000" y="3427000"/>
              <a:ext cx="900000" cy="20000"/>
            </a:xfrm>
            <a:custGeom>
              <a:avLst/>
              <a:gdLst>
                <a:gd name="connsiteX0" fmla="*/ 910000 w 900000"/>
                <a:gd name="connsiteY0" fmla="*/ 0 h 0"/>
                <a:gd name="connsiteX1" fmla="*/ 0 w 900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0000">
                  <a:moveTo>
                    <a:pt x="910000" y="0"/>
                  </a:moveTo>
                  <a:lnTo>
                    <a:pt x="0" y="0"/>
                  </a:lnTo>
                </a:path>
              </a:pathLst>
            </a:custGeom>
            <a:grpFill/>
            <a:ln w="12700" cap="sq">
              <a:solidFill>
                <a:srgbClr val="E4505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7173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27" name="Picture 2">
            <a:extLst>
              <a:ext uri="{FF2B5EF4-FFF2-40B4-BE49-F238E27FC236}">
                <a16:creationId xmlns:a16="http://schemas.microsoft.com/office/drawing/2014/main" id="{50ECC31F-1810-40CE-93F6-D3375980F32A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8404510" y="4046515"/>
            <a:ext cx="485443" cy="172785"/>
            <a:chOff x="5500000" y="3207000"/>
            <a:chExt cx="1180000" cy="420000"/>
          </a:xfrm>
          <a:solidFill>
            <a:srgbClr val="E45050"/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09048652-1E2F-4D39-BFCC-8CCC3186033A}"/>
                </a:ext>
              </a:extLst>
            </p:cNvPr>
            <p:cNvSpPr/>
            <p:nvPr/>
          </p:nvSpPr>
          <p:spPr>
            <a:xfrm>
              <a:off x="6480000" y="3207000"/>
              <a:ext cx="200000" cy="420000"/>
            </a:xfrm>
            <a:custGeom>
              <a:avLst/>
              <a:gdLst>
                <a:gd name="connsiteX0" fmla="*/ 0 w 200000"/>
                <a:gd name="connsiteY0" fmla="*/ 0 h 420000"/>
                <a:gd name="connsiteX1" fmla="*/ 200000 w 200000"/>
                <a:gd name="connsiteY1" fmla="*/ 220000 h 420000"/>
                <a:gd name="connsiteX2" fmla="*/ 0 w 200000"/>
                <a:gd name="connsiteY2" fmla="*/ 440000 h 420000"/>
                <a:gd name="connsiteX3" fmla="*/ 200000 w 200000"/>
                <a:gd name="connsiteY3" fmla="*/ 220000 h 4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0000" h="420000">
                  <a:moveTo>
                    <a:pt x="0" y="0"/>
                  </a:moveTo>
                  <a:lnTo>
                    <a:pt x="200000" y="220000"/>
                  </a:lnTo>
                  <a:lnTo>
                    <a:pt x="0" y="440000"/>
                  </a:lnTo>
                  <a:lnTo>
                    <a:pt x="200000" y="220000"/>
                  </a:lnTo>
                  <a:close/>
                </a:path>
              </a:pathLst>
            </a:custGeom>
            <a:grpFill/>
            <a:ln w="12700" cap="flat">
              <a:solidFill>
                <a:srgbClr val="E4505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7173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55D5830-B663-4A7B-8371-F2DB732718F4}"/>
                </a:ext>
              </a:extLst>
            </p:cNvPr>
            <p:cNvSpPr/>
            <p:nvPr/>
          </p:nvSpPr>
          <p:spPr>
            <a:xfrm>
              <a:off x="5500000" y="3427000"/>
              <a:ext cx="900000" cy="20000"/>
            </a:xfrm>
            <a:custGeom>
              <a:avLst/>
              <a:gdLst>
                <a:gd name="connsiteX0" fmla="*/ 910000 w 900000"/>
                <a:gd name="connsiteY0" fmla="*/ 0 h 0"/>
                <a:gd name="connsiteX1" fmla="*/ 0 w 9000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00000">
                  <a:moveTo>
                    <a:pt x="910000" y="0"/>
                  </a:moveTo>
                  <a:lnTo>
                    <a:pt x="0" y="0"/>
                  </a:lnTo>
                </a:path>
              </a:pathLst>
            </a:custGeom>
            <a:grpFill/>
            <a:ln w="12700" cap="sq">
              <a:solidFill>
                <a:srgbClr val="E45050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7173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2FC5EB3-EE43-42CD-AB31-2336EFA159BC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C2FF0CA-D8B6-4BD3-8D4F-36E7CD41C4A4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11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0990874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6A494-EAAA-4886-9A70-2B75AB6468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2597837"/>
            <a:ext cx="5711788" cy="1365766"/>
          </a:xfrm>
        </p:spPr>
        <p:txBody>
          <a:bodyPr/>
          <a:lstStyle/>
          <a:p>
            <a:r>
              <a:rPr lang="nb-NO" dirty="0"/>
              <a:t>Juridisk nytt for eiendomsbransj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24D331-26F7-4284-9C3F-DE77761E227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Dommer og avgjørels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A951C-8846-4A99-B224-51F2708EB4D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4FC25A-9707-453F-A365-A2560866FAFF}" type="datetime1">
              <a:rPr kumimoji="0" lang="nb-NO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27.10.2021</a:t>
            </a:fld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9" name="Picture Placeholder 6">
            <a:extLst>
              <a:ext uri="{FF2B5EF4-FFF2-40B4-BE49-F238E27FC236}">
                <a16:creationId xmlns:a16="http://schemas.microsoft.com/office/drawing/2014/main" id="{8EFABC15-2BE5-4783-B8E8-561D330E0552}"/>
              </a:ext>
            </a:extLst>
          </p:cNvPr>
          <p:cNvPicPr>
            <a:picLocks noGrp="1" noChangeAspect="1"/>
          </p:cNvPicPr>
          <p:nvPr>
            <p:ph type="pic" sz="quarter" idx="16"/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12" t="122" r="30266" b="-122"/>
          <a:stretch/>
        </p:blipFill>
        <p:spPr>
          <a:xfrm>
            <a:off x="6978316" y="1975987"/>
            <a:ext cx="4188957" cy="4887588"/>
          </a:xfrm>
        </p:spPr>
      </p:pic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DEBDDC2-A91D-44D8-BF11-870BEC73D13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BEA5F73-3A2B-422C-BECD-21B2F0C156E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12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0038095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44D35AF2-F8D7-4D58-A63A-2DB8D40C144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l="13840" r="21420"/>
          <a:stretch/>
        </p:blipFill>
        <p:spPr>
          <a:xfrm>
            <a:off x="6478587" y="10"/>
            <a:ext cx="5713413" cy="6861590"/>
          </a:xfrm>
          <a:noFill/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84407A24-174C-4BE1-92EA-DC32DD7AC5F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66801" y="435600"/>
            <a:ext cx="4945025" cy="326433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nb-NO" sz="1600" dirty="0"/>
              <a:t>Høyesteretts dom av 5 januar 2017  |  HR-2017-33-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DBE985-3178-4F67-B24C-1F4C0B42C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9200"/>
            <a:ext cx="4945025" cy="1118288"/>
          </a:xfrm>
        </p:spPr>
        <p:txBody>
          <a:bodyPr anchor="t">
            <a:normAutofit/>
          </a:bodyPr>
          <a:lstStyle/>
          <a:p>
            <a:r>
              <a:rPr lang="nb-NO" dirty="0"/>
              <a:t>Først et lite tilbakeblikk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44FA0008-C9A8-4869-9264-C39669C30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800" y="3069264"/>
            <a:ext cx="5329200" cy="1682154"/>
          </a:xfrm>
        </p:spPr>
        <p:txBody>
          <a:bodyPr/>
          <a:lstStyle/>
          <a:p>
            <a:pPr marL="0" indent="0">
              <a:buNone/>
            </a:pPr>
            <a:r>
              <a:rPr lang="en-US" sz="1800" i="1" dirty="0"/>
              <a:t>"</a:t>
            </a:r>
            <a:r>
              <a:rPr lang="en-US" sz="1800" i="1" dirty="0" err="1"/>
              <a:t>Spørsmålet</a:t>
            </a:r>
            <a:r>
              <a:rPr lang="en-US" sz="1800" i="1" dirty="0"/>
              <a:t> er </a:t>
            </a:r>
            <a:r>
              <a:rPr lang="en-US" sz="1800" i="1" dirty="0" err="1"/>
              <a:t>dermed</a:t>
            </a:r>
            <a:r>
              <a:rPr lang="en-US" sz="1800" i="1" dirty="0"/>
              <a:t> om den </a:t>
            </a:r>
            <a:r>
              <a:rPr lang="en-US" sz="1800" i="1" dirty="0" err="1"/>
              <a:t>som</a:t>
            </a:r>
            <a:r>
              <a:rPr lang="en-US" sz="1800" i="1" dirty="0"/>
              <a:t> </a:t>
            </a:r>
            <a:r>
              <a:rPr lang="en-US" sz="1800" i="1" dirty="0" err="1"/>
              <a:t>fullt</a:t>
            </a:r>
            <a:r>
              <a:rPr lang="en-US" sz="1800" i="1" dirty="0"/>
              <a:t> </a:t>
            </a:r>
            <a:r>
              <a:rPr lang="en-US" sz="1800" i="1" dirty="0" err="1"/>
              <a:t>bevisst</a:t>
            </a:r>
            <a:r>
              <a:rPr lang="en-US" sz="1800" i="1" dirty="0"/>
              <a:t> av </a:t>
            </a:r>
            <a:r>
              <a:rPr lang="en-US" sz="1800" i="1" dirty="0" err="1"/>
              <a:t>økonomiske</a:t>
            </a:r>
            <a:r>
              <a:rPr lang="en-US" sz="1800" i="1" dirty="0"/>
              <a:t> </a:t>
            </a:r>
            <a:r>
              <a:rPr lang="en-US" sz="1800" i="1" dirty="0" err="1"/>
              <a:t>grunner</a:t>
            </a:r>
            <a:r>
              <a:rPr lang="en-US" sz="1800" i="1" dirty="0"/>
              <a:t> </a:t>
            </a:r>
            <a:r>
              <a:rPr lang="en-US" sz="1800" i="1" dirty="0" err="1"/>
              <a:t>har</a:t>
            </a:r>
            <a:r>
              <a:rPr lang="en-US" sz="1800" i="1" dirty="0"/>
              <a:t> </a:t>
            </a:r>
            <a:r>
              <a:rPr lang="en-US" sz="1800" i="1" dirty="0" err="1"/>
              <a:t>unnlatt</a:t>
            </a:r>
            <a:r>
              <a:rPr lang="en-US" sz="1800" i="1" dirty="0"/>
              <a:t> å </a:t>
            </a:r>
            <a:r>
              <a:rPr lang="en-US" sz="1800" i="1" dirty="0" err="1"/>
              <a:t>sørge</a:t>
            </a:r>
            <a:r>
              <a:rPr lang="en-US" sz="1800" i="1" dirty="0"/>
              <a:t> for </a:t>
            </a:r>
            <a:r>
              <a:rPr lang="en-US" sz="1800" i="1" dirty="0" err="1"/>
              <a:t>tinglysing</a:t>
            </a:r>
            <a:r>
              <a:rPr lang="en-US" sz="1800" i="1" dirty="0"/>
              <a:t> av </a:t>
            </a:r>
            <a:r>
              <a:rPr lang="en-US" sz="1800" i="1" dirty="0" err="1"/>
              <a:t>sitt</a:t>
            </a:r>
            <a:r>
              <a:rPr lang="en-US" sz="1800" i="1" dirty="0"/>
              <a:t> </a:t>
            </a:r>
            <a:r>
              <a:rPr lang="en-US" sz="1800" i="1" dirty="0" err="1"/>
              <a:t>avtaleerverv</a:t>
            </a:r>
            <a:r>
              <a:rPr lang="en-US" sz="1800" i="1" dirty="0"/>
              <a:t>, </a:t>
            </a:r>
            <a:r>
              <a:rPr lang="en-US" sz="1800" i="1" dirty="0" err="1"/>
              <a:t>likevel</a:t>
            </a:r>
            <a:r>
              <a:rPr lang="en-US" sz="1800" i="1" dirty="0"/>
              <a:t> </a:t>
            </a:r>
            <a:r>
              <a:rPr lang="en-US" sz="1800" i="1" dirty="0" err="1"/>
              <a:t>skal</a:t>
            </a:r>
            <a:r>
              <a:rPr lang="en-US" sz="1800" i="1" dirty="0"/>
              <a:t> </a:t>
            </a:r>
            <a:r>
              <a:rPr lang="en-US" sz="1800" i="1" dirty="0" err="1"/>
              <a:t>oppnå</a:t>
            </a:r>
            <a:r>
              <a:rPr lang="en-US" sz="1800" i="1" dirty="0"/>
              <a:t> </a:t>
            </a:r>
            <a:r>
              <a:rPr lang="en-US" sz="1800" i="1" dirty="0" err="1"/>
              <a:t>rettsvern</a:t>
            </a:r>
            <a:r>
              <a:rPr lang="en-US" sz="1800" i="1" dirty="0"/>
              <a:t> i </a:t>
            </a:r>
            <a:r>
              <a:rPr lang="en-US" sz="1800" i="1" dirty="0" err="1"/>
              <a:t>konkurs</a:t>
            </a:r>
            <a:r>
              <a:rPr lang="en-US" sz="1800" i="1" dirty="0"/>
              <a:t>. Dette </a:t>
            </a:r>
            <a:r>
              <a:rPr lang="en-US" sz="1800" i="1" dirty="0" err="1"/>
              <a:t>vil</a:t>
            </a:r>
            <a:r>
              <a:rPr lang="en-US" sz="1800" i="1" dirty="0"/>
              <a:t> i </a:t>
            </a:r>
            <a:r>
              <a:rPr lang="en-US" sz="1800" i="1" dirty="0" err="1"/>
              <a:t>tilfelle</a:t>
            </a:r>
            <a:r>
              <a:rPr lang="en-US" sz="1800" i="1" dirty="0"/>
              <a:t> </a:t>
            </a:r>
            <a:r>
              <a:rPr lang="en-US" sz="1800" i="1" dirty="0" err="1"/>
              <a:t>være</a:t>
            </a:r>
            <a:r>
              <a:rPr lang="en-US" sz="1800" i="1" dirty="0"/>
              <a:t> </a:t>
            </a:r>
            <a:r>
              <a:rPr lang="en-US" sz="1800" i="1" dirty="0" err="1"/>
              <a:t>klart</a:t>
            </a:r>
            <a:r>
              <a:rPr lang="en-US" sz="1800" i="1" dirty="0"/>
              <a:t> i strid med </a:t>
            </a:r>
            <a:r>
              <a:rPr lang="en-US" sz="1800" i="1" dirty="0" err="1"/>
              <a:t>ordlyden</a:t>
            </a:r>
            <a:r>
              <a:rPr lang="en-US" sz="1800" i="1" dirty="0"/>
              <a:t> i </a:t>
            </a:r>
            <a:r>
              <a:rPr lang="en-US" sz="1800" i="1" dirty="0" err="1"/>
              <a:t>tinglysingsloven</a:t>
            </a:r>
            <a:r>
              <a:rPr lang="en-US" sz="1800" i="1" dirty="0"/>
              <a:t> § 23."</a:t>
            </a:r>
          </a:p>
          <a:p>
            <a:pPr marL="0" indent="0">
              <a:buNone/>
            </a:pPr>
            <a:endParaRPr lang="en-US" sz="1800" i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4EB555-3ECE-4B24-B329-B2E1E572332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766800" y="6580800"/>
            <a:ext cx="10659600" cy="1080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spcAft>
                  <a:spcPts val="600"/>
                </a:spcAft>
                <a:tabLst>
                  <a:tab pos="10659600" algn="r"/>
                </a:tabLst>
              </a:pPr>
              <a:t>13</a:t>
            </a:fld>
            <a:endParaRPr lang="nb-NO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50974D7-4E7B-488B-A5F6-1064E7F1BDC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494547" y="6580800"/>
            <a:ext cx="7800744" cy="1080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Næringseiendom 2021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1B962A-C49F-4439-8939-BEBF7F4FC0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2606F6E2-47BC-4565-B5B7-84B6E4AC6832}" type="datetime1">
              <a:rPr lang="nb-NO" smtClean="0"/>
              <a:pPr>
                <a:spcAft>
                  <a:spcPts val="600"/>
                </a:spcAft>
              </a:pPr>
              <a:t>27.10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80568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232FB7C7-160A-44B5-AF58-FC8EA05BA803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sz="2000" dirty="0"/>
              <a:t>Høyesteretts dom av 5 januar 2017  |  HR-2017-33-A</a:t>
            </a:r>
          </a:p>
          <a:p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F15F58-E114-46FF-9394-50E065CF3B5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6923681-7A9C-495E-9AEF-54D5AF578F7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418184-479A-4ADE-BC16-ED5428356D6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73AAF9-D356-4A80-8C80-1504EB4B502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14</a:t>
            </a:fld>
            <a:endParaRPr lang="nb-NO" noProof="1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6D144B-94C6-41B7-8EBD-ADDBA4F3F3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800" y="1714500"/>
            <a:ext cx="103632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9936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9FACBD5-DB53-4D2D-9C47-2C8165307D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13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" name="think-cell Slide" r:id="rId4" imgW="307" imgH="306" progId="TCLayout.ActiveDocument.1">
                  <p:embed/>
                </p:oleObj>
              </mc:Choice>
              <mc:Fallback>
                <p:oleObj name="think-cell Slide" r:id="rId4" imgW="307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9FACBD5-DB53-4D2D-9C47-2C8165307D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21D37963-25C9-4372-84DD-3FBF481DFB5F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800" y="435600"/>
            <a:ext cx="10659600" cy="327600"/>
          </a:xfrm>
        </p:spPr>
        <p:txBody>
          <a:bodyPr/>
          <a:lstStyle/>
          <a:p>
            <a:r>
              <a:rPr lang="nb-NO" dirty="0"/>
              <a:t>Høyesteretts dom av 1. september 2021 | HR-2021-1773-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E09196-519D-4456-89F2-050A49FBC5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7680"/>
            <a:ext cx="10658400" cy="1118288"/>
          </a:xfrm>
        </p:spPr>
        <p:txBody>
          <a:bodyPr vert="horz"/>
          <a:lstStyle/>
          <a:p>
            <a:r>
              <a:rPr lang="nb-NO" dirty="0"/>
              <a:t>Selvstendig rettsvernshev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30176D-D514-4891-A8B5-BADDFD58FACC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0940C257-E8EF-407A-89A7-3217F2430E6B}" type="datetime1">
              <a:rPr lang="nb-NO" noProof="0" smtClean="0"/>
              <a:t>27.10.2021</a:t>
            </a:fld>
            <a:endParaRPr lang="nb-NO" noProof="0" dirty="0"/>
          </a:p>
        </p:txBody>
      </p:sp>
      <p:pic>
        <p:nvPicPr>
          <p:cNvPr id="9" name="Picture 14" descr="A Vector Illustration Of Farm Scene Royalty Free Cliparts, Vectors, And  Stock Illustration. Image 58606669.">
            <a:extLst>
              <a:ext uri="{FF2B5EF4-FFF2-40B4-BE49-F238E27FC236}">
                <a16:creationId xmlns:a16="http://schemas.microsoft.com/office/drawing/2014/main" id="{8022B567-1097-4D7E-A4AC-6CBB44FCD9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9041" y="3552052"/>
            <a:ext cx="1774023" cy="1181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E5DC802-EB4A-4C4E-9037-56281D607EC7}"/>
              </a:ext>
            </a:extLst>
          </p:cNvPr>
          <p:cNvCxnSpPr>
            <a:cxnSpLocks/>
          </p:cNvCxnSpPr>
          <p:nvPr/>
        </p:nvCxnSpPr>
        <p:spPr>
          <a:xfrm flipV="1">
            <a:off x="3570401" y="2276530"/>
            <a:ext cx="3508967" cy="141840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3B4C4F-8769-4D09-A130-D0633A516E0E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3661139" y="4704240"/>
            <a:ext cx="3418229" cy="9082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14" name="Picture 2" descr="Bank Norwegian - Home | Facebook">
            <a:extLst>
              <a:ext uri="{FF2B5EF4-FFF2-40B4-BE49-F238E27FC236}">
                <a16:creationId xmlns:a16="http://schemas.microsoft.com/office/drawing/2014/main" id="{372F31E7-9464-4A3A-9FDE-3683D713F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9368" y="4749416"/>
            <a:ext cx="1726137" cy="1726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But It&amp;#39;s Honest Work | Know Your Meme">
            <a:extLst>
              <a:ext uri="{FF2B5EF4-FFF2-40B4-BE49-F238E27FC236}">
                <a16:creationId xmlns:a16="http://schemas.microsoft.com/office/drawing/2014/main" id="{95F9EE5F-56F2-4E76-9062-A809F88049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9368" y="1977969"/>
            <a:ext cx="3986522" cy="2242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5DEE67C-3A75-4E14-92DB-E35445FDF57B}"/>
              </a:ext>
            </a:extLst>
          </p:cNvPr>
          <p:cNvSpPr txBox="1"/>
          <p:nvPr/>
        </p:nvSpPr>
        <p:spPr>
          <a:xfrm rot="1049936">
            <a:off x="4105744" y="5200840"/>
            <a:ext cx="1704495" cy="6394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tlegg, 201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0BAED83-582B-49DA-8DCF-4541ABCCA1DF}"/>
              </a:ext>
            </a:extLst>
          </p:cNvPr>
          <p:cNvSpPr txBox="1"/>
          <p:nvPr/>
        </p:nvSpPr>
        <p:spPr>
          <a:xfrm rot="20294557">
            <a:off x="4426134" y="2572227"/>
            <a:ext cx="1787733" cy="3065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alg, 1998 </a:t>
            </a:r>
          </a:p>
        </p:txBody>
      </p:sp>
      <p:pic>
        <p:nvPicPr>
          <p:cNvPr id="1028" name="Picture 4" descr="Broke Businessman Showing Empty Pockets. Pop Art Vector Illustration  Royalty Free Cliparts, Vectors, And Stock Illustration. Image 61235138.">
            <a:extLst>
              <a:ext uri="{FF2B5EF4-FFF2-40B4-BE49-F238E27FC236}">
                <a16:creationId xmlns:a16="http://schemas.microsoft.com/office/drawing/2014/main" id="{16899C93-35D0-4375-8147-F8DB54819A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88" y="2757525"/>
            <a:ext cx="2854960" cy="2854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Kredittkort uten årsavgift med bonusopptjening. - Bank Norwegian">
            <a:extLst>
              <a:ext uri="{FF2B5EF4-FFF2-40B4-BE49-F238E27FC236}">
                <a16:creationId xmlns:a16="http://schemas.microsoft.com/office/drawing/2014/main" id="{D264C0B7-5E85-4ABE-BB6D-7E8CA0313F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36" t="8686" r="9608" b="6760"/>
          <a:stretch/>
        </p:blipFill>
        <p:spPr bwMode="auto">
          <a:xfrm rot="20123647">
            <a:off x="180210" y="4264538"/>
            <a:ext cx="1335020" cy="827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C71748C2-59CF-497E-8883-F7291107D3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DB813F57-C278-4286-B80F-80DA87922EB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15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4967416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660E61F-C5B7-44F3-8A25-4F4D169007BE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Høyesteretts dom av 1. september 2021 | HR-2021-1773-A</a:t>
            </a:r>
          </a:p>
          <a:p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060BDE-4B35-41F3-BFF2-FBFB4BFA226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6923681-7A9C-495E-9AEF-54D5AF578F7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CF13E4-BA6A-40E1-A971-17EEC87946F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7F8855-0923-4D21-A77D-51DBF9B5E48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16</a:t>
            </a:fld>
            <a:endParaRPr lang="nb-NO" noProof="1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3283E9-BE02-44CD-8896-15990C314E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395" y="1534459"/>
            <a:ext cx="1047750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7077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5E00E1-7318-4BA2-8EE4-EB7253A1E1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414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think-cell Slide" r:id="rId4" imgW="307" imgH="306" progId="TCLayout.ActiveDocument.1">
                  <p:embed/>
                </p:oleObj>
              </mc:Choice>
              <mc:Fallback>
                <p:oleObj name="think-cell Slide" r:id="rId4" imgW="307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45E00E1-7318-4BA2-8EE4-EB7253A1E1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Content Placeholder 11">
            <a:extLst>
              <a:ext uri="{FF2B5EF4-FFF2-40B4-BE49-F238E27FC236}">
                <a16:creationId xmlns:a16="http://schemas.microsoft.com/office/drawing/2014/main" id="{A701D13A-2640-4D1A-B3B3-6B2EBB65333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8354" b="25274"/>
          <a:stretch/>
        </p:blipFill>
        <p:spPr>
          <a:xfrm>
            <a:off x="2769562" y="2310060"/>
            <a:ext cx="6652876" cy="37422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313F2BC-6F5D-4524-AD64-7A57B2B0C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7680"/>
            <a:ext cx="10658400" cy="1118288"/>
          </a:xfrm>
        </p:spPr>
        <p:txBody>
          <a:bodyPr vert="horz"/>
          <a:lstStyle/>
          <a:p>
            <a:r>
              <a:rPr lang="nb-NO" dirty="0"/>
              <a:t>Selvstendig rettsvernshev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6F0F1E-08A5-4CA7-9298-89B3E3D496DE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71175760-6E3B-4009-9E83-AFC588AC02DF}" type="datetime1">
              <a:rPr lang="nb-NO" noProof="0" smtClean="0"/>
              <a:t>27.10.2021</a:t>
            </a:fld>
            <a:endParaRPr lang="nb-NO" noProof="0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DC78FB0F-056E-40B7-8604-A591C68692E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5CB892E-A781-44D4-A70E-70ABD94D698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17</a:t>
            </a:fld>
            <a:endParaRPr lang="nb-NO" noProof="1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29D5A248-209B-440D-A9B6-CD32F8271422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763" y="434975"/>
            <a:ext cx="10660062" cy="328613"/>
          </a:xfrm>
        </p:spPr>
        <p:txBody>
          <a:bodyPr/>
          <a:lstStyle/>
          <a:p>
            <a:r>
              <a:rPr lang="nb-NO" dirty="0"/>
              <a:t>Høyesteretts dom av 1. september 2021 | HR-2021-1773-A</a:t>
            </a:r>
          </a:p>
        </p:txBody>
      </p:sp>
    </p:spTree>
    <p:extLst>
      <p:ext uri="{BB962C8B-B14F-4D97-AF65-F5344CB8AC3E}">
        <p14:creationId xmlns:p14="http://schemas.microsoft.com/office/powerpoint/2010/main" val="19206635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B55EE06-C219-4723-A17D-244FBBB32F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385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9" name="think-cell Slide" r:id="rId5" imgW="307" imgH="306" progId="TCLayout.ActiveDocument.1">
                  <p:embed/>
                </p:oleObj>
              </mc:Choice>
              <mc:Fallback>
                <p:oleObj name="think-cell Slide" r:id="rId5" imgW="307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B55EE06-C219-4723-A17D-244FBBB32F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4C8CD6D-27DF-4240-ACBA-DDF454B39B8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9" r="8223"/>
          <a:stretch/>
        </p:blipFill>
        <p:spPr>
          <a:xfrm>
            <a:off x="6517367" y="0"/>
            <a:ext cx="5674633" cy="6861600"/>
          </a:xfrm>
          <a:prstGeom prst="rect">
            <a:avLst/>
          </a:prstGeom>
          <a:noFill/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AC8EC733-6066-4A1D-8A79-8BFC883C781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66801" y="435600"/>
            <a:ext cx="4945025" cy="326433"/>
          </a:xfrm>
        </p:spPr>
        <p:txBody>
          <a:bodyPr anchor="t">
            <a:noAutofit/>
          </a:bodyPr>
          <a:lstStyle/>
          <a:p>
            <a:r>
              <a:rPr lang="nb-NO" dirty="0"/>
              <a:t>Høyesteretts dom av 4. mai 2021 | </a:t>
            </a:r>
            <a:br>
              <a:rPr lang="nb-NO" dirty="0"/>
            </a:br>
            <a:r>
              <a:rPr lang="nb-NO" dirty="0"/>
              <a:t>HR-2021-953-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8DDF982-3521-48AB-AC4C-14C0A9D52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1193800"/>
            <a:ext cx="4945062" cy="1117600"/>
          </a:xfrm>
        </p:spPr>
        <p:txBody>
          <a:bodyPr vert="horz" anchor="t">
            <a:normAutofit/>
          </a:bodyPr>
          <a:lstStyle/>
          <a:p>
            <a:r>
              <a:rPr lang="nb-NO" dirty="0"/>
              <a:t>Rekkefølgekrav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24E074C-7AC1-46F0-84F6-5799BD2F0E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800" y="2549294"/>
            <a:ext cx="4945025" cy="1477029"/>
          </a:xfrm>
        </p:spPr>
        <p:txBody>
          <a:bodyPr/>
          <a:lstStyle/>
          <a:p>
            <a:pPr marL="0" indent="0">
              <a:buNone/>
            </a:pPr>
            <a:r>
              <a:rPr lang="en-US" sz="1800" i="1" dirty="0"/>
              <a:t>"</a:t>
            </a:r>
            <a:r>
              <a:rPr lang="nb-NO" sz="1800" i="1" dirty="0"/>
              <a:t>Jeg ser det likevel slik at ordlyden tilsier at det bare kan stilles krav om rekkefølgetiltak for å dekke reelle behov som utløses eller forsterkes av utbyggingen. […] det avgjørende synes å være hvilke tiltak som samlet sett anses nødvendige før også den nye bebyggelsen kan tas i bruk."</a:t>
            </a:r>
            <a:endParaRPr lang="en-US" sz="1800" i="1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3E8B41-1A4F-4848-9B9F-0F54101958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8A43B0BB-EB1C-41FE-ACC0-CA4444F3BBEA}" type="datetime1">
              <a:rPr lang="nb-NO" noProof="0" smtClean="0"/>
              <a:t>27.10.2021</a:t>
            </a:fld>
            <a:endParaRPr lang="nb-NO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0B38FB-E4C7-4F8B-9F18-41FF665A556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9" t="37354" r="1" b="6953"/>
          <a:stretch/>
        </p:blipFill>
        <p:spPr>
          <a:xfrm>
            <a:off x="766763" y="5646872"/>
            <a:ext cx="3745188" cy="888729"/>
          </a:xfrm>
          <a:prstGeom prst="rect">
            <a:avLst/>
          </a:prstGeom>
        </p:spPr>
      </p:pic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CA996F17-93C9-4769-9756-FC01634C7EE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4DC8403C-15A0-4218-A279-9C53576729E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18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2893064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CA85A7E-3723-4987-AF02-63CA7158B2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663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" name="think-cell Slide" r:id="rId4" imgW="307" imgH="306" progId="TCLayout.ActiveDocument.1">
                  <p:embed/>
                </p:oleObj>
              </mc:Choice>
              <mc:Fallback>
                <p:oleObj name="think-cell Slide" r:id="rId4" imgW="307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57CD37C7-D6DB-43AA-821E-DF3C6365662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66801" y="435600"/>
            <a:ext cx="6179283" cy="326433"/>
          </a:xfrm>
        </p:spPr>
        <p:txBody>
          <a:bodyPr/>
          <a:lstStyle/>
          <a:p>
            <a:r>
              <a:rPr lang="nb-NO" dirty="0"/>
              <a:t>Gulating lagmannsretts dom av 21. september 2021 | LG-2020-30011</a:t>
            </a:r>
          </a:p>
          <a:p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02DCA14-192E-4A9F-A6E4-134540066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1193800"/>
            <a:ext cx="4945062" cy="1117600"/>
          </a:xfrm>
        </p:spPr>
        <p:txBody>
          <a:bodyPr vert="horz"/>
          <a:lstStyle/>
          <a:p>
            <a:r>
              <a:rPr lang="nb-NO" dirty="0"/>
              <a:t>Eiendomsrett til luft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328B311-EF4F-423A-A391-E83883C776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800" y="2311200"/>
            <a:ext cx="4945025" cy="3778450"/>
          </a:xfrm>
        </p:spPr>
        <p:txBody>
          <a:bodyPr anchor="ctr"/>
          <a:lstStyle/>
          <a:p>
            <a:r>
              <a:rPr lang="nb-NO" dirty="0"/>
              <a:t>Lagmannsretten legger til grunn at hovedregelen er at det ikke kan plasseres permanente innretninger over en eiendom uten at det er i konflikt med grunneiers eiendomsrett</a:t>
            </a:r>
          </a:p>
          <a:p>
            <a:r>
              <a:rPr lang="nb-NO" dirty="0"/>
              <a:t>Eiendomsretten strekker seg i alle fall så langt opp som vedkommende grunneier påregnelig har interesse i å utnytte egen eiendom, eller må anses å ha berettiget og saklig interesse i å nekte aktivitet over egen grunn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35D2B6-3BCD-4E06-BAB4-6123F520473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D0A9DAA4-C972-47F4-A5F4-DDBE95FA0EAA}" type="datetime1">
              <a:rPr lang="nb-NO" noProof="0" smtClean="0"/>
              <a:t>27.10.2021</a:t>
            </a:fld>
            <a:endParaRPr lang="nb-NO" noProof="0" dirty="0"/>
          </a:p>
        </p:txBody>
      </p:sp>
      <p:pic>
        <p:nvPicPr>
          <p:cNvPr id="11" name="Picture 2" descr="TD34 Voss Gondol">
            <a:extLst>
              <a:ext uri="{FF2B5EF4-FFF2-40B4-BE49-F238E27FC236}">
                <a16:creationId xmlns:a16="http://schemas.microsoft.com/office/drawing/2014/main" id="{4D40D44A-4BF7-47F9-99F5-90ADB8B23DEE}"/>
              </a:ext>
            </a:extLst>
          </p:cNvPr>
          <p:cNvPicPr>
            <a:picLocks noGrp="1" noChangeAspect="1" noChangeArrowheads="1"/>
          </p:cNvPicPr>
          <p:nvPr>
            <p:ph type="pic" sz="quarter" idx="2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4" r="15754"/>
          <a:stretch/>
        </p:blipFill>
        <p:spPr bwMode="auto">
          <a:xfrm>
            <a:off x="6478589" y="1022363"/>
            <a:ext cx="4945061" cy="4812864"/>
          </a:xfrm>
          <a:solidFill>
            <a:srgbClr val="FFFFFF"/>
          </a:solidFill>
        </p:spPr>
      </p:pic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CD367BB6-98B1-4272-B001-46DF82F1955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D45ECF64-A76D-4FAF-911E-4169969D9AB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19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16247185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EA93EFF-8FFD-4EA6-997D-29833DD9B7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453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Slide" r:id="rId9" imgW="409" imgH="408" progId="TCLayout.ActiveDocument.1">
                  <p:embed/>
                </p:oleObj>
              </mc:Choice>
              <mc:Fallback>
                <p:oleObj name="think-cell Slide" r:id="rId9" imgW="409" imgH="408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EA93EFF-8FFD-4EA6-997D-29833DD9B7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F0C99C7E-7800-4612-8FBE-EF01029078E0}"/>
              </a:ext>
            </a:extLst>
          </p:cNvPr>
          <p:cNvSpPr>
            <a:spLocks/>
          </p:cNvSpPr>
          <p:nvPr/>
        </p:nvSpPr>
        <p:spPr>
          <a:xfrm>
            <a:off x="8492150" y="0"/>
            <a:ext cx="3699849" cy="3429000"/>
          </a:xfrm>
          <a:prstGeom prst="rect">
            <a:avLst/>
          </a:prstGeom>
          <a:solidFill>
            <a:schemeClr val="accent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7B80CA3-219F-4AE7-B6A9-C952F1CBAC33}"/>
              </a:ext>
            </a:extLst>
          </p:cNvPr>
          <p:cNvSpPr>
            <a:spLocks/>
          </p:cNvSpPr>
          <p:nvPr/>
        </p:nvSpPr>
        <p:spPr>
          <a:xfrm>
            <a:off x="8492151" y="3429000"/>
            <a:ext cx="3699850" cy="3429000"/>
          </a:xfrm>
          <a:prstGeom prst="rect">
            <a:avLst/>
          </a:prstGeom>
          <a:solidFill>
            <a:srgbClr val="F9F8F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600"/>
              </a:spcAft>
            </a:pPr>
            <a:endParaRPr lang="nb-NO" sz="1600" noProof="0" dirty="0" err="1"/>
          </a:p>
        </p:txBody>
      </p:sp>
      <p:sp>
        <p:nvSpPr>
          <p:cNvPr id="18" name="Subtitle 17">
            <a:extLst>
              <a:ext uri="{FF2B5EF4-FFF2-40B4-BE49-F238E27FC236}">
                <a16:creationId xmlns:a16="http://schemas.microsoft.com/office/drawing/2014/main" id="{BC72722D-8197-4079-917C-42CA6D54CFCF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nb-NO" dirty="0"/>
              <a:t>Om oss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7AD8E1B7-BAF3-4CC6-8E39-40F33F898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Dette er Thommesse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5E0A07-140B-41A0-92A8-ACAD273B5F9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EB477F7-99E2-4AC6-9095-5FA918D5ED4C}" type="datetime1">
              <a:rPr lang="nb-NO"/>
              <a:t>27.10.2021</a:t>
            </a:fld>
            <a:endParaRPr lang="nb-NO" dirty="0"/>
          </a:p>
        </p:txBody>
      </p:sp>
      <p:pic>
        <p:nvPicPr>
          <p:cNvPr id="17" name="Oval 34">
            <a:extLst>
              <a:ext uri="{FF2B5EF4-FFF2-40B4-BE49-F238E27FC236}">
                <a16:creationId xmlns:a16="http://schemas.microsoft.com/office/drawing/2014/main" id="{58961A97-F278-45A1-81A2-8E81B8F1F1F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50" r="12550"/>
          <a:stretch/>
        </p:blipFill>
        <p:spPr>
          <a:xfrm>
            <a:off x="766800" y="4322528"/>
            <a:ext cx="1216800" cy="1216800"/>
          </a:xfrm>
          <a:prstGeom prst="ellipse">
            <a:avLst/>
          </a:prstGeom>
        </p:spPr>
      </p:pic>
      <p:pic>
        <p:nvPicPr>
          <p:cNvPr id="11" name="Oval 35">
            <a:extLst>
              <a:ext uri="{FF2B5EF4-FFF2-40B4-BE49-F238E27FC236}">
                <a16:creationId xmlns:a16="http://schemas.microsoft.com/office/drawing/2014/main" id="{7A21A3F9-ECE4-4CC8-BF84-5D09DFAB844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0" r="16250"/>
          <a:stretch/>
        </p:blipFill>
        <p:spPr>
          <a:xfrm>
            <a:off x="766800" y="2196124"/>
            <a:ext cx="1216800" cy="1216800"/>
          </a:xfrm>
          <a:prstGeom prst="ellipse">
            <a:avLst/>
          </a:prstGeom>
        </p:spPr>
      </p:pic>
      <p:pic>
        <p:nvPicPr>
          <p:cNvPr id="9" name="Oval 36">
            <a:extLst>
              <a:ext uri="{FF2B5EF4-FFF2-40B4-BE49-F238E27FC236}">
                <a16:creationId xmlns:a16="http://schemas.microsoft.com/office/drawing/2014/main" id="{E16DE68C-4A3C-4640-93AB-3D84EA681FBD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5" r="16675"/>
          <a:stretch/>
        </p:blipFill>
        <p:spPr>
          <a:xfrm>
            <a:off x="4323926" y="2196124"/>
            <a:ext cx="1216800" cy="1216800"/>
          </a:xfrm>
          <a:prstGeom prst="ellipse">
            <a:avLst/>
          </a:prstGeom>
        </p:spPr>
      </p:pic>
      <p:pic>
        <p:nvPicPr>
          <p:cNvPr id="21" name="Oval 37">
            <a:extLst>
              <a:ext uri="{FF2B5EF4-FFF2-40B4-BE49-F238E27FC236}">
                <a16:creationId xmlns:a16="http://schemas.microsoft.com/office/drawing/2014/main" id="{12480469-4BB1-4AE3-894A-F17EA2A98C5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5" r="16675"/>
          <a:stretch/>
        </p:blipFill>
        <p:spPr>
          <a:xfrm>
            <a:off x="4323926" y="4320126"/>
            <a:ext cx="1216800" cy="1216800"/>
          </a:xfrm>
          <a:prstGeom prst="ellipse">
            <a:avLst/>
          </a:prstGeom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935ACB1E-A9DD-4238-A313-67C223CC23C9}"/>
              </a:ext>
            </a:extLst>
          </p:cNvPr>
          <p:cNvSpPr>
            <a:spLocks/>
          </p:cNvSpPr>
          <p:nvPr/>
        </p:nvSpPr>
        <p:spPr>
          <a:xfrm flipH="1">
            <a:off x="2154697" y="2301250"/>
            <a:ext cx="2068959" cy="15081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nb-NO" sz="1400" b="1" spc="50" dirty="0">
                <a:solidFill>
                  <a:srgbClr val="0D4065"/>
                </a:solidFill>
              </a:rPr>
              <a:t>Oslo</a:t>
            </a:r>
            <a:br>
              <a:rPr lang="nb-NO" sz="1400" b="1" spc="50" dirty="0">
                <a:solidFill>
                  <a:srgbClr val="0D4065"/>
                </a:solidFill>
              </a:rPr>
            </a:br>
            <a:br>
              <a:rPr lang="nb-NO" sz="1400" b="1" spc="50" dirty="0">
                <a:solidFill>
                  <a:srgbClr val="0D4065"/>
                </a:solidFill>
              </a:rPr>
            </a:br>
            <a:r>
              <a:rPr lang="nb-NO" sz="1400" spc="50" dirty="0">
                <a:solidFill>
                  <a:srgbClr val="0D4065"/>
                </a:solidFill>
              </a:rPr>
              <a:t>I Oslo har vi tilbudt forretningsjuridiske tjenester til privat og offentlig næringsliv i mer enn 165 år.</a:t>
            </a:r>
          </a:p>
        </p:txBody>
      </p:sp>
      <p:sp>
        <p:nvSpPr>
          <p:cNvPr id="48" name="Rectangle 30">
            <a:extLst>
              <a:ext uri="{FF2B5EF4-FFF2-40B4-BE49-F238E27FC236}">
                <a16:creationId xmlns:a16="http://schemas.microsoft.com/office/drawing/2014/main" id="{EB4D355B-2A01-49B6-9174-BCDA2A3AFAF8}"/>
              </a:ext>
            </a:extLst>
          </p:cNvPr>
          <p:cNvSpPr>
            <a:spLocks/>
          </p:cNvSpPr>
          <p:nvPr/>
        </p:nvSpPr>
        <p:spPr>
          <a:xfrm flipH="1">
            <a:off x="5711825" y="2301250"/>
            <a:ext cx="2269379" cy="17235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nb-NO" sz="1400" b="1" spc="50" dirty="0">
                <a:solidFill>
                  <a:srgbClr val="0D4065"/>
                </a:solidFill>
              </a:rPr>
              <a:t>Bergen</a:t>
            </a:r>
            <a:br>
              <a:rPr lang="nb-NO" sz="1400" b="1" spc="50" dirty="0">
                <a:solidFill>
                  <a:srgbClr val="0D4065"/>
                </a:solidFill>
              </a:rPr>
            </a:br>
            <a:br>
              <a:rPr lang="nb-NO" sz="1400" b="1" spc="50" dirty="0">
                <a:solidFill>
                  <a:srgbClr val="0D4065"/>
                </a:solidFill>
              </a:rPr>
            </a:br>
            <a:r>
              <a:rPr lang="nb-NO" sz="1400" spc="50" dirty="0">
                <a:solidFill>
                  <a:srgbClr val="0D4065"/>
                </a:solidFill>
              </a:rPr>
              <a:t>I over nitti år har vårt kontor i Bergen tilbudt forretningsjuridisk ekspertise til klienter og næringer på Vestlandet –  og resten av </a:t>
            </a:r>
            <a:r>
              <a:rPr lang="nb-NO" sz="1400" spc="50">
                <a:solidFill>
                  <a:srgbClr val="0D4065"/>
                </a:solidFill>
              </a:rPr>
              <a:t>landet.</a:t>
            </a:r>
            <a:endParaRPr lang="nb-NO" sz="1400" spc="50" dirty="0">
              <a:solidFill>
                <a:srgbClr val="0D4065"/>
              </a:solidFill>
            </a:endParaRPr>
          </a:p>
        </p:txBody>
      </p:sp>
      <p:sp>
        <p:nvSpPr>
          <p:cNvPr id="49" name="Rectangle 30">
            <a:extLst>
              <a:ext uri="{FF2B5EF4-FFF2-40B4-BE49-F238E27FC236}">
                <a16:creationId xmlns:a16="http://schemas.microsoft.com/office/drawing/2014/main" id="{79874DF7-8D44-441F-B21A-91853C1C3065}"/>
              </a:ext>
            </a:extLst>
          </p:cNvPr>
          <p:cNvSpPr>
            <a:spLocks/>
          </p:cNvSpPr>
          <p:nvPr/>
        </p:nvSpPr>
        <p:spPr>
          <a:xfrm flipH="1">
            <a:off x="5711825" y="4431792"/>
            <a:ext cx="2269380" cy="15081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nb-NO" sz="1400" b="1" spc="50" dirty="0">
                <a:solidFill>
                  <a:srgbClr val="0D4065"/>
                </a:solidFill>
              </a:rPr>
              <a:t>London</a:t>
            </a:r>
            <a:br>
              <a:rPr lang="nb-NO" sz="1400" b="1" spc="50" dirty="0">
                <a:solidFill>
                  <a:srgbClr val="0D4065"/>
                </a:solidFill>
              </a:rPr>
            </a:br>
            <a:br>
              <a:rPr lang="nb-NO" sz="1400" spc="50" dirty="0">
                <a:solidFill>
                  <a:srgbClr val="0D4065"/>
                </a:solidFill>
              </a:rPr>
            </a:br>
            <a:r>
              <a:rPr lang="nb-NO" sz="1400" spc="50" dirty="0">
                <a:solidFill>
                  <a:srgbClr val="0D4065"/>
                </a:solidFill>
              </a:rPr>
              <a:t>I mer enn tretti år har vårt kontor i London vært en viktig lyttepost i det internasjonale markedet. </a:t>
            </a:r>
          </a:p>
        </p:txBody>
      </p:sp>
      <p:sp>
        <p:nvSpPr>
          <p:cNvPr id="50" name="Rectangle 30">
            <a:extLst>
              <a:ext uri="{FF2B5EF4-FFF2-40B4-BE49-F238E27FC236}">
                <a16:creationId xmlns:a16="http://schemas.microsoft.com/office/drawing/2014/main" id="{83B19AEB-2DA0-4AFC-B419-434EAF370081}"/>
              </a:ext>
            </a:extLst>
          </p:cNvPr>
          <p:cNvSpPr>
            <a:spLocks/>
          </p:cNvSpPr>
          <p:nvPr/>
        </p:nvSpPr>
        <p:spPr>
          <a:xfrm flipH="1">
            <a:off x="2154696" y="4431792"/>
            <a:ext cx="2068960" cy="129266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nb-NO" sz="1400" b="1" spc="50" dirty="0">
                <a:solidFill>
                  <a:srgbClr val="0D4065"/>
                </a:solidFill>
              </a:rPr>
              <a:t>Stavanger</a:t>
            </a:r>
            <a:br>
              <a:rPr lang="nb-NO" sz="1400" spc="50" dirty="0">
                <a:solidFill>
                  <a:srgbClr val="0D4065"/>
                </a:solidFill>
              </a:rPr>
            </a:br>
            <a:br>
              <a:rPr lang="nb-NO" sz="1400" spc="50" dirty="0">
                <a:solidFill>
                  <a:srgbClr val="0D4065"/>
                </a:solidFill>
              </a:rPr>
            </a:br>
            <a:r>
              <a:rPr lang="nb-NO" sz="1400" spc="50" dirty="0">
                <a:solidFill>
                  <a:srgbClr val="0D4065"/>
                </a:solidFill>
              </a:rPr>
              <a:t>I 2020 etablerte Thommessen et ledende advokatkontor også i Stavanger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4EC6452-5BEA-4B08-B626-EDE3F83ACAA4}"/>
              </a:ext>
            </a:extLst>
          </p:cNvPr>
          <p:cNvSpPr txBox="1">
            <a:spLocks/>
          </p:cNvSpPr>
          <p:nvPr/>
        </p:nvSpPr>
        <p:spPr>
          <a:xfrm>
            <a:off x="9237757" y="732829"/>
            <a:ext cx="220862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nb-NO" sz="1200" spc="50" dirty="0">
                <a:solidFill>
                  <a:srgbClr val="0D4065"/>
                </a:solidFill>
              </a:rPr>
              <a:t>Vå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512022E-7FB7-4F8B-A3C9-D377F2DA3F4D}"/>
              </a:ext>
            </a:extLst>
          </p:cNvPr>
          <p:cNvSpPr txBox="1">
            <a:spLocks/>
          </p:cNvSpPr>
          <p:nvPr/>
        </p:nvSpPr>
        <p:spPr>
          <a:xfrm>
            <a:off x="9237757" y="1028992"/>
            <a:ext cx="220862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nb-NO" sz="6600" spc="50" dirty="0">
                <a:solidFill>
                  <a:srgbClr val="0D4065"/>
                </a:solidFill>
                <a:latin typeface="+mj-lt"/>
              </a:rPr>
              <a:t>220</a:t>
            </a:r>
            <a:endParaRPr lang="nb-NO" sz="1100" spc="50" dirty="0">
              <a:solidFill>
                <a:srgbClr val="0D4065"/>
              </a:solidFill>
              <a:latin typeface="+mj-l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2A2ABD8-FE59-4CC8-B4DC-9573F8292C4E}"/>
              </a:ext>
            </a:extLst>
          </p:cNvPr>
          <p:cNvSpPr txBox="1">
            <a:spLocks/>
          </p:cNvSpPr>
          <p:nvPr/>
        </p:nvSpPr>
        <p:spPr>
          <a:xfrm>
            <a:off x="8785840" y="2213652"/>
            <a:ext cx="3112465" cy="7417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nb-NO" sz="1200" spc="50" dirty="0">
                <a:solidFill>
                  <a:srgbClr val="0D4065"/>
                </a:solidFill>
              </a:rPr>
              <a:t>advokater og advokatfullmektiger har solid juridisk fagkompetanse kombinert med inngående bransjekunnskap. </a:t>
            </a:r>
          </a:p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nb-NO" sz="1200" spc="50" dirty="0">
              <a:solidFill>
                <a:srgbClr val="0D4065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CD23678B-32DE-4B86-A045-8B18B6069D5C}"/>
              </a:ext>
            </a:extLst>
          </p:cNvPr>
          <p:cNvSpPr txBox="1">
            <a:spLocks/>
          </p:cNvSpPr>
          <p:nvPr/>
        </p:nvSpPr>
        <p:spPr>
          <a:xfrm>
            <a:off x="9237757" y="4137000"/>
            <a:ext cx="220862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nb-NO" sz="1200" spc="50" dirty="0">
                <a:solidFill>
                  <a:srgbClr val="0D4065"/>
                </a:solidFill>
              </a:rPr>
              <a:t>Siden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4B57708-A0AF-41E5-8CC8-EE0D3731F8C7}"/>
              </a:ext>
            </a:extLst>
          </p:cNvPr>
          <p:cNvSpPr txBox="1">
            <a:spLocks/>
          </p:cNvSpPr>
          <p:nvPr/>
        </p:nvSpPr>
        <p:spPr>
          <a:xfrm>
            <a:off x="9237757" y="4431792"/>
            <a:ext cx="2208629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nb-NO" sz="6600" spc="50" dirty="0">
                <a:solidFill>
                  <a:srgbClr val="0D4065"/>
                </a:solidFill>
                <a:latin typeface="+mj-lt"/>
              </a:rPr>
              <a:t>1856</a:t>
            </a:r>
            <a:endParaRPr lang="nb-NO" sz="1100" spc="50" dirty="0">
              <a:solidFill>
                <a:srgbClr val="0D4065"/>
              </a:solidFill>
              <a:latin typeface="+mj-lt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4C146F7-58BC-46C7-AB8B-F8ED629EF060}"/>
              </a:ext>
            </a:extLst>
          </p:cNvPr>
          <p:cNvSpPr txBox="1">
            <a:spLocks/>
          </p:cNvSpPr>
          <p:nvPr/>
        </p:nvSpPr>
        <p:spPr>
          <a:xfrm>
            <a:off x="8785840" y="5526803"/>
            <a:ext cx="3112465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nb-NO" sz="1200" spc="50" dirty="0">
                <a:solidFill>
                  <a:srgbClr val="0D4065"/>
                </a:solidFill>
              </a:rPr>
              <a:t>har Thommessen vært med på de fleste toneangivende oppdragene i norsk næringsliv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F77704-E37D-4C45-96F7-9EC17224535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 dirty="0"/>
              <a:t>Firmapresentasj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17EA5F-A8D4-4FF0-A972-527250956CD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/>
              <a:pPr>
                <a:tabLst>
                  <a:tab pos="10659600" algn="r"/>
                </a:tabLst>
              </a:pPr>
              <a:t>2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5832100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E1E7760-F6AB-4FD9-9FB6-28D729CB13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152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7" name="think-cell Slide" r:id="rId4" imgW="307" imgH="306" progId="TCLayout.ActiveDocument.1">
                  <p:embed/>
                </p:oleObj>
              </mc:Choice>
              <mc:Fallback>
                <p:oleObj name="think-cell Slide" r:id="rId4" imgW="307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FA8FDAE8-A055-4357-BD0D-59403C67235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766801" y="435600"/>
            <a:ext cx="5592054" cy="326433"/>
          </a:xfrm>
        </p:spPr>
        <p:txBody>
          <a:bodyPr/>
          <a:lstStyle/>
          <a:p>
            <a:r>
              <a:rPr lang="nb-NO" dirty="0"/>
              <a:t>Borgarting lagmannsretts dom av 7. juni 2021 | LB-2021-41600</a:t>
            </a:r>
          </a:p>
          <a:p>
            <a:br>
              <a:rPr lang="nb-NO" dirty="0"/>
            </a:br>
            <a:endParaRPr lang="nb-NO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2B7BD72-C603-40E3-B0A7-887C8F9A2C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1" y="1239259"/>
            <a:ext cx="4945025" cy="1118288"/>
          </a:xfrm>
        </p:spPr>
        <p:txBody>
          <a:bodyPr vert="horz"/>
          <a:lstStyle/>
          <a:p>
            <a:r>
              <a:rPr lang="nb-NO" dirty="0"/>
              <a:t>Hytteeierne mot stat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51D812-280D-4990-B22A-0EBDC76841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801" y="2571259"/>
            <a:ext cx="4945025" cy="3778450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Var Covid-19-forskriften og krav om innreise-karantene i strid med hytteeiernes menneskerettigheter?</a:t>
            </a:r>
          </a:p>
          <a:p>
            <a:pPr lvl="1"/>
            <a:r>
              <a:rPr lang="nb-NO" sz="1400" b="1" dirty="0"/>
              <a:t>EMK artikkel 8: </a:t>
            </a:r>
            <a:r>
              <a:rPr lang="nb-NO" sz="1400" dirty="0"/>
              <a:t>Rett til hjem</a:t>
            </a:r>
          </a:p>
          <a:p>
            <a:pPr lvl="1"/>
            <a:r>
              <a:rPr lang="nb-NO" sz="1400" b="1" dirty="0"/>
              <a:t>EMK TP artikkel 1: </a:t>
            </a:r>
            <a:r>
              <a:rPr lang="nb-NO" sz="1400" dirty="0"/>
              <a:t>Rett til vern om eiendom</a:t>
            </a:r>
          </a:p>
          <a:p>
            <a:endParaRPr lang="nb-NO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BD236A-B12D-4594-930C-E6CD9EE7F52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263C36-6B29-4018-92A7-E88071EC7477}" type="datetime1">
              <a:rPr kumimoji="0" lang="nb-NO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27.10.2021</a:t>
            </a:fld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2050" name="Picture 2" descr="Hytteeier reagerer på de nye reiserådene: Mener beslutningen er ulogisk –  VG Nå: Coronaviruset">
            <a:extLst>
              <a:ext uri="{FF2B5EF4-FFF2-40B4-BE49-F238E27FC236}">
                <a16:creationId xmlns:a16="http://schemas.microsoft.com/office/drawing/2014/main" id="{A9AC3AE5-FFEB-42F5-8093-8831359AFD9B}"/>
              </a:ext>
            </a:extLst>
          </p:cNvPr>
          <p:cNvPicPr>
            <a:picLocks noGrp="1" noChangeAspect="1" noChangeArrowheads="1"/>
          </p:cNvPicPr>
          <p:nvPr>
            <p:ph type="pic" sz="quarter" idx="2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8" r="2109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82BA0566-F850-4236-ADBF-9426C2380F3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94740E0E-B465-44FE-B61B-8A4798DB5B2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20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3952366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8C1E09D-5A3F-4BC0-BF27-3D67450EB7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2902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1" name="think-cell Slide" r:id="rId4" imgW="307" imgH="306" progId="TCLayout.ActiveDocument.1">
                  <p:embed/>
                </p:oleObj>
              </mc:Choice>
              <mc:Fallback>
                <p:oleObj name="think-cell Slide" r:id="rId4" imgW="307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ubtitle 1">
            <a:extLst>
              <a:ext uri="{FF2B5EF4-FFF2-40B4-BE49-F238E27FC236}">
                <a16:creationId xmlns:a16="http://schemas.microsoft.com/office/drawing/2014/main" id="{B0E710FD-AC7C-4E0C-B6E9-1F5185DF09A6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800" y="435600"/>
            <a:ext cx="10659600" cy="327600"/>
          </a:xfrm>
        </p:spPr>
        <p:txBody>
          <a:bodyPr/>
          <a:lstStyle/>
          <a:p>
            <a:br>
              <a:rPr lang="nb-NO" dirty="0"/>
            </a:br>
            <a:endParaRPr lang="nb-NO" dirty="0"/>
          </a:p>
          <a:p>
            <a:br>
              <a:rPr lang="nb-NO" dirty="0"/>
            </a:br>
            <a:endParaRPr lang="nb-NO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A087FC-FEF1-4E99-92FE-B9D3DF08A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074" y="599400"/>
            <a:ext cx="10658400" cy="1118288"/>
          </a:xfrm>
        </p:spPr>
        <p:txBody>
          <a:bodyPr vert="horz"/>
          <a:lstStyle/>
          <a:p>
            <a:r>
              <a:rPr lang="nb-NO" dirty="0"/>
              <a:t>Oslo tingretts dom av 5. februar 2021</a:t>
            </a:r>
            <a:br>
              <a:rPr lang="nb-NO" dirty="0"/>
            </a:br>
            <a:r>
              <a:rPr lang="nb-NO" sz="2800" dirty="0"/>
              <a:t>TOSLO-2020-176591</a:t>
            </a:r>
            <a:endParaRPr lang="nb-NO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DDB4AC-E462-4D19-AF25-F12F4AEA81D0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F2E48F15-532B-479A-82C1-C7A419F79663}" type="datetime1">
              <a:rPr lang="nb-NO" noProof="0" smtClean="0"/>
              <a:t>27.10.2021</a:t>
            </a:fld>
            <a:endParaRPr lang="nb-NO" noProof="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AE5BEF3-6A1B-4187-80C8-FBF6F06CF6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0078" y="2203968"/>
            <a:ext cx="4051844" cy="42184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E1E3EBD2-BCDB-40F1-91F2-424C2CA5C1C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72168ECC-D45F-4598-940D-946D30F0572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21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2809162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8C1E09D-5A3F-4BC0-BF27-3D67450EB7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0917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" name="think-cell Slide" r:id="rId4" imgW="307" imgH="306" progId="TCLayout.ActiveDocument.1">
                  <p:embed/>
                </p:oleObj>
              </mc:Choice>
              <mc:Fallback>
                <p:oleObj name="think-cell Slide" r:id="rId4" imgW="307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8C1E09D-5A3F-4BC0-BF27-3D67450EB7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ubtitle 1">
            <a:extLst>
              <a:ext uri="{FF2B5EF4-FFF2-40B4-BE49-F238E27FC236}">
                <a16:creationId xmlns:a16="http://schemas.microsoft.com/office/drawing/2014/main" id="{B0E710FD-AC7C-4E0C-B6E9-1F5185DF09A6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br>
              <a:rPr lang="nb-NO" dirty="0"/>
            </a:br>
            <a:endParaRPr lang="nb-NO" dirty="0"/>
          </a:p>
          <a:p>
            <a:br>
              <a:rPr lang="nb-NO" dirty="0"/>
            </a:br>
            <a:endParaRPr lang="nb-NO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A087FC-FEF1-4E99-92FE-B9D3DF08A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295" y="599399"/>
            <a:ext cx="11321442" cy="1146495"/>
          </a:xfrm>
        </p:spPr>
        <p:txBody>
          <a:bodyPr vert="horz"/>
          <a:lstStyle/>
          <a:p>
            <a:r>
              <a:rPr lang="nb-NO" dirty="0"/>
              <a:t>Borgarting lagmannsretts dom av 7. juni 2021  </a:t>
            </a:r>
            <a:r>
              <a:rPr lang="nb-NO" sz="1400" dirty="0"/>
              <a:t> </a:t>
            </a:r>
            <a:r>
              <a:rPr lang="nb-NO" sz="2800" dirty="0"/>
              <a:t>LB-2021-41600</a:t>
            </a:r>
            <a:endParaRPr lang="nb-NO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DDB4AC-E462-4D19-AF25-F12F4AEA81D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53F63B-2E29-4643-8C16-20D9C9FA2828}" type="datetime1">
              <a:rPr kumimoji="0" lang="nb-NO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27.10.2021</a:t>
            </a:fld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6C7224-5FAC-402B-81F9-20347EBD6C4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43" t="14681"/>
          <a:stretch/>
        </p:blipFill>
        <p:spPr>
          <a:xfrm>
            <a:off x="3262029" y="1994490"/>
            <a:ext cx="5667941" cy="43377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C192587-3BB8-4A99-A84E-5D36951212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2830825-537B-42BC-B068-713A2A8774B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22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6403474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F157E-F94A-44F3-A50F-D5669427369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6923681-7A9C-495E-9AEF-54D5AF578F7E}" type="datetime1">
              <a:rPr lang="nb-NO" smtClean="0"/>
              <a:t>27.10.2021</a:t>
            </a:fld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65051E-256F-4976-83DA-E85771734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641A1A-460D-4C42-9E37-521B3BC90C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23</a:t>
            </a:fld>
            <a:endParaRPr lang="nb-NO" noProof="1"/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2C4ACAC-68A5-4A67-B82A-26C61E44407D}"/>
              </a:ext>
            </a:extLst>
          </p:cNvPr>
          <p:cNvSpPr txBox="1">
            <a:spLocks/>
          </p:cNvSpPr>
          <p:nvPr/>
        </p:nvSpPr>
        <p:spPr>
          <a:xfrm>
            <a:off x="7106387" y="5832740"/>
            <a:ext cx="4320013" cy="5627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0D4065"/>
                </a:solidFill>
                <a:latin typeface="+mj-lt"/>
                <a:ea typeface="Roboto Slab Light" pitchFamily="2" charset="0"/>
                <a:cs typeface="+mj-cs"/>
              </a:defRPr>
            </a:lvl1pPr>
          </a:lstStyle>
          <a:p>
            <a:r>
              <a:rPr lang="nb-NO" b="1" dirty="0"/>
              <a:t>To be </a:t>
            </a:r>
            <a:r>
              <a:rPr lang="nb-NO" b="1" dirty="0" err="1"/>
              <a:t>continued</a:t>
            </a:r>
            <a:r>
              <a:rPr lang="nb-NO" b="1" dirty="0"/>
              <a:t>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580A6D-21FA-41CF-BC4C-DF44C70B05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748" y="1038009"/>
            <a:ext cx="10325100" cy="4552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6648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007AF89-B472-45F4-A0B9-A737FC092F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9" name="think-cell Slide" r:id="rId5" imgW="307" imgH="306" progId="TCLayout.ActiveDocument.1">
                  <p:embed/>
                </p:oleObj>
              </mc:Choice>
              <mc:Fallback>
                <p:oleObj name="think-cell Slide" r:id="rId5" imgW="307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007AF89-B472-45F4-A0B9-A737FC092F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Placeholder 1">
            <a:extLst>
              <a:ext uri="{FF2B5EF4-FFF2-40B4-BE49-F238E27FC236}">
                <a16:creationId xmlns:a16="http://schemas.microsoft.com/office/drawing/2014/main" id="{9FD96532-7684-4D4C-88EB-1ABB876CD785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90" r="32590"/>
          <a:stretch/>
        </p:blipFill>
        <p:spPr/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53FBD336-E39C-4814-976A-BE3D26D2993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Eidsivating lagmannsrett dom av 25.11.2019 | LE-2018-6375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3045D03-57F3-497F-AD90-AF6D31FAC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Leietakers rett til heving </a:t>
            </a:r>
            <a:r>
              <a:rPr lang="nb-NO" sz="2800" dirty="0"/>
              <a:t>Forventet forsinket overlevering</a:t>
            </a:r>
            <a:endParaRPr lang="nb-NO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14210A90-AED3-4BA7-96F2-4113BF92B08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9653" y="2097488"/>
            <a:ext cx="7073996" cy="3778450"/>
          </a:xfrm>
        </p:spPr>
        <p:txBody>
          <a:bodyPr anchor="ctr"/>
          <a:lstStyle/>
          <a:p>
            <a:r>
              <a:rPr lang="nb-NO" dirty="0"/>
              <a:t>Avtaleinngåelse 12. oktober | Overtakelse 10. desember 2016 </a:t>
            </a:r>
          </a:p>
          <a:p>
            <a:r>
              <a:rPr lang="nb-NO" dirty="0"/>
              <a:t>På hevingstidspunktet 15. november var det sannsynlig med </a:t>
            </a:r>
            <a:r>
              <a:rPr lang="nb-NO" dirty="0" err="1"/>
              <a:t>ca</a:t>
            </a:r>
            <a:r>
              <a:rPr lang="nb-NO" dirty="0"/>
              <a:t> to måneders forsinkelse</a:t>
            </a:r>
          </a:p>
          <a:p>
            <a:r>
              <a:rPr lang="nb-NO" dirty="0"/>
              <a:t>Lagmannsretten mente at den forventede forsinkelsen ga rett til heving</a:t>
            </a:r>
          </a:p>
          <a:p>
            <a:r>
              <a:rPr lang="nb-NO" dirty="0"/>
              <a:t>Vektlagt at den forsinkede overleveringen ville medføre et betydelig omsetningstap for treningssenteret: </a:t>
            </a:r>
            <a:r>
              <a:rPr lang="nb-NO" i="1" dirty="0"/>
              <a:t>"Det anses uomtvistet at de første dagene i januar er den tiden på året hvor det erfaringsmessig selges flest medlemskap på treningssentrene landet over."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41692A7-94B0-4CEA-858F-22603D553F4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BE92EF-326F-4CF2-A2ED-F3BE24F9C215}" type="datetime1">
              <a:rPr kumimoji="0" lang="nb-NO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27.10.2021</a:t>
            </a:fld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9C76D2A-A6DC-4FCD-B2A2-750BBE62B54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56E6DCF-485A-42BC-ADA1-B953122EFA3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24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2044462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B6B461-8894-4434-BE40-852298BDD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F98EB6-8586-4240-A801-9AF25BD0304A}" type="datetime1">
              <a:rPr kumimoji="0" lang="nb-NO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27.10.2021</a:t>
            </a:fld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A441BF0-559D-4305-BDCA-FC081A26BF00}"/>
              </a:ext>
            </a:extLst>
          </p:cNvPr>
          <p:cNvSpPr txBox="1">
            <a:spLocks/>
          </p:cNvSpPr>
          <p:nvPr/>
        </p:nvSpPr>
        <p:spPr>
          <a:xfrm>
            <a:off x="765600" y="1595524"/>
            <a:ext cx="4215417" cy="1484555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+mj-lt"/>
                <a:ea typeface="Roboto Slab Light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Roboto Slab Light"/>
                <a:ea typeface="Roboto Slab Light" pitchFamily="2" charset="0"/>
                <a:cs typeface="+mj-cs"/>
              </a:rPr>
              <a:t>Takk for oss!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6869AFA-D0C8-459B-95CF-5649F15E95E4}"/>
              </a:ext>
            </a:extLst>
          </p:cNvPr>
          <p:cNvSpPr txBox="1">
            <a:spLocks/>
          </p:cNvSpPr>
          <p:nvPr/>
        </p:nvSpPr>
        <p:spPr>
          <a:xfrm>
            <a:off x="8675545" y="4528108"/>
            <a:ext cx="2750856" cy="2431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 baseline="0">
                <a:solidFill>
                  <a:schemeClr val="accent4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Roboto Slab Light"/>
                <a:ea typeface="Roboto Slab" pitchFamily="2" charset="0"/>
                <a:cs typeface="+mj-cs"/>
              </a:rPr>
              <a:t>Mathilde Rye Ramberg </a:t>
            </a:r>
          </a:p>
        </p:txBody>
      </p:sp>
      <p:pic>
        <p:nvPicPr>
          <p:cNvPr id="7" name="Picture 6" descr="A picture containing monitor, sign, screen, sitting&#10;&#10;Description automatically generated">
            <a:extLst>
              <a:ext uri="{FF2B5EF4-FFF2-40B4-BE49-F238E27FC236}">
                <a16:creationId xmlns:a16="http://schemas.microsoft.com/office/drawing/2014/main" id="{9CF3DC54-A1A1-4F8A-9446-990A4DA576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544" y="5445962"/>
            <a:ext cx="183039" cy="277714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2BCEDB2D-A024-4BF8-A168-6C1C1D4A509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5544" y="5856892"/>
            <a:ext cx="183039" cy="1874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80444D7-55E3-4432-85D6-4A346FD5A4AC}"/>
              </a:ext>
            </a:extLst>
          </p:cNvPr>
          <p:cNvSpPr/>
          <p:nvPr/>
        </p:nvSpPr>
        <p:spPr>
          <a:xfrm>
            <a:off x="8798395" y="5404387"/>
            <a:ext cx="26280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41 28 18 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mr@thommessen.no</a:t>
            </a:r>
          </a:p>
        </p:txBody>
      </p:sp>
      <p:pic>
        <p:nvPicPr>
          <p:cNvPr id="12" name="Picture 16">
            <a:extLst>
              <a:ext uri="{FF2B5EF4-FFF2-40B4-BE49-F238E27FC236}">
                <a16:creationId xmlns:a16="http://schemas.microsoft.com/office/drawing/2014/main" id="{EC2911C2-21A2-496D-8575-FB30C34FFB5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95" r="10195"/>
          <a:stretch>
            <a:fillRect/>
          </a:stretch>
        </p:blipFill>
        <p:spPr>
          <a:xfrm>
            <a:off x="8675544" y="824441"/>
            <a:ext cx="2750856" cy="3455390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7D0E2297-F56D-4B73-8314-E605CF12ED2C}"/>
              </a:ext>
            </a:extLst>
          </p:cNvPr>
          <p:cNvSpPr txBox="1">
            <a:spLocks/>
          </p:cNvSpPr>
          <p:nvPr/>
        </p:nvSpPr>
        <p:spPr>
          <a:xfrm>
            <a:off x="8675545" y="4869656"/>
            <a:ext cx="2750856" cy="477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 baseline="0">
                <a:solidFill>
                  <a:schemeClr val="accent4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Roboto Slab" pitchFamily="2" charset="0"/>
                <a:cs typeface="+mj-cs"/>
              </a:rPr>
              <a:t>Advokat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D2C7B8"/>
                </a:solidFill>
                <a:effectLst/>
                <a:uLnTx/>
                <a:uFillTx/>
                <a:latin typeface="Open Sans"/>
                <a:ea typeface="Roboto Slab" pitchFamily="2" charset="0"/>
                <a:cs typeface="+mj-cs"/>
              </a:rPr>
              <a:t>//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Roboto Slab" pitchFamily="2" charset="0"/>
                <a:cs typeface="+mj-cs"/>
              </a:rPr>
              <a:t> Næringseiendom og tvisteløsning</a:t>
            </a:r>
          </a:p>
        </p:txBody>
      </p:sp>
      <p:pic>
        <p:nvPicPr>
          <p:cNvPr id="11" name="Picture 10" descr="A person in a blue dress&#10;&#10;Description automatically generated with medium confidence">
            <a:extLst>
              <a:ext uri="{FF2B5EF4-FFF2-40B4-BE49-F238E27FC236}">
                <a16:creationId xmlns:a16="http://schemas.microsoft.com/office/drawing/2014/main" id="{34D79F20-B06A-4A7B-87C2-6BFFC555415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34" r="10134" b="-152"/>
          <a:stretch/>
        </p:blipFill>
        <p:spPr>
          <a:xfrm>
            <a:off x="5714727" y="824441"/>
            <a:ext cx="2750856" cy="345539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3E2D853E-1FEB-4BE5-9F79-76D3FC0CC33E}"/>
              </a:ext>
            </a:extLst>
          </p:cNvPr>
          <p:cNvSpPr txBox="1">
            <a:spLocks/>
          </p:cNvSpPr>
          <p:nvPr/>
        </p:nvSpPr>
        <p:spPr>
          <a:xfrm>
            <a:off x="5714728" y="4528108"/>
            <a:ext cx="2750856" cy="24311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 baseline="0">
                <a:solidFill>
                  <a:schemeClr val="accent4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Roboto Slab Light"/>
                <a:ea typeface="Roboto Slab" pitchFamily="2" charset="0"/>
                <a:cs typeface="+mj-cs"/>
              </a:rPr>
              <a:t>Mette Borger Fyksen</a:t>
            </a:r>
          </a:p>
        </p:txBody>
      </p:sp>
      <p:pic>
        <p:nvPicPr>
          <p:cNvPr id="15" name="Picture 14" descr="A picture containing monitor, sign, screen, sitting&#10;&#10;Description automatically generated">
            <a:extLst>
              <a:ext uri="{FF2B5EF4-FFF2-40B4-BE49-F238E27FC236}">
                <a16:creationId xmlns:a16="http://schemas.microsoft.com/office/drawing/2014/main" id="{C2E292D2-50B5-4D9A-BF58-57DE1C3AFB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727" y="5445962"/>
            <a:ext cx="183039" cy="277714"/>
          </a:xfrm>
          <a:prstGeom prst="rect">
            <a:avLst/>
          </a:prstGeom>
        </p:spPr>
      </p:pic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9467D053-4DB7-47C6-A2E2-479ED1F387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727" y="5840114"/>
            <a:ext cx="183039" cy="18745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47973C5-7306-491C-973B-88B162BBBB26}"/>
              </a:ext>
            </a:extLst>
          </p:cNvPr>
          <p:cNvSpPr/>
          <p:nvPr/>
        </p:nvSpPr>
        <p:spPr>
          <a:xfrm>
            <a:off x="5837578" y="5404387"/>
            <a:ext cx="26280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481 81 410</a:t>
            </a:r>
            <a:b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mbk@thommessen.no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B4BF972-1307-42A7-8A44-207025142DF6}"/>
              </a:ext>
            </a:extLst>
          </p:cNvPr>
          <p:cNvSpPr txBox="1">
            <a:spLocks/>
          </p:cNvSpPr>
          <p:nvPr/>
        </p:nvSpPr>
        <p:spPr>
          <a:xfrm>
            <a:off x="5714728" y="4869656"/>
            <a:ext cx="2750856" cy="477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 baseline="0">
                <a:solidFill>
                  <a:schemeClr val="accent4"/>
                </a:solidFill>
                <a:latin typeface="+mj-lt"/>
                <a:ea typeface="Roboto Slab" pitchFamily="2" charset="0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Roboto Slab" pitchFamily="2" charset="0"/>
                <a:cs typeface="+mj-cs"/>
              </a:rPr>
              <a:t>Senioradvokat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D2C7B8"/>
                </a:solidFill>
                <a:effectLst/>
                <a:uLnTx/>
                <a:uFillTx/>
                <a:latin typeface="Open Sans"/>
                <a:ea typeface="Roboto Slab" pitchFamily="2" charset="0"/>
                <a:cs typeface="+mj-cs"/>
              </a:rPr>
              <a:t>//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Roboto Slab" pitchFamily="2" charset="0"/>
                <a:cs typeface="+mj-cs"/>
              </a:rPr>
              <a:t> Næringseiendom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E9E89CC-8DB3-44F8-976C-AF060EC10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1EA7FD6-7233-4698-8F03-C47ED9178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25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3599388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24FF091-29C4-4B80-9E51-9814F09DF2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772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4" imgW="308" imgH="308" progId="TCLayout.ActiveDocument.1">
                  <p:embed/>
                </p:oleObj>
              </mc:Choice>
              <mc:Fallback>
                <p:oleObj name="think-cell Slide" r:id="rId4" imgW="308" imgH="30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24FF091-29C4-4B80-9E51-9814F09DF2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EE150-BB44-437B-83F2-27078AC5DE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587" y="2343150"/>
            <a:ext cx="4946612" cy="2103119"/>
          </a:xfrm>
        </p:spPr>
        <p:txBody>
          <a:bodyPr vert="horz"/>
          <a:lstStyle/>
          <a:p>
            <a:r>
              <a:rPr lang="en-US" sz="2000" dirty="0"/>
              <a:t>Saving the climate is our generational task. It must unite &amp; encourage us. It is about securing the wellbeing and freedom of our children. There is no greater, nobler task. Europe is ready to lead the way. </a:t>
            </a:r>
            <a:endParaRPr lang="nb-NO" sz="2000" dirty="0"/>
          </a:p>
        </p:txBody>
      </p:sp>
      <p:pic>
        <p:nvPicPr>
          <p:cNvPr id="28" name="Picture Placeholder 2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29348A7-21CB-4C1D-BA25-F04CC3EE9DF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50" r="23112"/>
          <a:stretch/>
        </p:blipFill>
        <p:spPr>
          <a:xfrm>
            <a:off x="766763" y="1022350"/>
            <a:ext cx="4945062" cy="481330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91801E-D6F7-40FF-ABFC-712EB700D3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78587" y="4652002"/>
            <a:ext cx="4945062" cy="314019"/>
          </a:xfrm>
        </p:spPr>
        <p:txBody>
          <a:bodyPr/>
          <a:lstStyle/>
          <a:p>
            <a:r>
              <a:rPr lang="nb-NO" dirty="0"/>
              <a:t>Ursula von der </a:t>
            </a:r>
            <a:r>
              <a:rPr lang="nb-NO" dirty="0" err="1"/>
              <a:t>Leyen</a:t>
            </a:r>
            <a:endParaRPr lang="nb-NO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0D22B0D-6C93-4BC4-96D3-DFFDD14EFDA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8587" y="5050725"/>
            <a:ext cx="4942695" cy="314020"/>
          </a:xfrm>
        </p:spPr>
        <p:txBody>
          <a:bodyPr/>
          <a:lstStyle/>
          <a:p>
            <a:r>
              <a:rPr lang="nb-NO" dirty="0"/>
              <a:t>Europakommisjonens president 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D75537D-6663-4A18-BA5A-65D6AF1C52DC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DF33E837-289D-4354-96A3-094947908498}" type="datetime1">
              <a:rPr lang="nb-NO" noProof="0" smtClean="0"/>
              <a:t>27.10.2021</a:t>
            </a:fld>
            <a:endParaRPr lang="nb-NO" noProof="0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760A6C79-BC2D-4E87-BE6D-4A0ACB583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7180796-140E-4B5C-BA39-CAB6641125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>
                <a:solidFill>
                  <a:srgbClr val="EDE7DE"/>
                </a:solidFill>
              </a:rPr>
              <a:t>Advokatfirmaet Thommessen AS</a:t>
            </a:r>
            <a:r>
              <a:rPr lang="nb-NO" noProof="1"/>
              <a:t>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3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353256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F58F3E-82FD-4CD2-899B-EFE656F344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7398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F58F3E-82FD-4CD2-899B-EFE656F344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B266E79-5596-4A9C-83A0-3531480755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4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Roboto Slab" pitchFamily="2" charset="0"/>
              <a:cs typeface="+mn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EFEF07B5-B1D9-4D4B-9BDE-2E1DA8D224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99" y="979200"/>
            <a:ext cx="5589551" cy="1118288"/>
          </a:xfrm>
        </p:spPr>
        <p:txBody>
          <a:bodyPr vert="horz"/>
          <a:lstStyle/>
          <a:p>
            <a:r>
              <a:rPr lang="nb-NO" dirty="0"/>
              <a:t>Bakgrunn og formål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097672-06C9-4228-8734-97534A864F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800" y="2011680"/>
            <a:ext cx="5589550" cy="4077970"/>
          </a:xfrm>
        </p:spPr>
        <p:txBody>
          <a:bodyPr/>
          <a:lstStyle/>
          <a:p>
            <a:r>
              <a:rPr lang="nb-NO" dirty="0"/>
              <a:t>"The European Green </a:t>
            </a:r>
            <a:r>
              <a:rPr lang="nb-NO" dirty="0" err="1"/>
              <a:t>Deal</a:t>
            </a:r>
            <a:r>
              <a:rPr lang="nb-NO" dirty="0"/>
              <a:t>" – EUs grønne giv - EUs grønne vekststrategi  </a:t>
            </a:r>
          </a:p>
          <a:p>
            <a:r>
              <a:rPr lang="nb-NO" dirty="0"/>
              <a:t>Europa– verdens første klimanøytrale kontinent</a:t>
            </a:r>
          </a:p>
          <a:p>
            <a:r>
              <a:rPr lang="nb-NO" dirty="0"/>
              <a:t>EUs handlingsplan for bærekraftig finans – en rekke finansregulatoriske regler knyttet til bærekraft og klimarisiko</a:t>
            </a:r>
          </a:p>
          <a:p>
            <a:r>
              <a:rPr lang="nb-NO" dirty="0"/>
              <a:t>Målsetningen er å omdirigere kapitalflyten til bærekraftige investeringer.</a:t>
            </a:r>
          </a:p>
          <a:p>
            <a:r>
              <a:rPr lang="nb-NO" dirty="0"/>
              <a:t>Et sentralt element av handlingsplanen er å etablere en felles oppfatning av hva som er bærekraftig – et klassifiseringssyste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B8E88A-6E48-45AE-97B1-63D075D66C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94801" y="609395"/>
            <a:ext cx="3528848" cy="1839221"/>
          </a:xfrm>
        </p:spPr>
        <p:txBody>
          <a:bodyPr/>
          <a:lstStyle/>
          <a:p>
            <a:r>
              <a:rPr lang="nb-NO" dirty="0"/>
              <a:t>55 %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01E99DD-60BE-4901-B13A-44F49719E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94801" y="2156400"/>
            <a:ext cx="3528848" cy="529200"/>
          </a:xfrm>
        </p:spPr>
        <p:txBody>
          <a:bodyPr/>
          <a:lstStyle/>
          <a:p>
            <a:r>
              <a:rPr lang="nb-NO" dirty="0"/>
              <a:t>Globale utslipp skal ned med minst 55 prosent innen 2030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D3CFC95-A389-47F7-A01D-F40257C425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94800" y="4025795"/>
            <a:ext cx="3528849" cy="1839221"/>
          </a:xfrm>
        </p:spPr>
        <p:txBody>
          <a:bodyPr/>
          <a:lstStyle/>
          <a:p>
            <a:r>
              <a:rPr lang="nb-NO" dirty="0"/>
              <a:t>2050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BA2601F-B102-4646-BCF5-10AF95F8DE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96607" y="5562000"/>
            <a:ext cx="3535893" cy="527650"/>
          </a:xfrm>
        </p:spPr>
        <p:txBody>
          <a:bodyPr/>
          <a:lstStyle/>
          <a:p>
            <a:r>
              <a:rPr lang="nb-NO" dirty="0"/>
              <a:t>målsetning om en klimanøytral union i 2050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25D50F-E910-452E-BDEF-9DDC6A365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100" kern="1200" cap="all" baseline="0" smtClean="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CE5072D1-BE70-4557-A727-8E2578E066D6}" type="datetime1">
              <a:rPr lang="nb-NO" noProof="0" smtClean="0"/>
              <a:t>27.10.2021</a:t>
            </a:fld>
            <a:endParaRPr lang="nb-NO" noProof="0" dirty="0"/>
          </a:p>
        </p:txBody>
      </p:sp>
      <p:sp>
        <p:nvSpPr>
          <p:cNvPr id="25" name="Footer Placeholder 24">
            <a:extLst>
              <a:ext uri="{FF2B5EF4-FFF2-40B4-BE49-F238E27FC236}">
                <a16:creationId xmlns:a16="http://schemas.microsoft.com/office/drawing/2014/main" id="{B208118F-B4CD-4034-A4A2-432398AF8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71740A93-EEE9-49FB-96B6-C63045197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4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23943184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E1EB728-B43F-4A19-903B-2D709618773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48138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" name="think-cell Slide" r:id="rId7" imgW="324" imgH="324" progId="TCLayout.ActiveDocument.1">
                  <p:embed/>
                </p:oleObj>
              </mc:Choice>
              <mc:Fallback>
                <p:oleObj name="think-cell Slide" r:id="rId7" imgW="324" imgH="3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E1EB728-B43F-4A19-903B-2D7096187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7E4C2-47EC-42A0-BCB9-F33390614CF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Roboto Slab" pitchFamily="2" charset="0"/>
              <a:cs typeface="+mn-cs"/>
              <a:sym typeface="Roboto Slab" pitchFamily="2" charset="0"/>
            </a:endParaRP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8408BDCE-F00D-4DD8-A729-E1FCFED73FF8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800" y="435600"/>
            <a:ext cx="10659600" cy="327600"/>
          </a:xfrm>
        </p:spPr>
        <p:txBody>
          <a:bodyPr/>
          <a:lstStyle/>
          <a:p>
            <a:r>
              <a:rPr lang="nb-NO" dirty="0"/>
              <a:t>Utgangspunktet for eiendomsbransjen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6800" y="977680"/>
            <a:ext cx="10658400" cy="1118288"/>
          </a:xfrm>
        </p:spPr>
        <p:txBody>
          <a:bodyPr vert="horz"/>
          <a:lstStyle/>
          <a:p>
            <a:r>
              <a:rPr lang="nb-NO" dirty="0"/>
              <a:t>Europa | Bygningsmassens miljøavtrykk</a:t>
            </a:r>
            <a:br>
              <a:rPr lang="nb-NO" dirty="0"/>
            </a:b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D8262EF7-A6B9-4077-BE42-D70C76DCAA4F}" type="datetime1">
              <a:rPr lang="nb-NO" noProof="0" smtClean="0"/>
              <a:t>27.10.2021</a:t>
            </a:fld>
            <a:endParaRPr lang="nb-NO" noProof="0" dirty="0"/>
          </a:p>
        </p:txBody>
      </p:sp>
      <p:grpSp>
        <p:nvGrpSpPr>
          <p:cNvPr id="1147" name="Group 822"/>
          <p:cNvGrpSpPr>
            <a:grpSpLocks noChangeAspect="1"/>
          </p:cNvGrpSpPr>
          <p:nvPr/>
        </p:nvGrpSpPr>
        <p:grpSpPr bwMode="auto">
          <a:xfrm>
            <a:off x="2863404" y="1005064"/>
            <a:ext cx="9216620" cy="5533515"/>
            <a:chOff x="563" y="257"/>
            <a:chExt cx="6246" cy="3750"/>
          </a:xfrm>
          <a:solidFill>
            <a:srgbClr val="EDE7DE"/>
          </a:solidFill>
        </p:grpSpPr>
        <p:grpSp>
          <p:nvGrpSpPr>
            <p:cNvPr id="1148" name="Group 1023"/>
            <p:cNvGrpSpPr>
              <a:grpSpLocks/>
            </p:cNvGrpSpPr>
            <p:nvPr/>
          </p:nvGrpSpPr>
          <p:grpSpPr bwMode="auto">
            <a:xfrm>
              <a:off x="1385" y="257"/>
              <a:ext cx="5424" cy="3655"/>
              <a:chOff x="1385" y="257"/>
              <a:chExt cx="5424" cy="3655"/>
            </a:xfrm>
            <a:grpFill/>
          </p:grpSpPr>
          <p:sp>
            <p:nvSpPr>
              <p:cNvPr id="1508" name="Freeform 823"/>
              <p:cNvSpPr>
                <a:spLocks/>
              </p:cNvSpPr>
              <p:nvPr/>
            </p:nvSpPr>
            <p:spPr bwMode="auto">
              <a:xfrm>
                <a:off x="1600" y="2068"/>
                <a:ext cx="71" cy="64"/>
              </a:xfrm>
              <a:custGeom>
                <a:avLst/>
                <a:gdLst>
                  <a:gd name="T0" fmla="*/ 56 w 109"/>
                  <a:gd name="T1" fmla="*/ 44 h 97"/>
                  <a:gd name="T2" fmla="*/ 46 w 109"/>
                  <a:gd name="T3" fmla="*/ 2 h 97"/>
                  <a:gd name="T4" fmla="*/ 40 w 109"/>
                  <a:gd name="T5" fmla="*/ 28 h 97"/>
                  <a:gd name="T6" fmla="*/ 45 w 109"/>
                  <a:gd name="T7" fmla="*/ 35 h 97"/>
                  <a:gd name="T8" fmla="*/ 17 w 109"/>
                  <a:gd name="T9" fmla="*/ 15 h 97"/>
                  <a:gd name="T10" fmla="*/ 16 w 109"/>
                  <a:gd name="T11" fmla="*/ 22 h 97"/>
                  <a:gd name="T12" fmla="*/ 20 w 109"/>
                  <a:gd name="T13" fmla="*/ 26 h 97"/>
                  <a:gd name="T14" fmla="*/ 18 w 109"/>
                  <a:gd name="T15" fmla="*/ 36 h 97"/>
                  <a:gd name="T16" fmla="*/ 19 w 109"/>
                  <a:gd name="T17" fmla="*/ 38 h 97"/>
                  <a:gd name="T18" fmla="*/ 14 w 109"/>
                  <a:gd name="T19" fmla="*/ 33 h 97"/>
                  <a:gd name="T20" fmla="*/ 3 w 109"/>
                  <a:gd name="T21" fmla="*/ 37 h 97"/>
                  <a:gd name="T22" fmla="*/ 11 w 109"/>
                  <a:gd name="T23" fmla="*/ 49 h 97"/>
                  <a:gd name="T24" fmla="*/ 26 w 109"/>
                  <a:gd name="T25" fmla="*/ 42 h 97"/>
                  <a:gd name="T26" fmla="*/ 32 w 109"/>
                  <a:gd name="T27" fmla="*/ 52 h 97"/>
                  <a:gd name="T28" fmla="*/ 45 w 109"/>
                  <a:gd name="T29" fmla="*/ 57 h 97"/>
                  <a:gd name="T30" fmla="*/ 30 w 109"/>
                  <a:gd name="T31" fmla="*/ 58 h 97"/>
                  <a:gd name="T32" fmla="*/ 33 w 109"/>
                  <a:gd name="T33" fmla="*/ 61 h 97"/>
                  <a:gd name="T34" fmla="*/ 45 w 109"/>
                  <a:gd name="T35" fmla="*/ 77 h 97"/>
                  <a:gd name="T36" fmla="*/ 60 w 109"/>
                  <a:gd name="T37" fmla="*/ 73 h 97"/>
                  <a:gd name="T38" fmla="*/ 73 w 109"/>
                  <a:gd name="T39" fmla="*/ 73 h 97"/>
                  <a:gd name="T40" fmla="*/ 79 w 109"/>
                  <a:gd name="T41" fmla="*/ 76 h 97"/>
                  <a:gd name="T42" fmla="*/ 87 w 109"/>
                  <a:gd name="T43" fmla="*/ 74 h 97"/>
                  <a:gd name="T44" fmla="*/ 84 w 109"/>
                  <a:gd name="T45" fmla="*/ 76 h 97"/>
                  <a:gd name="T46" fmla="*/ 72 w 109"/>
                  <a:gd name="T47" fmla="*/ 96 h 97"/>
                  <a:gd name="T48" fmla="*/ 80 w 109"/>
                  <a:gd name="T49" fmla="*/ 93 h 97"/>
                  <a:gd name="T50" fmla="*/ 104 w 109"/>
                  <a:gd name="T51" fmla="*/ 63 h 97"/>
                  <a:gd name="T52" fmla="*/ 73 w 109"/>
                  <a:gd name="T53" fmla="*/ 61 h 97"/>
                  <a:gd name="T54" fmla="*/ 73 w 109"/>
                  <a:gd name="T55" fmla="*/ 61 h 97"/>
                  <a:gd name="T56" fmla="*/ 59 w 109"/>
                  <a:gd name="T57" fmla="*/ 58 h 97"/>
                  <a:gd name="T58" fmla="*/ 64 w 109"/>
                  <a:gd name="T59" fmla="*/ 55 h 97"/>
                  <a:gd name="T60" fmla="*/ 62 w 109"/>
                  <a:gd name="T61" fmla="*/ 45 h 97"/>
                  <a:gd name="T62" fmla="*/ 56 w 109"/>
                  <a:gd name="T63" fmla="*/ 4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" h="97">
                    <a:moveTo>
                      <a:pt x="56" y="44"/>
                    </a:moveTo>
                    <a:cubicBezTo>
                      <a:pt x="56" y="34"/>
                      <a:pt x="66" y="6"/>
                      <a:pt x="46" y="2"/>
                    </a:cubicBezTo>
                    <a:cubicBezTo>
                      <a:pt x="34" y="0"/>
                      <a:pt x="37" y="24"/>
                      <a:pt x="40" y="28"/>
                    </a:cubicBezTo>
                    <a:cubicBezTo>
                      <a:pt x="41" y="28"/>
                      <a:pt x="48" y="36"/>
                      <a:pt x="45" y="35"/>
                    </a:cubicBezTo>
                    <a:cubicBezTo>
                      <a:pt x="33" y="35"/>
                      <a:pt x="28" y="14"/>
                      <a:pt x="17" y="15"/>
                    </a:cubicBezTo>
                    <a:cubicBezTo>
                      <a:pt x="16" y="15"/>
                      <a:pt x="18" y="20"/>
                      <a:pt x="16" y="22"/>
                    </a:cubicBezTo>
                    <a:cubicBezTo>
                      <a:pt x="15" y="23"/>
                      <a:pt x="19" y="24"/>
                      <a:pt x="20" y="26"/>
                    </a:cubicBezTo>
                    <a:cubicBezTo>
                      <a:pt x="25" y="31"/>
                      <a:pt x="16" y="27"/>
                      <a:pt x="18" y="36"/>
                    </a:cubicBezTo>
                    <a:cubicBezTo>
                      <a:pt x="19" y="36"/>
                      <a:pt x="20" y="37"/>
                      <a:pt x="19" y="38"/>
                    </a:cubicBezTo>
                    <a:cubicBezTo>
                      <a:pt x="18" y="39"/>
                      <a:pt x="14" y="34"/>
                      <a:pt x="14" y="33"/>
                    </a:cubicBezTo>
                    <a:cubicBezTo>
                      <a:pt x="7" y="28"/>
                      <a:pt x="7" y="32"/>
                      <a:pt x="3" y="37"/>
                    </a:cubicBezTo>
                    <a:cubicBezTo>
                      <a:pt x="0" y="40"/>
                      <a:pt x="7" y="47"/>
                      <a:pt x="11" y="49"/>
                    </a:cubicBezTo>
                    <a:cubicBezTo>
                      <a:pt x="27" y="56"/>
                      <a:pt x="16" y="45"/>
                      <a:pt x="26" y="42"/>
                    </a:cubicBezTo>
                    <a:cubicBezTo>
                      <a:pt x="28" y="42"/>
                      <a:pt x="30" y="49"/>
                      <a:pt x="32" y="52"/>
                    </a:cubicBezTo>
                    <a:cubicBezTo>
                      <a:pt x="35" y="56"/>
                      <a:pt x="43" y="53"/>
                      <a:pt x="45" y="57"/>
                    </a:cubicBezTo>
                    <a:cubicBezTo>
                      <a:pt x="48" y="61"/>
                      <a:pt x="33" y="53"/>
                      <a:pt x="30" y="58"/>
                    </a:cubicBezTo>
                    <a:cubicBezTo>
                      <a:pt x="30" y="59"/>
                      <a:pt x="32" y="60"/>
                      <a:pt x="33" y="61"/>
                    </a:cubicBezTo>
                    <a:cubicBezTo>
                      <a:pt x="38" y="74"/>
                      <a:pt x="43" y="68"/>
                      <a:pt x="45" y="77"/>
                    </a:cubicBezTo>
                    <a:cubicBezTo>
                      <a:pt x="46" y="82"/>
                      <a:pt x="56" y="69"/>
                      <a:pt x="60" y="73"/>
                    </a:cubicBezTo>
                    <a:cubicBezTo>
                      <a:pt x="80" y="89"/>
                      <a:pt x="64" y="60"/>
                      <a:pt x="73" y="73"/>
                    </a:cubicBezTo>
                    <a:cubicBezTo>
                      <a:pt x="76" y="77"/>
                      <a:pt x="75" y="75"/>
                      <a:pt x="79" y="76"/>
                    </a:cubicBezTo>
                    <a:cubicBezTo>
                      <a:pt x="80" y="76"/>
                      <a:pt x="86" y="73"/>
                      <a:pt x="87" y="74"/>
                    </a:cubicBezTo>
                    <a:cubicBezTo>
                      <a:pt x="87" y="75"/>
                      <a:pt x="84" y="76"/>
                      <a:pt x="84" y="76"/>
                    </a:cubicBezTo>
                    <a:cubicBezTo>
                      <a:pt x="78" y="77"/>
                      <a:pt x="65" y="95"/>
                      <a:pt x="72" y="96"/>
                    </a:cubicBezTo>
                    <a:cubicBezTo>
                      <a:pt x="74" y="97"/>
                      <a:pt x="80" y="94"/>
                      <a:pt x="80" y="93"/>
                    </a:cubicBezTo>
                    <a:cubicBezTo>
                      <a:pt x="81" y="88"/>
                      <a:pt x="109" y="68"/>
                      <a:pt x="104" y="63"/>
                    </a:cubicBezTo>
                    <a:cubicBezTo>
                      <a:pt x="97" y="56"/>
                      <a:pt x="83" y="68"/>
                      <a:pt x="73" y="61"/>
                    </a:cubicBezTo>
                    <a:cubicBezTo>
                      <a:pt x="73" y="61"/>
                      <a:pt x="73" y="61"/>
                      <a:pt x="73" y="61"/>
                    </a:cubicBezTo>
                    <a:cubicBezTo>
                      <a:pt x="67" y="58"/>
                      <a:pt x="66" y="62"/>
                      <a:pt x="59" y="58"/>
                    </a:cubicBezTo>
                    <a:cubicBezTo>
                      <a:pt x="58" y="57"/>
                      <a:pt x="63" y="55"/>
                      <a:pt x="64" y="55"/>
                    </a:cubicBezTo>
                    <a:cubicBezTo>
                      <a:pt x="67" y="53"/>
                      <a:pt x="63" y="48"/>
                      <a:pt x="62" y="45"/>
                    </a:cubicBezTo>
                    <a:cubicBezTo>
                      <a:pt x="62" y="41"/>
                      <a:pt x="56" y="45"/>
                      <a:pt x="56" y="4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09" name="Freeform 824"/>
              <p:cNvSpPr>
                <a:spLocks/>
              </p:cNvSpPr>
              <p:nvPr/>
            </p:nvSpPr>
            <p:spPr bwMode="auto">
              <a:xfrm>
                <a:off x="1579" y="1992"/>
                <a:ext cx="66" cy="75"/>
              </a:xfrm>
              <a:custGeom>
                <a:avLst/>
                <a:gdLst>
                  <a:gd name="T0" fmla="*/ 84 w 100"/>
                  <a:gd name="T1" fmla="*/ 5 h 115"/>
                  <a:gd name="T2" fmla="*/ 55 w 100"/>
                  <a:gd name="T3" fmla="*/ 24 h 115"/>
                  <a:gd name="T4" fmla="*/ 33 w 100"/>
                  <a:gd name="T5" fmla="*/ 33 h 115"/>
                  <a:gd name="T6" fmla="*/ 38 w 100"/>
                  <a:gd name="T7" fmla="*/ 52 h 115"/>
                  <a:gd name="T8" fmla="*/ 33 w 100"/>
                  <a:gd name="T9" fmla="*/ 48 h 115"/>
                  <a:gd name="T10" fmla="*/ 27 w 100"/>
                  <a:gd name="T11" fmla="*/ 61 h 115"/>
                  <a:gd name="T12" fmla="*/ 18 w 100"/>
                  <a:gd name="T13" fmla="*/ 43 h 115"/>
                  <a:gd name="T14" fmla="*/ 7 w 100"/>
                  <a:gd name="T15" fmla="*/ 65 h 115"/>
                  <a:gd name="T16" fmla="*/ 13 w 100"/>
                  <a:gd name="T17" fmla="*/ 68 h 115"/>
                  <a:gd name="T18" fmla="*/ 10 w 100"/>
                  <a:gd name="T19" fmla="*/ 70 h 115"/>
                  <a:gd name="T20" fmla="*/ 21 w 100"/>
                  <a:gd name="T21" fmla="*/ 69 h 115"/>
                  <a:gd name="T22" fmla="*/ 8 w 100"/>
                  <a:gd name="T23" fmla="*/ 76 h 115"/>
                  <a:gd name="T24" fmla="*/ 8 w 100"/>
                  <a:gd name="T25" fmla="*/ 77 h 115"/>
                  <a:gd name="T26" fmla="*/ 30 w 100"/>
                  <a:gd name="T27" fmla="*/ 89 h 115"/>
                  <a:gd name="T28" fmla="*/ 30 w 100"/>
                  <a:gd name="T29" fmla="*/ 89 h 115"/>
                  <a:gd name="T30" fmla="*/ 29 w 100"/>
                  <a:gd name="T31" fmla="*/ 89 h 115"/>
                  <a:gd name="T32" fmla="*/ 28 w 100"/>
                  <a:gd name="T33" fmla="*/ 89 h 115"/>
                  <a:gd name="T34" fmla="*/ 5 w 100"/>
                  <a:gd name="T35" fmla="*/ 98 h 115"/>
                  <a:gd name="T36" fmla="*/ 4 w 100"/>
                  <a:gd name="T37" fmla="*/ 98 h 115"/>
                  <a:gd name="T38" fmla="*/ 18 w 100"/>
                  <a:gd name="T39" fmla="*/ 114 h 115"/>
                  <a:gd name="T40" fmla="*/ 28 w 100"/>
                  <a:gd name="T41" fmla="*/ 100 h 115"/>
                  <a:gd name="T42" fmla="*/ 39 w 100"/>
                  <a:gd name="T43" fmla="*/ 100 h 115"/>
                  <a:gd name="T44" fmla="*/ 33 w 100"/>
                  <a:gd name="T45" fmla="*/ 93 h 115"/>
                  <a:gd name="T46" fmla="*/ 34 w 100"/>
                  <a:gd name="T47" fmla="*/ 90 h 115"/>
                  <a:gd name="T48" fmla="*/ 45 w 100"/>
                  <a:gd name="T49" fmla="*/ 92 h 115"/>
                  <a:gd name="T50" fmla="*/ 49 w 100"/>
                  <a:gd name="T51" fmla="*/ 69 h 115"/>
                  <a:gd name="T52" fmla="*/ 49 w 100"/>
                  <a:gd name="T53" fmla="*/ 69 h 115"/>
                  <a:gd name="T54" fmla="*/ 46 w 100"/>
                  <a:gd name="T55" fmla="*/ 85 h 115"/>
                  <a:gd name="T56" fmla="*/ 49 w 100"/>
                  <a:gd name="T57" fmla="*/ 87 h 115"/>
                  <a:gd name="T58" fmla="*/ 56 w 100"/>
                  <a:gd name="T59" fmla="*/ 86 h 115"/>
                  <a:gd name="T60" fmla="*/ 62 w 100"/>
                  <a:gd name="T61" fmla="*/ 83 h 115"/>
                  <a:gd name="T62" fmla="*/ 63 w 100"/>
                  <a:gd name="T63" fmla="*/ 78 h 115"/>
                  <a:gd name="T64" fmla="*/ 55 w 100"/>
                  <a:gd name="T65" fmla="*/ 75 h 115"/>
                  <a:gd name="T66" fmla="*/ 65 w 100"/>
                  <a:gd name="T67" fmla="*/ 75 h 115"/>
                  <a:gd name="T68" fmla="*/ 73 w 100"/>
                  <a:gd name="T69" fmla="*/ 71 h 115"/>
                  <a:gd name="T70" fmla="*/ 60 w 100"/>
                  <a:gd name="T71" fmla="*/ 63 h 115"/>
                  <a:gd name="T72" fmla="*/ 49 w 100"/>
                  <a:gd name="T73" fmla="*/ 64 h 115"/>
                  <a:gd name="T74" fmla="*/ 70 w 100"/>
                  <a:gd name="T75" fmla="*/ 57 h 115"/>
                  <a:gd name="T76" fmla="*/ 68 w 100"/>
                  <a:gd name="T77" fmla="*/ 46 h 115"/>
                  <a:gd name="T78" fmla="*/ 82 w 100"/>
                  <a:gd name="T79" fmla="*/ 50 h 115"/>
                  <a:gd name="T80" fmla="*/ 90 w 100"/>
                  <a:gd name="T81" fmla="*/ 45 h 115"/>
                  <a:gd name="T82" fmla="*/ 91 w 100"/>
                  <a:gd name="T83" fmla="*/ 39 h 115"/>
                  <a:gd name="T84" fmla="*/ 71 w 100"/>
                  <a:gd name="T85" fmla="*/ 43 h 115"/>
                  <a:gd name="T86" fmla="*/ 84 w 100"/>
                  <a:gd name="T87" fmla="*/ 5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00" h="115">
                    <a:moveTo>
                      <a:pt x="84" y="5"/>
                    </a:moveTo>
                    <a:cubicBezTo>
                      <a:pt x="81" y="0"/>
                      <a:pt x="59" y="21"/>
                      <a:pt x="55" y="24"/>
                    </a:cubicBezTo>
                    <a:cubicBezTo>
                      <a:pt x="48" y="30"/>
                      <a:pt x="39" y="25"/>
                      <a:pt x="33" y="33"/>
                    </a:cubicBezTo>
                    <a:cubicBezTo>
                      <a:pt x="29" y="38"/>
                      <a:pt x="45" y="54"/>
                      <a:pt x="38" y="52"/>
                    </a:cubicBezTo>
                    <a:cubicBezTo>
                      <a:pt x="38" y="52"/>
                      <a:pt x="34" y="49"/>
                      <a:pt x="33" y="48"/>
                    </a:cubicBezTo>
                    <a:cubicBezTo>
                      <a:pt x="22" y="42"/>
                      <a:pt x="28" y="60"/>
                      <a:pt x="27" y="61"/>
                    </a:cubicBezTo>
                    <a:cubicBezTo>
                      <a:pt x="27" y="61"/>
                      <a:pt x="20" y="43"/>
                      <a:pt x="18" y="43"/>
                    </a:cubicBezTo>
                    <a:cubicBezTo>
                      <a:pt x="12" y="42"/>
                      <a:pt x="0" y="52"/>
                      <a:pt x="7" y="65"/>
                    </a:cubicBezTo>
                    <a:cubicBezTo>
                      <a:pt x="7" y="67"/>
                      <a:pt x="11" y="67"/>
                      <a:pt x="13" y="68"/>
                    </a:cubicBezTo>
                    <a:cubicBezTo>
                      <a:pt x="13" y="68"/>
                      <a:pt x="8" y="70"/>
                      <a:pt x="10" y="70"/>
                    </a:cubicBezTo>
                    <a:cubicBezTo>
                      <a:pt x="11" y="71"/>
                      <a:pt x="21" y="68"/>
                      <a:pt x="21" y="69"/>
                    </a:cubicBezTo>
                    <a:cubicBezTo>
                      <a:pt x="19" y="73"/>
                      <a:pt x="8" y="72"/>
                      <a:pt x="8" y="76"/>
                    </a:cubicBezTo>
                    <a:cubicBezTo>
                      <a:pt x="8" y="77"/>
                      <a:pt x="8" y="77"/>
                      <a:pt x="8" y="77"/>
                    </a:cubicBezTo>
                    <a:cubicBezTo>
                      <a:pt x="1" y="83"/>
                      <a:pt x="34" y="83"/>
                      <a:pt x="30" y="89"/>
                    </a:cubicBezTo>
                    <a:cubicBezTo>
                      <a:pt x="30" y="89"/>
                      <a:pt x="30" y="89"/>
                      <a:pt x="30" y="89"/>
                    </a:cubicBezTo>
                    <a:cubicBezTo>
                      <a:pt x="29" y="89"/>
                      <a:pt x="29" y="89"/>
                      <a:pt x="29" y="89"/>
                    </a:cubicBezTo>
                    <a:cubicBezTo>
                      <a:pt x="29" y="89"/>
                      <a:pt x="28" y="89"/>
                      <a:pt x="28" y="89"/>
                    </a:cubicBezTo>
                    <a:cubicBezTo>
                      <a:pt x="16" y="90"/>
                      <a:pt x="18" y="100"/>
                      <a:pt x="5" y="98"/>
                    </a:cubicBezTo>
                    <a:cubicBezTo>
                      <a:pt x="5" y="98"/>
                      <a:pt x="4" y="98"/>
                      <a:pt x="4" y="98"/>
                    </a:cubicBezTo>
                    <a:cubicBezTo>
                      <a:pt x="2" y="99"/>
                      <a:pt x="16" y="115"/>
                      <a:pt x="18" y="114"/>
                    </a:cubicBezTo>
                    <a:cubicBezTo>
                      <a:pt x="23" y="112"/>
                      <a:pt x="22" y="101"/>
                      <a:pt x="28" y="100"/>
                    </a:cubicBezTo>
                    <a:cubicBezTo>
                      <a:pt x="31" y="99"/>
                      <a:pt x="37" y="104"/>
                      <a:pt x="39" y="100"/>
                    </a:cubicBezTo>
                    <a:cubicBezTo>
                      <a:pt x="40" y="96"/>
                      <a:pt x="34" y="95"/>
                      <a:pt x="33" y="93"/>
                    </a:cubicBezTo>
                    <a:cubicBezTo>
                      <a:pt x="32" y="93"/>
                      <a:pt x="33" y="90"/>
                      <a:pt x="34" y="90"/>
                    </a:cubicBezTo>
                    <a:cubicBezTo>
                      <a:pt x="35" y="90"/>
                      <a:pt x="46" y="94"/>
                      <a:pt x="45" y="92"/>
                    </a:cubicBezTo>
                    <a:cubicBezTo>
                      <a:pt x="44" y="87"/>
                      <a:pt x="28" y="63"/>
                      <a:pt x="49" y="69"/>
                    </a:cubicBezTo>
                    <a:cubicBezTo>
                      <a:pt x="50" y="69"/>
                      <a:pt x="51" y="69"/>
                      <a:pt x="49" y="69"/>
                    </a:cubicBezTo>
                    <a:cubicBezTo>
                      <a:pt x="39" y="66"/>
                      <a:pt x="42" y="81"/>
                      <a:pt x="46" y="85"/>
                    </a:cubicBezTo>
                    <a:cubicBezTo>
                      <a:pt x="47" y="86"/>
                      <a:pt x="49" y="88"/>
                      <a:pt x="49" y="87"/>
                    </a:cubicBezTo>
                    <a:cubicBezTo>
                      <a:pt x="47" y="76"/>
                      <a:pt x="57" y="91"/>
                      <a:pt x="56" y="86"/>
                    </a:cubicBezTo>
                    <a:cubicBezTo>
                      <a:pt x="54" y="81"/>
                      <a:pt x="62" y="88"/>
                      <a:pt x="62" y="83"/>
                    </a:cubicBezTo>
                    <a:cubicBezTo>
                      <a:pt x="62" y="81"/>
                      <a:pt x="64" y="80"/>
                      <a:pt x="63" y="78"/>
                    </a:cubicBezTo>
                    <a:cubicBezTo>
                      <a:pt x="62" y="75"/>
                      <a:pt x="57" y="77"/>
                      <a:pt x="55" y="75"/>
                    </a:cubicBezTo>
                    <a:cubicBezTo>
                      <a:pt x="55" y="74"/>
                      <a:pt x="63" y="75"/>
                      <a:pt x="65" y="75"/>
                    </a:cubicBezTo>
                    <a:cubicBezTo>
                      <a:pt x="67" y="75"/>
                      <a:pt x="72" y="74"/>
                      <a:pt x="73" y="71"/>
                    </a:cubicBezTo>
                    <a:cubicBezTo>
                      <a:pt x="73" y="66"/>
                      <a:pt x="69" y="62"/>
                      <a:pt x="60" y="63"/>
                    </a:cubicBezTo>
                    <a:cubicBezTo>
                      <a:pt x="56" y="64"/>
                      <a:pt x="46" y="67"/>
                      <a:pt x="49" y="64"/>
                    </a:cubicBezTo>
                    <a:cubicBezTo>
                      <a:pt x="53" y="59"/>
                      <a:pt x="66" y="62"/>
                      <a:pt x="70" y="57"/>
                    </a:cubicBezTo>
                    <a:cubicBezTo>
                      <a:pt x="72" y="54"/>
                      <a:pt x="68" y="47"/>
                      <a:pt x="68" y="46"/>
                    </a:cubicBezTo>
                    <a:cubicBezTo>
                      <a:pt x="69" y="45"/>
                      <a:pt x="80" y="50"/>
                      <a:pt x="82" y="50"/>
                    </a:cubicBezTo>
                    <a:cubicBezTo>
                      <a:pt x="83" y="50"/>
                      <a:pt x="90" y="46"/>
                      <a:pt x="90" y="45"/>
                    </a:cubicBezTo>
                    <a:cubicBezTo>
                      <a:pt x="90" y="43"/>
                      <a:pt x="92" y="41"/>
                      <a:pt x="91" y="39"/>
                    </a:cubicBezTo>
                    <a:cubicBezTo>
                      <a:pt x="90" y="38"/>
                      <a:pt x="72" y="52"/>
                      <a:pt x="71" y="43"/>
                    </a:cubicBezTo>
                    <a:cubicBezTo>
                      <a:pt x="71" y="36"/>
                      <a:pt x="100" y="28"/>
                      <a:pt x="84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0" name="Freeform 825"/>
              <p:cNvSpPr>
                <a:spLocks/>
              </p:cNvSpPr>
              <p:nvPr/>
            </p:nvSpPr>
            <p:spPr bwMode="auto">
              <a:xfrm>
                <a:off x="1928" y="1783"/>
                <a:ext cx="12" cy="25"/>
              </a:xfrm>
              <a:custGeom>
                <a:avLst/>
                <a:gdLst>
                  <a:gd name="T0" fmla="*/ 6 w 19"/>
                  <a:gd name="T1" fmla="*/ 37 h 37"/>
                  <a:gd name="T2" fmla="*/ 7 w 19"/>
                  <a:gd name="T3" fmla="*/ 37 h 37"/>
                  <a:gd name="T4" fmla="*/ 9 w 19"/>
                  <a:gd name="T5" fmla="*/ 35 h 37"/>
                  <a:gd name="T6" fmla="*/ 13 w 19"/>
                  <a:gd name="T7" fmla="*/ 35 h 37"/>
                  <a:gd name="T8" fmla="*/ 17 w 19"/>
                  <a:gd name="T9" fmla="*/ 24 h 37"/>
                  <a:gd name="T10" fmla="*/ 12 w 19"/>
                  <a:gd name="T11" fmla="*/ 20 h 37"/>
                  <a:gd name="T12" fmla="*/ 16 w 19"/>
                  <a:gd name="T13" fmla="*/ 17 h 37"/>
                  <a:gd name="T14" fmla="*/ 13 w 19"/>
                  <a:gd name="T15" fmla="*/ 11 h 37"/>
                  <a:gd name="T16" fmla="*/ 18 w 19"/>
                  <a:gd name="T17" fmla="*/ 14 h 37"/>
                  <a:gd name="T18" fmla="*/ 18 w 19"/>
                  <a:gd name="T19" fmla="*/ 1 h 37"/>
                  <a:gd name="T20" fmla="*/ 17 w 19"/>
                  <a:gd name="T21" fmla="*/ 1 h 37"/>
                  <a:gd name="T22" fmla="*/ 8 w 19"/>
                  <a:gd name="T23" fmla="*/ 18 h 37"/>
                  <a:gd name="T24" fmla="*/ 8 w 19"/>
                  <a:gd name="T25" fmla="*/ 19 h 37"/>
                  <a:gd name="T26" fmla="*/ 3 w 19"/>
                  <a:gd name="T27" fmla="*/ 13 h 37"/>
                  <a:gd name="T28" fmla="*/ 6 w 19"/>
                  <a:gd name="T2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37">
                    <a:moveTo>
                      <a:pt x="6" y="37"/>
                    </a:moveTo>
                    <a:cubicBezTo>
                      <a:pt x="7" y="37"/>
                      <a:pt x="6" y="37"/>
                      <a:pt x="7" y="37"/>
                    </a:cubicBezTo>
                    <a:cubicBezTo>
                      <a:pt x="9" y="37"/>
                      <a:pt x="10" y="37"/>
                      <a:pt x="9" y="35"/>
                    </a:cubicBezTo>
                    <a:cubicBezTo>
                      <a:pt x="6" y="31"/>
                      <a:pt x="11" y="35"/>
                      <a:pt x="13" y="35"/>
                    </a:cubicBezTo>
                    <a:cubicBezTo>
                      <a:pt x="16" y="35"/>
                      <a:pt x="17" y="26"/>
                      <a:pt x="17" y="24"/>
                    </a:cubicBezTo>
                    <a:cubicBezTo>
                      <a:pt x="18" y="22"/>
                      <a:pt x="13" y="21"/>
                      <a:pt x="12" y="20"/>
                    </a:cubicBezTo>
                    <a:cubicBezTo>
                      <a:pt x="12" y="18"/>
                      <a:pt x="16" y="20"/>
                      <a:pt x="16" y="17"/>
                    </a:cubicBezTo>
                    <a:cubicBezTo>
                      <a:pt x="16" y="16"/>
                      <a:pt x="12" y="13"/>
                      <a:pt x="13" y="11"/>
                    </a:cubicBezTo>
                    <a:cubicBezTo>
                      <a:pt x="14" y="10"/>
                      <a:pt x="16" y="15"/>
                      <a:pt x="18" y="14"/>
                    </a:cubicBezTo>
                    <a:cubicBezTo>
                      <a:pt x="19" y="14"/>
                      <a:pt x="18" y="2"/>
                      <a:pt x="18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3" y="0"/>
                      <a:pt x="10" y="7"/>
                      <a:pt x="8" y="18"/>
                    </a:cubicBezTo>
                    <a:cubicBezTo>
                      <a:pt x="8" y="18"/>
                      <a:pt x="8" y="19"/>
                      <a:pt x="8" y="19"/>
                    </a:cubicBezTo>
                    <a:cubicBezTo>
                      <a:pt x="7" y="20"/>
                      <a:pt x="6" y="11"/>
                      <a:pt x="3" y="13"/>
                    </a:cubicBezTo>
                    <a:cubicBezTo>
                      <a:pt x="0" y="16"/>
                      <a:pt x="2" y="35"/>
                      <a:pt x="6" y="3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1" name="Freeform 826"/>
              <p:cNvSpPr>
                <a:spLocks/>
              </p:cNvSpPr>
              <p:nvPr/>
            </p:nvSpPr>
            <p:spPr bwMode="auto">
              <a:xfrm>
                <a:off x="1941" y="1792"/>
                <a:ext cx="13" cy="9"/>
              </a:xfrm>
              <a:custGeom>
                <a:avLst/>
                <a:gdLst>
                  <a:gd name="T0" fmla="*/ 3 w 20"/>
                  <a:gd name="T1" fmla="*/ 3 h 14"/>
                  <a:gd name="T2" fmla="*/ 18 w 20"/>
                  <a:gd name="T3" fmla="*/ 8 h 14"/>
                  <a:gd name="T4" fmla="*/ 18 w 20"/>
                  <a:gd name="T5" fmla="*/ 8 h 14"/>
                  <a:gd name="T6" fmla="*/ 3 w 20"/>
                  <a:gd name="T7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4">
                    <a:moveTo>
                      <a:pt x="3" y="3"/>
                    </a:moveTo>
                    <a:cubicBezTo>
                      <a:pt x="0" y="8"/>
                      <a:pt x="15" y="14"/>
                      <a:pt x="18" y="8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20" y="5"/>
                      <a:pt x="5" y="0"/>
                      <a:pt x="3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2" name="Freeform 827"/>
              <p:cNvSpPr>
                <a:spLocks/>
              </p:cNvSpPr>
              <p:nvPr/>
            </p:nvSpPr>
            <p:spPr bwMode="auto">
              <a:xfrm>
                <a:off x="1842" y="2795"/>
                <a:ext cx="11" cy="9"/>
              </a:xfrm>
              <a:custGeom>
                <a:avLst/>
                <a:gdLst>
                  <a:gd name="T0" fmla="*/ 15 w 16"/>
                  <a:gd name="T1" fmla="*/ 3 h 13"/>
                  <a:gd name="T2" fmla="*/ 15 w 16"/>
                  <a:gd name="T3" fmla="*/ 1 h 13"/>
                  <a:gd name="T4" fmla="*/ 14 w 16"/>
                  <a:gd name="T5" fmla="*/ 0 h 13"/>
                  <a:gd name="T6" fmla="*/ 13 w 16"/>
                  <a:gd name="T7" fmla="*/ 1 h 13"/>
                  <a:gd name="T8" fmla="*/ 13 w 16"/>
                  <a:gd name="T9" fmla="*/ 1 h 13"/>
                  <a:gd name="T10" fmla="*/ 11 w 16"/>
                  <a:gd name="T11" fmla="*/ 1 h 13"/>
                  <a:gd name="T12" fmla="*/ 12 w 16"/>
                  <a:gd name="T13" fmla="*/ 2 h 13"/>
                  <a:gd name="T14" fmla="*/ 11 w 16"/>
                  <a:gd name="T15" fmla="*/ 2 h 13"/>
                  <a:gd name="T16" fmla="*/ 10 w 16"/>
                  <a:gd name="T17" fmla="*/ 2 h 13"/>
                  <a:gd name="T18" fmla="*/ 9 w 16"/>
                  <a:gd name="T19" fmla="*/ 2 h 13"/>
                  <a:gd name="T20" fmla="*/ 9 w 16"/>
                  <a:gd name="T21" fmla="*/ 2 h 13"/>
                  <a:gd name="T22" fmla="*/ 9 w 16"/>
                  <a:gd name="T23" fmla="*/ 3 h 13"/>
                  <a:gd name="T24" fmla="*/ 9 w 16"/>
                  <a:gd name="T25" fmla="*/ 3 h 13"/>
                  <a:gd name="T26" fmla="*/ 8 w 16"/>
                  <a:gd name="T27" fmla="*/ 3 h 13"/>
                  <a:gd name="T28" fmla="*/ 8 w 16"/>
                  <a:gd name="T29" fmla="*/ 5 h 13"/>
                  <a:gd name="T30" fmla="*/ 6 w 16"/>
                  <a:gd name="T31" fmla="*/ 5 h 13"/>
                  <a:gd name="T32" fmla="*/ 6 w 16"/>
                  <a:gd name="T33" fmla="*/ 5 h 13"/>
                  <a:gd name="T34" fmla="*/ 6 w 16"/>
                  <a:gd name="T35" fmla="*/ 5 h 13"/>
                  <a:gd name="T36" fmla="*/ 6 w 16"/>
                  <a:gd name="T37" fmla="*/ 6 h 13"/>
                  <a:gd name="T38" fmla="*/ 4 w 16"/>
                  <a:gd name="T39" fmla="*/ 6 h 13"/>
                  <a:gd name="T40" fmla="*/ 3 w 16"/>
                  <a:gd name="T41" fmla="*/ 7 h 13"/>
                  <a:gd name="T42" fmla="*/ 2 w 16"/>
                  <a:gd name="T43" fmla="*/ 7 h 13"/>
                  <a:gd name="T44" fmla="*/ 1 w 16"/>
                  <a:gd name="T45" fmla="*/ 7 h 13"/>
                  <a:gd name="T46" fmla="*/ 2 w 16"/>
                  <a:gd name="T47" fmla="*/ 9 h 13"/>
                  <a:gd name="T48" fmla="*/ 2 w 16"/>
                  <a:gd name="T49" fmla="*/ 10 h 13"/>
                  <a:gd name="T50" fmla="*/ 0 w 16"/>
                  <a:gd name="T51" fmla="*/ 11 h 13"/>
                  <a:gd name="T52" fmla="*/ 1 w 16"/>
                  <a:gd name="T53" fmla="*/ 12 h 13"/>
                  <a:gd name="T54" fmla="*/ 2 w 16"/>
                  <a:gd name="T55" fmla="*/ 12 h 13"/>
                  <a:gd name="T56" fmla="*/ 2 w 16"/>
                  <a:gd name="T57" fmla="*/ 12 h 13"/>
                  <a:gd name="T58" fmla="*/ 3 w 16"/>
                  <a:gd name="T59" fmla="*/ 12 h 13"/>
                  <a:gd name="T60" fmla="*/ 4 w 16"/>
                  <a:gd name="T61" fmla="*/ 12 h 13"/>
                  <a:gd name="T62" fmla="*/ 5 w 16"/>
                  <a:gd name="T63" fmla="*/ 12 h 13"/>
                  <a:gd name="T64" fmla="*/ 6 w 16"/>
                  <a:gd name="T65" fmla="*/ 12 h 13"/>
                  <a:gd name="T66" fmla="*/ 7 w 16"/>
                  <a:gd name="T67" fmla="*/ 12 h 13"/>
                  <a:gd name="T68" fmla="*/ 7 w 16"/>
                  <a:gd name="T69" fmla="*/ 13 h 13"/>
                  <a:gd name="T70" fmla="*/ 8 w 16"/>
                  <a:gd name="T71" fmla="*/ 12 h 13"/>
                  <a:gd name="T72" fmla="*/ 10 w 16"/>
                  <a:gd name="T73" fmla="*/ 12 h 13"/>
                  <a:gd name="T74" fmla="*/ 10 w 16"/>
                  <a:gd name="T75" fmla="*/ 12 h 13"/>
                  <a:gd name="T76" fmla="*/ 10 w 16"/>
                  <a:gd name="T77" fmla="*/ 12 h 13"/>
                  <a:gd name="T78" fmla="*/ 11 w 16"/>
                  <a:gd name="T79" fmla="*/ 12 h 13"/>
                  <a:gd name="T80" fmla="*/ 12 w 16"/>
                  <a:gd name="T81" fmla="*/ 11 h 13"/>
                  <a:gd name="T82" fmla="*/ 12 w 16"/>
                  <a:gd name="T83" fmla="*/ 12 h 13"/>
                  <a:gd name="T84" fmla="*/ 12 w 16"/>
                  <a:gd name="T85" fmla="*/ 12 h 13"/>
                  <a:gd name="T86" fmla="*/ 13 w 16"/>
                  <a:gd name="T87" fmla="*/ 12 h 13"/>
                  <a:gd name="T88" fmla="*/ 13 w 16"/>
                  <a:gd name="T89" fmla="*/ 10 h 13"/>
                  <a:gd name="T90" fmla="*/ 13 w 16"/>
                  <a:gd name="T91" fmla="*/ 10 h 13"/>
                  <a:gd name="T92" fmla="*/ 13 w 16"/>
                  <a:gd name="T93" fmla="*/ 9 h 13"/>
                  <a:gd name="T94" fmla="*/ 13 w 16"/>
                  <a:gd name="T95" fmla="*/ 7 h 13"/>
                  <a:gd name="T96" fmla="*/ 14 w 16"/>
                  <a:gd name="T97" fmla="*/ 5 h 13"/>
                  <a:gd name="T98" fmla="*/ 14 w 16"/>
                  <a:gd name="T99" fmla="*/ 5 h 13"/>
                  <a:gd name="T100" fmla="*/ 15 w 16"/>
                  <a:gd name="T101" fmla="*/ 4 h 13"/>
                  <a:gd name="T102" fmla="*/ 15 w 16"/>
                  <a:gd name="T103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" h="13">
                    <a:moveTo>
                      <a:pt x="15" y="4"/>
                    </a:moveTo>
                    <a:cubicBezTo>
                      <a:pt x="15" y="4"/>
                      <a:pt x="15" y="3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6" y="2"/>
                      <a:pt x="16" y="2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4" y="0"/>
                      <a:pt x="14" y="0"/>
                    </a:cubicBezTo>
                    <a:cubicBezTo>
                      <a:pt x="14" y="1"/>
                      <a:pt x="14" y="2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2" y="0"/>
                      <a:pt x="12" y="0"/>
                    </a:cubicBezTo>
                    <a:cubicBezTo>
                      <a:pt x="12" y="0"/>
                      <a:pt x="11" y="1"/>
                      <a:pt x="11" y="1"/>
                    </a:cubicBezTo>
                    <a:cubicBezTo>
                      <a:pt x="11" y="1"/>
                      <a:pt x="12" y="1"/>
                      <a:pt x="12" y="1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2" y="2"/>
                      <a:pt x="12" y="3"/>
                      <a:pt x="12" y="3"/>
                    </a:cubicBezTo>
                    <a:cubicBezTo>
                      <a:pt x="12" y="3"/>
                      <a:pt x="11" y="2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2"/>
                      <a:pt x="11" y="2"/>
                      <a:pt x="10" y="2"/>
                    </a:cubicBezTo>
                    <a:cubicBezTo>
                      <a:pt x="10" y="2"/>
                      <a:pt x="10" y="2"/>
                      <a:pt x="9" y="2"/>
                    </a:cubicBezTo>
                    <a:cubicBezTo>
                      <a:pt x="9" y="2"/>
                      <a:pt x="10" y="2"/>
                      <a:pt x="9" y="2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5"/>
                      <a:pt x="8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7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5"/>
                      <a:pt x="6" y="5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6"/>
                      <a:pt x="5" y="7"/>
                      <a:pt x="5" y="6"/>
                    </a:cubicBezTo>
                    <a:cubicBezTo>
                      <a:pt x="4" y="6"/>
                      <a:pt x="5" y="6"/>
                      <a:pt x="4" y="6"/>
                    </a:cubicBezTo>
                    <a:cubicBezTo>
                      <a:pt x="4" y="6"/>
                      <a:pt x="4" y="7"/>
                      <a:pt x="4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1" y="7"/>
                      <a:pt x="1" y="7"/>
                    </a:cubicBezTo>
                    <a:cubicBezTo>
                      <a:pt x="1" y="8"/>
                      <a:pt x="2" y="8"/>
                      <a:pt x="2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10"/>
                      <a:pt x="2" y="9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1" y="11"/>
                      <a:pt x="0" y="9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12"/>
                      <a:pt x="2" y="12"/>
                      <a:pt x="2" y="12"/>
                    </a:cubicBezTo>
                    <a:cubicBezTo>
                      <a:pt x="2" y="12"/>
                      <a:pt x="2" y="11"/>
                      <a:pt x="2" y="11"/>
                    </a:cubicBezTo>
                    <a:cubicBezTo>
                      <a:pt x="2" y="11"/>
                      <a:pt x="2" y="12"/>
                      <a:pt x="2" y="12"/>
                    </a:cubicBezTo>
                    <a:cubicBezTo>
                      <a:pt x="3" y="12"/>
                      <a:pt x="3" y="11"/>
                      <a:pt x="3" y="11"/>
                    </a:cubicBezTo>
                    <a:cubicBezTo>
                      <a:pt x="3" y="11"/>
                      <a:pt x="3" y="12"/>
                      <a:pt x="3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2"/>
                      <a:pt x="5" y="12"/>
                      <a:pt x="5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7" y="12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3"/>
                      <a:pt x="7" y="13"/>
                    </a:cubicBezTo>
                    <a:cubicBezTo>
                      <a:pt x="8" y="13"/>
                      <a:pt x="8" y="12"/>
                      <a:pt x="8" y="12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8" y="11"/>
                      <a:pt x="9" y="12"/>
                    </a:cubicBezTo>
                    <a:cubicBezTo>
                      <a:pt x="9" y="12"/>
                      <a:pt x="10" y="12"/>
                      <a:pt x="10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0" y="12"/>
                      <a:pt x="10" y="13"/>
                      <a:pt x="10" y="13"/>
                    </a:cubicBezTo>
                    <a:cubicBezTo>
                      <a:pt x="10" y="13"/>
                      <a:pt x="10" y="12"/>
                      <a:pt x="10" y="12"/>
                    </a:cubicBezTo>
                    <a:cubicBezTo>
                      <a:pt x="10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2"/>
                      <a:pt x="11" y="12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2"/>
                      <a:pt x="12" y="13"/>
                      <a:pt x="12" y="1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11"/>
                      <a:pt x="13" y="11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3" y="10"/>
                      <a:pt x="13" y="9"/>
                      <a:pt x="13" y="9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2" y="7"/>
                      <a:pt x="13" y="7"/>
                      <a:pt x="13" y="7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5"/>
                      <a:pt x="13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4"/>
                      <a:pt x="15" y="4"/>
                    </a:cubicBezTo>
                    <a:cubicBezTo>
                      <a:pt x="15" y="4"/>
                      <a:pt x="14" y="4"/>
                      <a:pt x="14" y="4"/>
                    </a:cubicBezTo>
                    <a:cubicBezTo>
                      <a:pt x="14" y="4"/>
                      <a:pt x="15" y="4"/>
                      <a:pt x="15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3" name="Freeform 828"/>
              <p:cNvSpPr>
                <a:spLocks/>
              </p:cNvSpPr>
              <p:nvPr/>
            </p:nvSpPr>
            <p:spPr bwMode="auto">
              <a:xfrm>
                <a:off x="1637" y="2137"/>
                <a:ext cx="7" cy="11"/>
              </a:xfrm>
              <a:custGeom>
                <a:avLst/>
                <a:gdLst>
                  <a:gd name="T0" fmla="*/ 10 w 10"/>
                  <a:gd name="T1" fmla="*/ 7 h 17"/>
                  <a:gd name="T2" fmla="*/ 10 w 10"/>
                  <a:gd name="T3" fmla="*/ 7 h 17"/>
                  <a:gd name="T4" fmla="*/ 0 w 10"/>
                  <a:gd name="T5" fmla="*/ 10 h 17"/>
                  <a:gd name="T6" fmla="*/ 10 w 10"/>
                  <a:gd name="T7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7">
                    <a:moveTo>
                      <a:pt x="10" y="7"/>
                    </a:moveTo>
                    <a:cubicBezTo>
                      <a:pt x="10" y="7"/>
                      <a:pt x="10" y="7"/>
                      <a:pt x="10" y="7"/>
                    </a:cubicBezTo>
                    <a:cubicBezTo>
                      <a:pt x="10" y="0"/>
                      <a:pt x="0" y="8"/>
                      <a:pt x="0" y="10"/>
                    </a:cubicBezTo>
                    <a:cubicBezTo>
                      <a:pt x="1" y="17"/>
                      <a:pt x="9" y="12"/>
                      <a:pt x="10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4" name="Freeform 829"/>
              <p:cNvSpPr>
                <a:spLocks/>
              </p:cNvSpPr>
              <p:nvPr/>
            </p:nvSpPr>
            <p:spPr bwMode="auto">
              <a:xfrm>
                <a:off x="1941" y="1771"/>
                <a:ext cx="12" cy="19"/>
              </a:xfrm>
              <a:custGeom>
                <a:avLst/>
                <a:gdLst>
                  <a:gd name="T0" fmla="*/ 7 w 18"/>
                  <a:gd name="T1" fmla="*/ 26 h 29"/>
                  <a:gd name="T2" fmla="*/ 12 w 18"/>
                  <a:gd name="T3" fmla="*/ 11 h 29"/>
                  <a:gd name="T4" fmla="*/ 16 w 18"/>
                  <a:gd name="T5" fmla="*/ 6 h 29"/>
                  <a:gd name="T6" fmla="*/ 14 w 18"/>
                  <a:gd name="T7" fmla="*/ 3 h 29"/>
                  <a:gd name="T8" fmla="*/ 14 w 18"/>
                  <a:gd name="T9" fmla="*/ 3 h 29"/>
                  <a:gd name="T10" fmla="*/ 7 w 18"/>
                  <a:gd name="T11" fmla="*/ 10 h 29"/>
                  <a:gd name="T12" fmla="*/ 6 w 18"/>
                  <a:gd name="T13" fmla="*/ 2 h 29"/>
                  <a:gd name="T14" fmla="*/ 6 w 18"/>
                  <a:gd name="T15" fmla="*/ 4 h 29"/>
                  <a:gd name="T16" fmla="*/ 1 w 18"/>
                  <a:gd name="T17" fmla="*/ 17 h 29"/>
                  <a:gd name="T18" fmla="*/ 0 w 18"/>
                  <a:gd name="T19" fmla="*/ 26 h 29"/>
                  <a:gd name="T20" fmla="*/ 7 w 18"/>
                  <a:gd name="T21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29">
                    <a:moveTo>
                      <a:pt x="7" y="26"/>
                    </a:moveTo>
                    <a:cubicBezTo>
                      <a:pt x="16" y="28"/>
                      <a:pt x="9" y="15"/>
                      <a:pt x="12" y="11"/>
                    </a:cubicBezTo>
                    <a:cubicBezTo>
                      <a:pt x="13" y="10"/>
                      <a:pt x="18" y="7"/>
                      <a:pt x="16" y="6"/>
                    </a:cubicBezTo>
                    <a:cubicBezTo>
                      <a:pt x="15" y="5"/>
                      <a:pt x="13" y="4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9" y="0"/>
                      <a:pt x="9" y="12"/>
                      <a:pt x="7" y="10"/>
                    </a:cubicBezTo>
                    <a:cubicBezTo>
                      <a:pt x="6" y="9"/>
                      <a:pt x="12" y="2"/>
                      <a:pt x="6" y="2"/>
                    </a:cubicBezTo>
                    <a:cubicBezTo>
                      <a:pt x="6" y="2"/>
                      <a:pt x="6" y="3"/>
                      <a:pt x="6" y="4"/>
                    </a:cubicBezTo>
                    <a:cubicBezTo>
                      <a:pt x="6" y="6"/>
                      <a:pt x="2" y="16"/>
                      <a:pt x="1" y="17"/>
                    </a:cubicBezTo>
                    <a:cubicBezTo>
                      <a:pt x="0" y="18"/>
                      <a:pt x="0" y="26"/>
                      <a:pt x="0" y="26"/>
                    </a:cubicBezTo>
                    <a:cubicBezTo>
                      <a:pt x="4" y="29"/>
                      <a:pt x="4" y="25"/>
                      <a:pt x="7" y="2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5" name="Freeform 830"/>
              <p:cNvSpPr>
                <a:spLocks/>
              </p:cNvSpPr>
              <p:nvPr/>
            </p:nvSpPr>
            <p:spPr bwMode="auto">
              <a:xfrm>
                <a:off x="1670" y="2174"/>
                <a:ext cx="14" cy="12"/>
              </a:xfrm>
              <a:custGeom>
                <a:avLst/>
                <a:gdLst>
                  <a:gd name="T0" fmla="*/ 17 w 21"/>
                  <a:gd name="T1" fmla="*/ 6 h 19"/>
                  <a:gd name="T2" fmla="*/ 17 w 21"/>
                  <a:gd name="T3" fmla="*/ 6 h 19"/>
                  <a:gd name="T4" fmla="*/ 1 w 21"/>
                  <a:gd name="T5" fmla="*/ 18 h 19"/>
                  <a:gd name="T6" fmla="*/ 3 w 21"/>
                  <a:gd name="T7" fmla="*/ 18 h 19"/>
                  <a:gd name="T8" fmla="*/ 17 w 21"/>
                  <a:gd name="T9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9">
                    <a:moveTo>
                      <a:pt x="17" y="6"/>
                    </a:moveTo>
                    <a:cubicBezTo>
                      <a:pt x="17" y="6"/>
                      <a:pt x="17" y="6"/>
                      <a:pt x="17" y="6"/>
                    </a:cubicBezTo>
                    <a:cubicBezTo>
                      <a:pt x="21" y="0"/>
                      <a:pt x="3" y="12"/>
                      <a:pt x="1" y="18"/>
                    </a:cubicBezTo>
                    <a:cubicBezTo>
                      <a:pt x="0" y="19"/>
                      <a:pt x="2" y="18"/>
                      <a:pt x="3" y="18"/>
                    </a:cubicBezTo>
                    <a:cubicBezTo>
                      <a:pt x="8" y="15"/>
                      <a:pt x="12" y="11"/>
                      <a:pt x="17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6" name="Freeform 831"/>
              <p:cNvSpPr>
                <a:spLocks/>
              </p:cNvSpPr>
              <p:nvPr/>
            </p:nvSpPr>
            <p:spPr bwMode="auto">
              <a:xfrm>
                <a:off x="1591" y="2176"/>
                <a:ext cx="21" cy="13"/>
              </a:xfrm>
              <a:custGeom>
                <a:avLst/>
                <a:gdLst>
                  <a:gd name="T0" fmla="*/ 16 w 31"/>
                  <a:gd name="T1" fmla="*/ 0 h 20"/>
                  <a:gd name="T2" fmla="*/ 5 w 31"/>
                  <a:gd name="T3" fmla="*/ 3 h 20"/>
                  <a:gd name="T4" fmla="*/ 11 w 31"/>
                  <a:gd name="T5" fmla="*/ 9 h 20"/>
                  <a:gd name="T6" fmla="*/ 19 w 31"/>
                  <a:gd name="T7" fmla="*/ 3 h 20"/>
                  <a:gd name="T8" fmla="*/ 16 w 31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0">
                    <a:moveTo>
                      <a:pt x="16" y="0"/>
                    </a:moveTo>
                    <a:cubicBezTo>
                      <a:pt x="12" y="1"/>
                      <a:pt x="9" y="2"/>
                      <a:pt x="5" y="3"/>
                    </a:cubicBezTo>
                    <a:cubicBezTo>
                      <a:pt x="0" y="4"/>
                      <a:pt x="4" y="20"/>
                      <a:pt x="11" y="9"/>
                    </a:cubicBezTo>
                    <a:cubicBezTo>
                      <a:pt x="13" y="6"/>
                      <a:pt x="16" y="3"/>
                      <a:pt x="19" y="3"/>
                    </a:cubicBezTo>
                    <a:cubicBezTo>
                      <a:pt x="31" y="2"/>
                      <a:pt x="19" y="1"/>
                      <a:pt x="16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7" name="Freeform 832"/>
              <p:cNvSpPr>
                <a:spLocks/>
              </p:cNvSpPr>
              <p:nvPr/>
            </p:nvSpPr>
            <p:spPr bwMode="auto">
              <a:xfrm>
                <a:off x="1873" y="2777"/>
                <a:ext cx="0" cy="0"/>
              </a:xfrm>
              <a:custGeom>
                <a:avLst/>
                <a:gdLst>
                  <a:gd name="T0" fmla="*/ 0 w 1"/>
                  <a:gd name="T1" fmla="*/ 0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8" name="Freeform 833"/>
              <p:cNvSpPr>
                <a:spLocks/>
              </p:cNvSpPr>
              <p:nvPr/>
            </p:nvSpPr>
            <p:spPr bwMode="auto">
              <a:xfrm>
                <a:off x="1640" y="2088"/>
                <a:ext cx="12" cy="19"/>
              </a:xfrm>
              <a:custGeom>
                <a:avLst/>
                <a:gdLst>
                  <a:gd name="T0" fmla="*/ 16 w 17"/>
                  <a:gd name="T1" fmla="*/ 1 h 29"/>
                  <a:gd name="T2" fmla="*/ 16 w 17"/>
                  <a:gd name="T3" fmla="*/ 1 h 29"/>
                  <a:gd name="T4" fmla="*/ 9 w 17"/>
                  <a:gd name="T5" fmla="*/ 25 h 29"/>
                  <a:gd name="T6" fmla="*/ 16 w 17"/>
                  <a:gd name="T7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29">
                    <a:moveTo>
                      <a:pt x="16" y="1"/>
                    </a:move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0" y="17"/>
                      <a:pt x="9" y="25"/>
                    </a:cubicBezTo>
                    <a:cubicBezTo>
                      <a:pt x="14" y="29"/>
                      <a:pt x="17" y="3"/>
                      <a:pt x="16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19" name="Freeform 834"/>
              <p:cNvSpPr>
                <a:spLocks/>
              </p:cNvSpPr>
              <p:nvPr/>
            </p:nvSpPr>
            <p:spPr bwMode="auto">
              <a:xfrm>
                <a:off x="1899" y="1792"/>
                <a:ext cx="40" cy="78"/>
              </a:xfrm>
              <a:custGeom>
                <a:avLst/>
                <a:gdLst>
                  <a:gd name="T0" fmla="*/ 15 w 60"/>
                  <a:gd name="T1" fmla="*/ 65 h 118"/>
                  <a:gd name="T2" fmla="*/ 19 w 60"/>
                  <a:gd name="T3" fmla="*/ 63 h 118"/>
                  <a:gd name="T4" fmla="*/ 22 w 60"/>
                  <a:gd name="T5" fmla="*/ 73 h 118"/>
                  <a:gd name="T6" fmla="*/ 26 w 60"/>
                  <a:gd name="T7" fmla="*/ 70 h 118"/>
                  <a:gd name="T8" fmla="*/ 30 w 60"/>
                  <a:gd name="T9" fmla="*/ 67 h 118"/>
                  <a:gd name="T10" fmla="*/ 33 w 60"/>
                  <a:gd name="T11" fmla="*/ 64 h 118"/>
                  <a:gd name="T12" fmla="*/ 34 w 60"/>
                  <a:gd name="T13" fmla="*/ 71 h 118"/>
                  <a:gd name="T14" fmla="*/ 33 w 60"/>
                  <a:gd name="T15" fmla="*/ 95 h 118"/>
                  <a:gd name="T16" fmla="*/ 29 w 60"/>
                  <a:gd name="T17" fmla="*/ 110 h 118"/>
                  <a:gd name="T18" fmla="*/ 38 w 60"/>
                  <a:gd name="T19" fmla="*/ 118 h 118"/>
                  <a:gd name="T20" fmla="*/ 44 w 60"/>
                  <a:gd name="T21" fmla="*/ 98 h 118"/>
                  <a:gd name="T22" fmla="*/ 47 w 60"/>
                  <a:gd name="T23" fmla="*/ 87 h 118"/>
                  <a:gd name="T24" fmla="*/ 51 w 60"/>
                  <a:gd name="T25" fmla="*/ 73 h 118"/>
                  <a:gd name="T26" fmla="*/ 49 w 60"/>
                  <a:gd name="T27" fmla="*/ 68 h 118"/>
                  <a:gd name="T28" fmla="*/ 47 w 60"/>
                  <a:gd name="T29" fmla="*/ 63 h 118"/>
                  <a:gd name="T30" fmla="*/ 46 w 60"/>
                  <a:gd name="T31" fmla="*/ 61 h 118"/>
                  <a:gd name="T32" fmla="*/ 42 w 60"/>
                  <a:gd name="T33" fmla="*/ 61 h 118"/>
                  <a:gd name="T34" fmla="*/ 49 w 60"/>
                  <a:gd name="T35" fmla="*/ 53 h 118"/>
                  <a:gd name="T36" fmla="*/ 46 w 60"/>
                  <a:gd name="T37" fmla="*/ 44 h 118"/>
                  <a:gd name="T38" fmla="*/ 56 w 60"/>
                  <a:gd name="T39" fmla="*/ 37 h 118"/>
                  <a:gd name="T40" fmla="*/ 57 w 60"/>
                  <a:gd name="T41" fmla="*/ 29 h 118"/>
                  <a:gd name="T42" fmla="*/ 47 w 60"/>
                  <a:gd name="T43" fmla="*/ 35 h 118"/>
                  <a:gd name="T44" fmla="*/ 41 w 60"/>
                  <a:gd name="T45" fmla="*/ 35 h 118"/>
                  <a:gd name="T46" fmla="*/ 43 w 60"/>
                  <a:gd name="T47" fmla="*/ 22 h 118"/>
                  <a:gd name="T48" fmla="*/ 37 w 60"/>
                  <a:gd name="T49" fmla="*/ 26 h 118"/>
                  <a:gd name="T50" fmla="*/ 35 w 60"/>
                  <a:gd name="T51" fmla="*/ 31 h 118"/>
                  <a:gd name="T52" fmla="*/ 35 w 60"/>
                  <a:gd name="T53" fmla="*/ 22 h 118"/>
                  <a:gd name="T54" fmla="*/ 33 w 60"/>
                  <a:gd name="T55" fmla="*/ 15 h 118"/>
                  <a:gd name="T56" fmla="*/ 31 w 60"/>
                  <a:gd name="T57" fmla="*/ 6 h 118"/>
                  <a:gd name="T58" fmla="*/ 21 w 60"/>
                  <a:gd name="T59" fmla="*/ 13 h 118"/>
                  <a:gd name="T60" fmla="*/ 27 w 60"/>
                  <a:gd name="T61" fmla="*/ 20 h 118"/>
                  <a:gd name="T62" fmla="*/ 11 w 60"/>
                  <a:gd name="T63" fmla="*/ 20 h 118"/>
                  <a:gd name="T64" fmla="*/ 19 w 60"/>
                  <a:gd name="T65" fmla="*/ 28 h 118"/>
                  <a:gd name="T66" fmla="*/ 22 w 60"/>
                  <a:gd name="T67" fmla="*/ 25 h 118"/>
                  <a:gd name="T68" fmla="*/ 27 w 60"/>
                  <a:gd name="T69" fmla="*/ 34 h 118"/>
                  <a:gd name="T70" fmla="*/ 39 w 60"/>
                  <a:gd name="T71" fmla="*/ 43 h 118"/>
                  <a:gd name="T72" fmla="*/ 31 w 60"/>
                  <a:gd name="T73" fmla="*/ 45 h 118"/>
                  <a:gd name="T74" fmla="*/ 27 w 60"/>
                  <a:gd name="T75" fmla="*/ 49 h 118"/>
                  <a:gd name="T76" fmla="*/ 20 w 60"/>
                  <a:gd name="T77" fmla="*/ 49 h 118"/>
                  <a:gd name="T78" fmla="*/ 15 w 60"/>
                  <a:gd name="T79" fmla="*/ 51 h 118"/>
                  <a:gd name="T80" fmla="*/ 13 w 60"/>
                  <a:gd name="T81" fmla="*/ 53 h 118"/>
                  <a:gd name="T82" fmla="*/ 1 w 60"/>
                  <a:gd name="T83" fmla="*/ 54 h 118"/>
                  <a:gd name="T84" fmla="*/ 13 w 60"/>
                  <a:gd name="T85" fmla="*/ 62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60" h="118">
                    <a:moveTo>
                      <a:pt x="13" y="62"/>
                    </a:moveTo>
                    <a:cubicBezTo>
                      <a:pt x="15" y="62"/>
                      <a:pt x="14" y="65"/>
                      <a:pt x="15" y="65"/>
                    </a:cubicBezTo>
                    <a:cubicBezTo>
                      <a:pt x="18" y="64"/>
                      <a:pt x="17" y="59"/>
                      <a:pt x="18" y="59"/>
                    </a:cubicBezTo>
                    <a:cubicBezTo>
                      <a:pt x="19" y="59"/>
                      <a:pt x="19" y="62"/>
                      <a:pt x="19" y="63"/>
                    </a:cubicBezTo>
                    <a:cubicBezTo>
                      <a:pt x="19" y="64"/>
                      <a:pt x="12" y="68"/>
                      <a:pt x="20" y="71"/>
                    </a:cubicBezTo>
                    <a:cubicBezTo>
                      <a:pt x="21" y="72"/>
                      <a:pt x="22" y="73"/>
                      <a:pt x="22" y="73"/>
                    </a:cubicBezTo>
                    <a:cubicBezTo>
                      <a:pt x="23" y="73"/>
                      <a:pt x="24" y="69"/>
                      <a:pt x="24" y="68"/>
                    </a:cubicBezTo>
                    <a:cubicBezTo>
                      <a:pt x="25" y="67"/>
                      <a:pt x="25" y="71"/>
                      <a:pt x="26" y="70"/>
                    </a:cubicBezTo>
                    <a:cubicBezTo>
                      <a:pt x="28" y="69"/>
                      <a:pt x="26" y="66"/>
                      <a:pt x="27" y="64"/>
                    </a:cubicBezTo>
                    <a:cubicBezTo>
                      <a:pt x="28" y="63"/>
                      <a:pt x="29" y="67"/>
                      <a:pt x="30" y="67"/>
                    </a:cubicBezTo>
                    <a:cubicBezTo>
                      <a:pt x="34" y="65"/>
                      <a:pt x="26" y="58"/>
                      <a:pt x="27" y="58"/>
                    </a:cubicBezTo>
                    <a:cubicBezTo>
                      <a:pt x="31" y="55"/>
                      <a:pt x="32" y="63"/>
                      <a:pt x="33" y="64"/>
                    </a:cubicBezTo>
                    <a:cubicBezTo>
                      <a:pt x="34" y="64"/>
                      <a:pt x="35" y="58"/>
                      <a:pt x="37" y="59"/>
                    </a:cubicBezTo>
                    <a:cubicBezTo>
                      <a:pt x="39" y="60"/>
                      <a:pt x="32" y="68"/>
                      <a:pt x="34" y="71"/>
                    </a:cubicBezTo>
                    <a:cubicBezTo>
                      <a:pt x="35" y="71"/>
                      <a:pt x="37" y="67"/>
                      <a:pt x="38" y="68"/>
                    </a:cubicBezTo>
                    <a:cubicBezTo>
                      <a:pt x="41" y="76"/>
                      <a:pt x="37" y="88"/>
                      <a:pt x="33" y="95"/>
                    </a:cubicBezTo>
                    <a:cubicBezTo>
                      <a:pt x="33" y="96"/>
                      <a:pt x="33" y="96"/>
                      <a:pt x="33" y="96"/>
                    </a:cubicBezTo>
                    <a:cubicBezTo>
                      <a:pt x="33" y="101"/>
                      <a:pt x="28" y="107"/>
                      <a:pt x="29" y="110"/>
                    </a:cubicBezTo>
                    <a:cubicBezTo>
                      <a:pt x="29" y="116"/>
                      <a:pt x="35" y="108"/>
                      <a:pt x="34" y="115"/>
                    </a:cubicBezTo>
                    <a:cubicBezTo>
                      <a:pt x="34" y="117"/>
                      <a:pt x="37" y="118"/>
                      <a:pt x="38" y="118"/>
                    </a:cubicBezTo>
                    <a:cubicBezTo>
                      <a:pt x="42" y="116"/>
                      <a:pt x="38" y="101"/>
                      <a:pt x="40" y="97"/>
                    </a:cubicBezTo>
                    <a:cubicBezTo>
                      <a:pt x="40" y="96"/>
                      <a:pt x="44" y="99"/>
                      <a:pt x="44" y="98"/>
                    </a:cubicBezTo>
                    <a:cubicBezTo>
                      <a:pt x="45" y="97"/>
                      <a:pt x="42" y="91"/>
                      <a:pt x="42" y="91"/>
                    </a:cubicBezTo>
                    <a:cubicBezTo>
                      <a:pt x="43" y="91"/>
                      <a:pt x="50" y="90"/>
                      <a:pt x="47" y="87"/>
                    </a:cubicBezTo>
                    <a:cubicBezTo>
                      <a:pt x="46" y="86"/>
                      <a:pt x="43" y="81"/>
                      <a:pt x="43" y="80"/>
                    </a:cubicBezTo>
                    <a:cubicBezTo>
                      <a:pt x="45" y="76"/>
                      <a:pt x="50" y="76"/>
                      <a:pt x="51" y="73"/>
                    </a:cubicBezTo>
                    <a:cubicBezTo>
                      <a:pt x="51" y="73"/>
                      <a:pt x="49" y="72"/>
                      <a:pt x="49" y="71"/>
                    </a:cubicBezTo>
                    <a:cubicBezTo>
                      <a:pt x="47" y="70"/>
                      <a:pt x="49" y="69"/>
                      <a:pt x="49" y="68"/>
                    </a:cubicBezTo>
                    <a:cubicBezTo>
                      <a:pt x="50" y="64"/>
                      <a:pt x="46" y="69"/>
                      <a:pt x="44" y="69"/>
                    </a:cubicBezTo>
                    <a:cubicBezTo>
                      <a:pt x="44" y="69"/>
                      <a:pt x="48" y="63"/>
                      <a:pt x="47" y="63"/>
                    </a:cubicBezTo>
                    <a:cubicBezTo>
                      <a:pt x="47" y="62"/>
                      <a:pt x="45" y="64"/>
                      <a:pt x="45" y="65"/>
                    </a:cubicBezTo>
                    <a:cubicBezTo>
                      <a:pt x="42" y="67"/>
                      <a:pt x="46" y="62"/>
                      <a:pt x="46" y="61"/>
                    </a:cubicBezTo>
                    <a:cubicBezTo>
                      <a:pt x="45" y="60"/>
                      <a:pt x="43" y="62"/>
                      <a:pt x="42" y="61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5" y="50"/>
                      <a:pt x="49" y="65"/>
                      <a:pt x="53" y="56"/>
                    </a:cubicBezTo>
                    <a:cubicBezTo>
                      <a:pt x="55" y="52"/>
                      <a:pt x="48" y="57"/>
                      <a:pt x="49" y="53"/>
                    </a:cubicBezTo>
                    <a:cubicBezTo>
                      <a:pt x="50" y="50"/>
                      <a:pt x="59" y="47"/>
                      <a:pt x="51" y="47"/>
                    </a:cubicBezTo>
                    <a:cubicBezTo>
                      <a:pt x="50" y="47"/>
                      <a:pt x="45" y="45"/>
                      <a:pt x="46" y="44"/>
                    </a:cubicBezTo>
                    <a:cubicBezTo>
                      <a:pt x="47" y="43"/>
                      <a:pt x="49" y="44"/>
                      <a:pt x="50" y="44"/>
                    </a:cubicBezTo>
                    <a:cubicBezTo>
                      <a:pt x="53" y="45"/>
                      <a:pt x="58" y="40"/>
                      <a:pt x="56" y="37"/>
                    </a:cubicBezTo>
                    <a:cubicBezTo>
                      <a:pt x="53" y="35"/>
                      <a:pt x="51" y="41"/>
                      <a:pt x="50" y="40"/>
                    </a:cubicBezTo>
                    <a:cubicBezTo>
                      <a:pt x="48" y="38"/>
                      <a:pt x="60" y="30"/>
                      <a:pt x="57" y="29"/>
                    </a:cubicBezTo>
                    <a:cubicBezTo>
                      <a:pt x="56" y="28"/>
                      <a:pt x="54" y="31"/>
                      <a:pt x="53" y="31"/>
                    </a:cubicBezTo>
                    <a:cubicBezTo>
                      <a:pt x="51" y="36"/>
                      <a:pt x="49" y="37"/>
                      <a:pt x="47" y="35"/>
                    </a:cubicBezTo>
                    <a:cubicBezTo>
                      <a:pt x="46" y="34"/>
                      <a:pt x="44" y="36"/>
                      <a:pt x="44" y="36"/>
                    </a:cubicBezTo>
                    <a:cubicBezTo>
                      <a:pt x="44" y="35"/>
                      <a:pt x="41" y="35"/>
                      <a:pt x="41" y="35"/>
                    </a:cubicBezTo>
                    <a:cubicBezTo>
                      <a:pt x="41" y="32"/>
                      <a:pt x="47" y="33"/>
                      <a:pt x="48" y="33"/>
                    </a:cubicBezTo>
                    <a:cubicBezTo>
                      <a:pt x="48" y="31"/>
                      <a:pt x="44" y="22"/>
                      <a:pt x="43" y="22"/>
                    </a:cubicBezTo>
                    <a:cubicBezTo>
                      <a:pt x="41" y="22"/>
                      <a:pt x="39" y="27"/>
                      <a:pt x="39" y="26"/>
                    </a:cubicBezTo>
                    <a:cubicBezTo>
                      <a:pt x="39" y="23"/>
                      <a:pt x="37" y="24"/>
                      <a:pt x="37" y="26"/>
                    </a:cubicBezTo>
                    <a:cubicBezTo>
                      <a:pt x="37" y="28"/>
                      <a:pt x="45" y="30"/>
                      <a:pt x="38" y="30"/>
                    </a:cubicBezTo>
                    <a:cubicBezTo>
                      <a:pt x="37" y="30"/>
                      <a:pt x="36" y="30"/>
                      <a:pt x="35" y="31"/>
                    </a:cubicBezTo>
                    <a:cubicBezTo>
                      <a:pt x="34" y="31"/>
                      <a:pt x="32" y="37"/>
                      <a:pt x="30" y="34"/>
                    </a:cubicBezTo>
                    <a:cubicBezTo>
                      <a:pt x="29" y="31"/>
                      <a:pt x="38" y="26"/>
                      <a:pt x="35" y="22"/>
                    </a:cubicBezTo>
                    <a:cubicBezTo>
                      <a:pt x="34" y="21"/>
                      <a:pt x="32" y="26"/>
                      <a:pt x="32" y="24"/>
                    </a:cubicBezTo>
                    <a:cubicBezTo>
                      <a:pt x="31" y="21"/>
                      <a:pt x="33" y="15"/>
                      <a:pt x="33" y="15"/>
                    </a:cubicBezTo>
                    <a:cubicBezTo>
                      <a:pt x="35" y="14"/>
                      <a:pt x="35" y="0"/>
                      <a:pt x="34" y="0"/>
                    </a:cubicBezTo>
                    <a:cubicBezTo>
                      <a:pt x="32" y="1"/>
                      <a:pt x="34" y="5"/>
                      <a:pt x="31" y="6"/>
                    </a:cubicBezTo>
                    <a:cubicBezTo>
                      <a:pt x="26" y="6"/>
                      <a:pt x="25" y="1"/>
                      <a:pt x="25" y="9"/>
                    </a:cubicBezTo>
                    <a:cubicBezTo>
                      <a:pt x="25" y="11"/>
                      <a:pt x="21" y="12"/>
                      <a:pt x="21" y="13"/>
                    </a:cubicBezTo>
                    <a:cubicBezTo>
                      <a:pt x="21" y="14"/>
                      <a:pt x="19" y="15"/>
                      <a:pt x="19" y="15"/>
                    </a:cubicBezTo>
                    <a:cubicBezTo>
                      <a:pt x="20" y="18"/>
                      <a:pt x="28" y="20"/>
                      <a:pt x="27" y="20"/>
                    </a:cubicBezTo>
                    <a:cubicBezTo>
                      <a:pt x="20" y="25"/>
                      <a:pt x="18" y="12"/>
                      <a:pt x="14" y="13"/>
                    </a:cubicBezTo>
                    <a:cubicBezTo>
                      <a:pt x="12" y="14"/>
                      <a:pt x="15" y="21"/>
                      <a:pt x="11" y="20"/>
                    </a:cubicBezTo>
                    <a:cubicBezTo>
                      <a:pt x="9" y="19"/>
                      <a:pt x="7" y="26"/>
                      <a:pt x="9" y="25"/>
                    </a:cubicBezTo>
                    <a:cubicBezTo>
                      <a:pt x="21" y="20"/>
                      <a:pt x="18" y="28"/>
                      <a:pt x="19" y="28"/>
                    </a:cubicBezTo>
                    <a:cubicBezTo>
                      <a:pt x="21" y="28"/>
                      <a:pt x="20" y="24"/>
                      <a:pt x="22" y="23"/>
                    </a:cubicBezTo>
                    <a:cubicBezTo>
                      <a:pt x="23" y="23"/>
                      <a:pt x="22" y="25"/>
                      <a:pt x="22" y="25"/>
                    </a:cubicBezTo>
                    <a:cubicBezTo>
                      <a:pt x="22" y="26"/>
                      <a:pt x="22" y="28"/>
                      <a:pt x="23" y="28"/>
                    </a:cubicBezTo>
                    <a:cubicBezTo>
                      <a:pt x="25" y="33"/>
                      <a:pt x="23" y="31"/>
                      <a:pt x="27" y="34"/>
                    </a:cubicBezTo>
                    <a:cubicBezTo>
                      <a:pt x="27" y="34"/>
                      <a:pt x="26" y="37"/>
                      <a:pt x="27" y="38"/>
                    </a:cubicBezTo>
                    <a:cubicBezTo>
                      <a:pt x="28" y="40"/>
                      <a:pt x="36" y="38"/>
                      <a:pt x="39" y="43"/>
                    </a:cubicBezTo>
                    <a:cubicBezTo>
                      <a:pt x="39" y="44"/>
                      <a:pt x="35" y="42"/>
                      <a:pt x="35" y="42"/>
                    </a:cubicBezTo>
                    <a:cubicBezTo>
                      <a:pt x="34" y="42"/>
                      <a:pt x="32" y="44"/>
                      <a:pt x="31" y="45"/>
                    </a:cubicBezTo>
                    <a:cubicBezTo>
                      <a:pt x="30" y="46"/>
                      <a:pt x="32" y="53"/>
                      <a:pt x="30" y="53"/>
                    </a:cubicBezTo>
                    <a:cubicBezTo>
                      <a:pt x="29" y="53"/>
                      <a:pt x="29" y="49"/>
                      <a:pt x="27" y="49"/>
                    </a:cubicBezTo>
                    <a:cubicBezTo>
                      <a:pt x="21" y="46"/>
                      <a:pt x="21" y="54"/>
                      <a:pt x="21" y="54"/>
                    </a:cubicBezTo>
                    <a:cubicBezTo>
                      <a:pt x="20" y="54"/>
                      <a:pt x="21" y="50"/>
                      <a:pt x="20" y="49"/>
                    </a:cubicBezTo>
                    <a:cubicBezTo>
                      <a:pt x="19" y="48"/>
                      <a:pt x="15" y="50"/>
                      <a:pt x="15" y="50"/>
                    </a:cubicBezTo>
                    <a:cubicBezTo>
                      <a:pt x="15" y="50"/>
                      <a:pt x="17" y="52"/>
                      <a:pt x="15" y="51"/>
                    </a:cubicBezTo>
                    <a:cubicBezTo>
                      <a:pt x="15" y="51"/>
                      <a:pt x="14" y="51"/>
                      <a:pt x="14" y="51"/>
                    </a:cubicBezTo>
                    <a:cubicBezTo>
                      <a:pt x="11" y="50"/>
                      <a:pt x="14" y="52"/>
                      <a:pt x="13" y="53"/>
                    </a:cubicBezTo>
                    <a:cubicBezTo>
                      <a:pt x="12" y="54"/>
                      <a:pt x="11" y="50"/>
                      <a:pt x="9" y="50"/>
                    </a:cubicBezTo>
                    <a:cubicBezTo>
                      <a:pt x="7" y="49"/>
                      <a:pt x="0" y="51"/>
                      <a:pt x="1" y="54"/>
                    </a:cubicBezTo>
                    <a:cubicBezTo>
                      <a:pt x="1" y="54"/>
                      <a:pt x="2" y="58"/>
                      <a:pt x="3" y="60"/>
                    </a:cubicBezTo>
                    <a:cubicBezTo>
                      <a:pt x="6" y="67"/>
                      <a:pt x="10" y="61"/>
                      <a:pt x="13" y="6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0" name="Freeform 835"/>
              <p:cNvSpPr>
                <a:spLocks/>
              </p:cNvSpPr>
              <p:nvPr/>
            </p:nvSpPr>
            <p:spPr bwMode="auto">
              <a:xfrm>
                <a:off x="1626" y="2162"/>
                <a:ext cx="52" cy="41"/>
              </a:xfrm>
              <a:custGeom>
                <a:avLst/>
                <a:gdLst>
                  <a:gd name="T0" fmla="*/ 54 w 79"/>
                  <a:gd name="T1" fmla="*/ 42 h 62"/>
                  <a:gd name="T2" fmla="*/ 23 w 79"/>
                  <a:gd name="T3" fmla="*/ 4 h 62"/>
                  <a:gd name="T4" fmla="*/ 22 w 79"/>
                  <a:gd name="T5" fmla="*/ 4 h 62"/>
                  <a:gd name="T6" fmla="*/ 3 w 79"/>
                  <a:gd name="T7" fmla="*/ 18 h 62"/>
                  <a:gd name="T8" fmla="*/ 29 w 79"/>
                  <a:gd name="T9" fmla="*/ 26 h 62"/>
                  <a:gd name="T10" fmla="*/ 33 w 79"/>
                  <a:gd name="T11" fmla="*/ 26 h 62"/>
                  <a:gd name="T12" fmla="*/ 15 w 79"/>
                  <a:gd name="T13" fmla="*/ 42 h 62"/>
                  <a:gd name="T14" fmla="*/ 31 w 79"/>
                  <a:gd name="T15" fmla="*/ 43 h 62"/>
                  <a:gd name="T16" fmla="*/ 2 w 79"/>
                  <a:gd name="T17" fmla="*/ 55 h 62"/>
                  <a:gd name="T18" fmla="*/ 15 w 79"/>
                  <a:gd name="T19" fmla="*/ 55 h 62"/>
                  <a:gd name="T20" fmla="*/ 46 w 79"/>
                  <a:gd name="T21" fmla="*/ 46 h 62"/>
                  <a:gd name="T22" fmla="*/ 49 w 79"/>
                  <a:gd name="T23" fmla="*/ 51 h 62"/>
                  <a:gd name="T24" fmla="*/ 54 w 79"/>
                  <a:gd name="T25" fmla="*/ 48 h 62"/>
                  <a:gd name="T26" fmla="*/ 60 w 79"/>
                  <a:gd name="T27" fmla="*/ 43 h 62"/>
                  <a:gd name="T28" fmla="*/ 54 w 79"/>
                  <a:gd name="T29" fmla="*/ 4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" h="62">
                    <a:moveTo>
                      <a:pt x="54" y="42"/>
                    </a:moveTo>
                    <a:cubicBezTo>
                      <a:pt x="79" y="22"/>
                      <a:pt x="37" y="30"/>
                      <a:pt x="23" y="4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5" y="0"/>
                      <a:pt x="3" y="16"/>
                      <a:pt x="3" y="18"/>
                    </a:cubicBezTo>
                    <a:cubicBezTo>
                      <a:pt x="3" y="22"/>
                      <a:pt x="27" y="27"/>
                      <a:pt x="29" y="26"/>
                    </a:cubicBezTo>
                    <a:cubicBezTo>
                      <a:pt x="29" y="26"/>
                      <a:pt x="32" y="25"/>
                      <a:pt x="33" y="26"/>
                    </a:cubicBezTo>
                    <a:cubicBezTo>
                      <a:pt x="35" y="31"/>
                      <a:pt x="15" y="35"/>
                      <a:pt x="15" y="42"/>
                    </a:cubicBezTo>
                    <a:cubicBezTo>
                      <a:pt x="15" y="49"/>
                      <a:pt x="33" y="40"/>
                      <a:pt x="31" y="43"/>
                    </a:cubicBezTo>
                    <a:cubicBezTo>
                      <a:pt x="25" y="60"/>
                      <a:pt x="0" y="37"/>
                      <a:pt x="2" y="55"/>
                    </a:cubicBezTo>
                    <a:cubicBezTo>
                      <a:pt x="3" y="62"/>
                      <a:pt x="12" y="55"/>
                      <a:pt x="15" y="55"/>
                    </a:cubicBezTo>
                    <a:cubicBezTo>
                      <a:pt x="20" y="55"/>
                      <a:pt x="45" y="45"/>
                      <a:pt x="46" y="46"/>
                    </a:cubicBezTo>
                    <a:cubicBezTo>
                      <a:pt x="47" y="47"/>
                      <a:pt x="41" y="54"/>
                      <a:pt x="49" y="51"/>
                    </a:cubicBezTo>
                    <a:cubicBezTo>
                      <a:pt x="51" y="50"/>
                      <a:pt x="53" y="49"/>
                      <a:pt x="54" y="48"/>
                    </a:cubicBezTo>
                    <a:cubicBezTo>
                      <a:pt x="56" y="47"/>
                      <a:pt x="59" y="46"/>
                      <a:pt x="60" y="43"/>
                    </a:cubicBezTo>
                    <a:cubicBezTo>
                      <a:pt x="61" y="39"/>
                      <a:pt x="48" y="47"/>
                      <a:pt x="54" y="4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1" name="Freeform 836"/>
              <p:cNvSpPr>
                <a:spLocks noEditPoints="1"/>
              </p:cNvSpPr>
              <p:nvPr/>
            </p:nvSpPr>
            <p:spPr bwMode="auto">
              <a:xfrm>
                <a:off x="1634" y="1979"/>
                <a:ext cx="469" cy="779"/>
              </a:xfrm>
              <a:custGeom>
                <a:avLst/>
                <a:gdLst>
                  <a:gd name="T0" fmla="*/ 58 w 716"/>
                  <a:gd name="T1" fmla="*/ 197 h 1188"/>
                  <a:gd name="T2" fmla="*/ 75 w 716"/>
                  <a:gd name="T3" fmla="*/ 221 h 1188"/>
                  <a:gd name="T4" fmla="*/ 28 w 716"/>
                  <a:gd name="T5" fmla="*/ 251 h 1188"/>
                  <a:gd name="T6" fmla="*/ 33 w 716"/>
                  <a:gd name="T7" fmla="*/ 268 h 1188"/>
                  <a:gd name="T8" fmla="*/ 45 w 716"/>
                  <a:gd name="T9" fmla="*/ 279 h 1188"/>
                  <a:gd name="T10" fmla="*/ 100 w 716"/>
                  <a:gd name="T11" fmla="*/ 261 h 1188"/>
                  <a:gd name="T12" fmla="*/ 70 w 716"/>
                  <a:gd name="T13" fmla="*/ 308 h 1188"/>
                  <a:gd name="T14" fmla="*/ 72 w 716"/>
                  <a:gd name="T15" fmla="*/ 313 h 1188"/>
                  <a:gd name="T16" fmla="*/ 58 w 716"/>
                  <a:gd name="T17" fmla="*/ 354 h 1188"/>
                  <a:gd name="T18" fmla="*/ 53 w 716"/>
                  <a:gd name="T19" fmla="*/ 404 h 1188"/>
                  <a:gd name="T20" fmla="*/ 82 w 716"/>
                  <a:gd name="T21" fmla="*/ 405 h 1188"/>
                  <a:gd name="T22" fmla="*/ 94 w 716"/>
                  <a:gd name="T23" fmla="*/ 379 h 1188"/>
                  <a:gd name="T24" fmla="*/ 129 w 716"/>
                  <a:gd name="T25" fmla="*/ 353 h 1188"/>
                  <a:gd name="T26" fmla="*/ 145 w 716"/>
                  <a:gd name="T27" fmla="*/ 444 h 1188"/>
                  <a:gd name="T28" fmla="*/ 123 w 716"/>
                  <a:gd name="T29" fmla="*/ 529 h 1188"/>
                  <a:gd name="T30" fmla="*/ 196 w 716"/>
                  <a:gd name="T31" fmla="*/ 543 h 1188"/>
                  <a:gd name="T32" fmla="*/ 285 w 716"/>
                  <a:gd name="T33" fmla="*/ 516 h 1188"/>
                  <a:gd name="T34" fmla="*/ 258 w 716"/>
                  <a:gd name="T35" fmla="*/ 618 h 1188"/>
                  <a:gd name="T36" fmla="*/ 287 w 716"/>
                  <a:gd name="T37" fmla="*/ 623 h 1188"/>
                  <a:gd name="T38" fmla="*/ 283 w 716"/>
                  <a:gd name="T39" fmla="*/ 676 h 1188"/>
                  <a:gd name="T40" fmla="*/ 304 w 716"/>
                  <a:gd name="T41" fmla="*/ 743 h 1188"/>
                  <a:gd name="T42" fmla="*/ 211 w 716"/>
                  <a:gd name="T43" fmla="*/ 738 h 1188"/>
                  <a:gd name="T44" fmla="*/ 142 w 716"/>
                  <a:gd name="T45" fmla="*/ 810 h 1188"/>
                  <a:gd name="T46" fmla="*/ 188 w 716"/>
                  <a:gd name="T47" fmla="*/ 836 h 1188"/>
                  <a:gd name="T48" fmla="*/ 83 w 716"/>
                  <a:gd name="T49" fmla="*/ 935 h 1188"/>
                  <a:gd name="T50" fmla="*/ 117 w 716"/>
                  <a:gd name="T51" fmla="*/ 957 h 1188"/>
                  <a:gd name="T52" fmla="*/ 194 w 716"/>
                  <a:gd name="T53" fmla="*/ 961 h 1188"/>
                  <a:gd name="T54" fmla="*/ 343 w 716"/>
                  <a:gd name="T55" fmla="*/ 947 h 1188"/>
                  <a:gd name="T56" fmla="*/ 269 w 716"/>
                  <a:gd name="T57" fmla="*/ 1023 h 1188"/>
                  <a:gd name="T58" fmla="*/ 130 w 716"/>
                  <a:gd name="T59" fmla="*/ 1103 h 1188"/>
                  <a:gd name="T60" fmla="*/ 51 w 716"/>
                  <a:gd name="T61" fmla="*/ 1176 h 1188"/>
                  <a:gd name="T62" fmla="*/ 106 w 716"/>
                  <a:gd name="T63" fmla="*/ 1161 h 1188"/>
                  <a:gd name="T64" fmla="*/ 185 w 716"/>
                  <a:gd name="T65" fmla="*/ 1120 h 1188"/>
                  <a:gd name="T66" fmla="*/ 304 w 716"/>
                  <a:gd name="T67" fmla="*/ 1086 h 1188"/>
                  <a:gd name="T68" fmla="*/ 383 w 716"/>
                  <a:gd name="T69" fmla="*/ 1090 h 1188"/>
                  <a:gd name="T70" fmla="*/ 470 w 716"/>
                  <a:gd name="T71" fmla="*/ 1070 h 1188"/>
                  <a:gd name="T72" fmla="*/ 643 w 716"/>
                  <a:gd name="T73" fmla="*/ 1060 h 1188"/>
                  <a:gd name="T74" fmla="*/ 620 w 716"/>
                  <a:gd name="T75" fmla="*/ 996 h 1188"/>
                  <a:gd name="T76" fmla="*/ 626 w 716"/>
                  <a:gd name="T77" fmla="*/ 956 h 1188"/>
                  <a:gd name="T78" fmla="*/ 664 w 716"/>
                  <a:gd name="T79" fmla="*/ 932 h 1188"/>
                  <a:gd name="T80" fmla="*/ 677 w 716"/>
                  <a:gd name="T81" fmla="*/ 924 h 1188"/>
                  <a:gd name="T82" fmla="*/ 556 w 716"/>
                  <a:gd name="T83" fmla="*/ 799 h 1188"/>
                  <a:gd name="T84" fmla="*/ 503 w 716"/>
                  <a:gd name="T85" fmla="*/ 688 h 1188"/>
                  <a:gd name="T86" fmla="*/ 506 w 716"/>
                  <a:gd name="T87" fmla="*/ 582 h 1188"/>
                  <a:gd name="T88" fmla="*/ 416 w 716"/>
                  <a:gd name="T89" fmla="*/ 474 h 1188"/>
                  <a:gd name="T90" fmla="*/ 214 w 716"/>
                  <a:gd name="T91" fmla="*/ 360 h 1188"/>
                  <a:gd name="T92" fmla="*/ 320 w 716"/>
                  <a:gd name="T93" fmla="*/ 342 h 1188"/>
                  <a:gd name="T94" fmla="*/ 267 w 716"/>
                  <a:gd name="T95" fmla="*/ 323 h 1188"/>
                  <a:gd name="T96" fmla="*/ 378 w 716"/>
                  <a:gd name="T97" fmla="*/ 138 h 1188"/>
                  <a:gd name="T98" fmla="*/ 179 w 716"/>
                  <a:gd name="T99" fmla="*/ 163 h 1188"/>
                  <a:gd name="T100" fmla="*/ 220 w 716"/>
                  <a:gd name="T101" fmla="*/ 116 h 1188"/>
                  <a:gd name="T102" fmla="*/ 196 w 716"/>
                  <a:gd name="T103" fmla="*/ 103 h 1188"/>
                  <a:gd name="T104" fmla="*/ 256 w 716"/>
                  <a:gd name="T105" fmla="*/ 11 h 1188"/>
                  <a:gd name="T106" fmla="*/ 156 w 716"/>
                  <a:gd name="T107" fmla="*/ 33 h 1188"/>
                  <a:gd name="T108" fmla="*/ 138 w 716"/>
                  <a:gd name="T109" fmla="*/ 21 h 1188"/>
                  <a:gd name="T110" fmla="*/ 104 w 716"/>
                  <a:gd name="T111" fmla="*/ 29 h 1188"/>
                  <a:gd name="T112" fmla="*/ 116 w 716"/>
                  <a:gd name="T113" fmla="*/ 64 h 1188"/>
                  <a:gd name="T114" fmla="*/ 104 w 716"/>
                  <a:gd name="T115" fmla="*/ 120 h 1188"/>
                  <a:gd name="T116" fmla="*/ 57 w 716"/>
                  <a:gd name="T117" fmla="*/ 108 h 1188"/>
                  <a:gd name="T118" fmla="*/ 58 w 716"/>
                  <a:gd name="T119" fmla="*/ 158 h 1188"/>
                  <a:gd name="T120" fmla="*/ 78 w 716"/>
                  <a:gd name="T121" fmla="*/ 348 h 1188"/>
                  <a:gd name="T122" fmla="*/ 195 w 716"/>
                  <a:gd name="T123" fmla="*/ 293 h 1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16" h="1188">
                    <a:moveTo>
                      <a:pt x="41" y="188"/>
                    </a:moveTo>
                    <a:cubicBezTo>
                      <a:pt x="47" y="189"/>
                      <a:pt x="50" y="179"/>
                      <a:pt x="54" y="177"/>
                    </a:cubicBezTo>
                    <a:cubicBezTo>
                      <a:pt x="56" y="177"/>
                      <a:pt x="52" y="186"/>
                      <a:pt x="60" y="184"/>
                    </a:cubicBezTo>
                    <a:cubicBezTo>
                      <a:pt x="62" y="184"/>
                      <a:pt x="67" y="175"/>
                      <a:pt x="70" y="177"/>
                    </a:cubicBezTo>
                    <a:cubicBezTo>
                      <a:pt x="78" y="182"/>
                      <a:pt x="46" y="192"/>
                      <a:pt x="47" y="195"/>
                    </a:cubicBezTo>
                    <a:cubicBezTo>
                      <a:pt x="47" y="196"/>
                      <a:pt x="56" y="196"/>
                      <a:pt x="58" y="197"/>
                    </a:cubicBezTo>
                    <a:cubicBezTo>
                      <a:pt x="62" y="199"/>
                      <a:pt x="78" y="184"/>
                      <a:pt x="66" y="196"/>
                    </a:cubicBezTo>
                    <a:cubicBezTo>
                      <a:pt x="62" y="199"/>
                      <a:pt x="74" y="202"/>
                      <a:pt x="74" y="203"/>
                    </a:cubicBezTo>
                    <a:cubicBezTo>
                      <a:pt x="76" y="206"/>
                      <a:pt x="67" y="203"/>
                      <a:pt x="66" y="201"/>
                    </a:cubicBezTo>
                    <a:cubicBezTo>
                      <a:pt x="58" y="193"/>
                      <a:pt x="49" y="207"/>
                      <a:pt x="49" y="214"/>
                    </a:cubicBezTo>
                    <a:cubicBezTo>
                      <a:pt x="50" y="217"/>
                      <a:pt x="66" y="220"/>
                      <a:pt x="67" y="220"/>
                    </a:cubicBezTo>
                    <a:cubicBezTo>
                      <a:pt x="68" y="220"/>
                      <a:pt x="76" y="219"/>
                      <a:pt x="75" y="221"/>
                    </a:cubicBezTo>
                    <a:cubicBezTo>
                      <a:pt x="65" y="228"/>
                      <a:pt x="43" y="210"/>
                      <a:pt x="40" y="227"/>
                    </a:cubicBezTo>
                    <a:cubicBezTo>
                      <a:pt x="40" y="230"/>
                      <a:pt x="56" y="238"/>
                      <a:pt x="62" y="236"/>
                    </a:cubicBezTo>
                    <a:cubicBezTo>
                      <a:pt x="62" y="236"/>
                      <a:pt x="64" y="235"/>
                      <a:pt x="64" y="236"/>
                    </a:cubicBezTo>
                    <a:cubicBezTo>
                      <a:pt x="64" y="237"/>
                      <a:pt x="59" y="238"/>
                      <a:pt x="59" y="238"/>
                    </a:cubicBezTo>
                    <a:cubicBezTo>
                      <a:pt x="39" y="241"/>
                      <a:pt x="46" y="228"/>
                      <a:pt x="32" y="246"/>
                    </a:cubicBezTo>
                    <a:cubicBezTo>
                      <a:pt x="31" y="248"/>
                      <a:pt x="28" y="249"/>
                      <a:pt x="28" y="251"/>
                    </a:cubicBezTo>
                    <a:cubicBezTo>
                      <a:pt x="28" y="253"/>
                      <a:pt x="33" y="252"/>
                      <a:pt x="34" y="252"/>
                    </a:cubicBezTo>
                    <a:cubicBezTo>
                      <a:pt x="50" y="247"/>
                      <a:pt x="35" y="258"/>
                      <a:pt x="48" y="254"/>
                    </a:cubicBezTo>
                    <a:cubicBezTo>
                      <a:pt x="48" y="254"/>
                      <a:pt x="52" y="251"/>
                      <a:pt x="51" y="254"/>
                    </a:cubicBezTo>
                    <a:cubicBezTo>
                      <a:pt x="50" y="260"/>
                      <a:pt x="37" y="256"/>
                      <a:pt x="34" y="259"/>
                    </a:cubicBezTo>
                    <a:cubicBezTo>
                      <a:pt x="33" y="261"/>
                      <a:pt x="35" y="262"/>
                      <a:pt x="36" y="263"/>
                    </a:cubicBezTo>
                    <a:cubicBezTo>
                      <a:pt x="51" y="269"/>
                      <a:pt x="28" y="263"/>
                      <a:pt x="33" y="268"/>
                    </a:cubicBezTo>
                    <a:cubicBezTo>
                      <a:pt x="34" y="268"/>
                      <a:pt x="36" y="271"/>
                      <a:pt x="34" y="271"/>
                    </a:cubicBezTo>
                    <a:cubicBezTo>
                      <a:pt x="32" y="272"/>
                      <a:pt x="28" y="266"/>
                      <a:pt x="25" y="266"/>
                    </a:cubicBezTo>
                    <a:cubicBezTo>
                      <a:pt x="21" y="265"/>
                      <a:pt x="15" y="271"/>
                      <a:pt x="10" y="269"/>
                    </a:cubicBezTo>
                    <a:cubicBezTo>
                      <a:pt x="7" y="269"/>
                      <a:pt x="0" y="273"/>
                      <a:pt x="0" y="276"/>
                    </a:cubicBezTo>
                    <a:cubicBezTo>
                      <a:pt x="1" y="286"/>
                      <a:pt x="58" y="273"/>
                      <a:pt x="61" y="278"/>
                    </a:cubicBezTo>
                    <a:cubicBezTo>
                      <a:pt x="67" y="286"/>
                      <a:pt x="49" y="279"/>
                      <a:pt x="45" y="279"/>
                    </a:cubicBezTo>
                    <a:cubicBezTo>
                      <a:pt x="38" y="279"/>
                      <a:pt x="36" y="287"/>
                      <a:pt x="36" y="287"/>
                    </a:cubicBezTo>
                    <a:cubicBezTo>
                      <a:pt x="32" y="287"/>
                      <a:pt x="23" y="279"/>
                      <a:pt x="20" y="286"/>
                    </a:cubicBezTo>
                    <a:cubicBezTo>
                      <a:pt x="15" y="298"/>
                      <a:pt x="34" y="293"/>
                      <a:pt x="43" y="296"/>
                    </a:cubicBezTo>
                    <a:cubicBezTo>
                      <a:pt x="47" y="297"/>
                      <a:pt x="46" y="305"/>
                      <a:pt x="50" y="306"/>
                    </a:cubicBezTo>
                    <a:cubicBezTo>
                      <a:pt x="53" y="306"/>
                      <a:pt x="90" y="269"/>
                      <a:pt x="91" y="268"/>
                    </a:cubicBezTo>
                    <a:cubicBezTo>
                      <a:pt x="91" y="267"/>
                      <a:pt x="99" y="260"/>
                      <a:pt x="100" y="261"/>
                    </a:cubicBezTo>
                    <a:cubicBezTo>
                      <a:pt x="102" y="264"/>
                      <a:pt x="87" y="273"/>
                      <a:pt x="89" y="276"/>
                    </a:cubicBezTo>
                    <a:cubicBezTo>
                      <a:pt x="93" y="282"/>
                      <a:pt x="114" y="269"/>
                      <a:pt x="111" y="276"/>
                    </a:cubicBezTo>
                    <a:cubicBezTo>
                      <a:pt x="108" y="282"/>
                      <a:pt x="88" y="278"/>
                      <a:pt x="83" y="282"/>
                    </a:cubicBezTo>
                    <a:cubicBezTo>
                      <a:pt x="78" y="286"/>
                      <a:pt x="72" y="292"/>
                      <a:pt x="73" y="299"/>
                    </a:cubicBezTo>
                    <a:cubicBezTo>
                      <a:pt x="74" y="304"/>
                      <a:pt x="88" y="297"/>
                      <a:pt x="88" y="297"/>
                    </a:cubicBezTo>
                    <a:cubicBezTo>
                      <a:pt x="85" y="307"/>
                      <a:pt x="71" y="295"/>
                      <a:pt x="70" y="308"/>
                    </a:cubicBezTo>
                    <a:cubicBezTo>
                      <a:pt x="70" y="312"/>
                      <a:pt x="76" y="301"/>
                      <a:pt x="76" y="307"/>
                    </a:cubicBezTo>
                    <a:cubicBezTo>
                      <a:pt x="76" y="308"/>
                      <a:pt x="75" y="310"/>
                      <a:pt x="77" y="310"/>
                    </a:cubicBezTo>
                    <a:cubicBezTo>
                      <a:pt x="86" y="312"/>
                      <a:pt x="96" y="310"/>
                      <a:pt x="100" y="299"/>
                    </a:cubicBezTo>
                    <a:cubicBezTo>
                      <a:pt x="101" y="298"/>
                      <a:pt x="103" y="296"/>
                      <a:pt x="104" y="296"/>
                    </a:cubicBezTo>
                    <a:cubicBezTo>
                      <a:pt x="106" y="297"/>
                      <a:pt x="98" y="308"/>
                      <a:pt x="97" y="309"/>
                    </a:cubicBezTo>
                    <a:cubicBezTo>
                      <a:pt x="94" y="315"/>
                      <a:pt x="79" y="313"/>
                      <a:pt x="72" y="313"/>
                    </a:cubicBezTo>
                    <a:cubicBezTo>
                      <a:pt x="70" y="313"/>
                      <a:pt x="67" y="314"/>
                      <a:pt x="68" y="317"/>
                    </a:cubicBezTo>
                    <a:cubicBezTo>
                      <a:pt x="68" y="319"/>
                      <a:pt x="63" y="318"/>
                      <a:pt x="63" y="321"/>
                    </a:cubicBezTo>
                    <a:cubicBezTo>
                      <a:pt x="63" y="324"/>
                      <a:pt x="71" y="322"/>
                      <a:pt x="71" y="324"/>
                    </a:cubicBezTo>
                    <a:cubicBezTo>
                      <a:pt x="68" y="330"/>
                      <a:pt x="57" y="325"/>
                      <a:pt x="57" y="339"/>
                    </a:cubicBezTo>
                    <a:cubicBezTo>
                      <a:pt x="57" y="342"/>
                      <a:pt x="68" y="339"/>
                      <a:pt x="66" y="340"/>
                    </a:cubicBezTo>
                    <a:cubicBezTo>
                      <a:pt x="59" y="342"/>
                      <a:pt x="57" y="355"/>
                      <a:pt x="58" y="354"/>
                    </a:cubicBezTo>
                    <a:cubicBezTo>
                      <a:pt x="57" y="355"/>
                      <a:pt x="64" y="347"/>
                      <a:pt x="65" y="348"/>
                    </a:cubicBezTo>
                    <a:cubicBezTo>
                      <a:pt x="68" y="355"/>
                      <a:pt x="42" y="377"/>
                      <a:pt x="47" y="381"/>
                    </a:cubicBezTo>
                    <a:cubicBezTo>
                      <a:pt x="52" y="385"/>
                      <a:pt x="57" y="363"/>
                      <a:pt x="59" y="369"/>
                    </a:cubicBezTo>
                    <a:cubicBezTo>
                      <a:pt x="61" y="373"/>
                      <a:pt x="45" y="387"/>
                      <a:pt x="49" y="390"/>
                    </a:cubicBezTo>
                    <a:cubicBezTo>
                      <a:pt x="51" y="392"/>
                      <a:pt x="56" y="382"/>
                      <a:pt x="59" y="384"/>
                    </a:cubicBezTo>
                    <a:cubicBezTo>
                      <a:pt x="66" y="386"/>
                      <a:pt x="46" y="400"/>
                      <a:pt x="53" y="404"/>
                    </a:cubicBezTo>
                    <a:cubicBezTo>
                      <a:pt x="58" y="408"/>
                      <a:pt x="59" y="406"/>
                      <a:pt x="65" y="400"/>
                    </a:cubicBezTo>
                    <a:cubicBezTo>
                      <a:pt x="65" y="399"/>
                      <a:pt x="70" y="395"/>
                      <a:pt x="70" y="396"/>
                    </a:cubicBezTo>
                    <a:cubicBezTo>
                      <a:pt x="71" y="398"/>
                      <a:pt x="64" y="405"/>
                      <a:pt x="63" y="406"/>
                    </a:cubicBezTo>
                    <a:cubicBezTo>
                      <a:pt x="56" y="414"/>
                      <a:pt x="33" y="465"/>
                      <a:pt x="41" y="471"/>
                    </a:cubicBezTo>
                    <a:cubicBezTo>
                      <a:pt x="65" y="488"/>
                      <a:pt x="66" y="426"/>
                      <a:pt x="67" y="423"/>
                    </a:cubicBezTo>
                    <a:cubicBezTo>
                      <a:pt x="69" y="417"/>
                      <a:pt x="81" y="409"/>
                      <a:pt x="82" y="405"/>
                    </a:cubicBezTo>
                    <a:cubicBezTo>
                      <a:pt x="84" y="395"/>
                      <a:pt x="63" y="383"/>
                      <a:pt x="71" y="371"/>
                    </a:cubicBezTo>
                    <a:cubicBezTo>
                      <a:pt x="72" y="369"/>
                      <a:pt x="74" y="375"/>
                      <a:pt x="76" y="374"/>
                    </a:cubicBezTo>
                    <a:cubicBezTo>
                      <a:pt x="83" y="370"/>
                      <a:pt x="111" y="333"/>
                      <a:pt x="117" y="336"/>
                    </a:cubicBezTo>
                    <a:cubicBezTo>
                      <a:pt x="119" y="337"/>
                      <a:pt x="104" y="349"/>
                      <a:pt x="103" y="350"/>
                    </a:cubicBezTo>
                    <a:cubicBezTo>
                      <a:pt x="99" y="359"/>
                      <a:pt x="64" y="381"/>
                      <a:pt x="83" y="395"/>
                    </a:cubicBezTo>
                    <a:cubicBezTo>
                      <a:pt x="100" y="408"/>
                      <a:pt x="85" y="377"/>
                      <a:pt x="94" y="379"/>
                    </a:cubicBezTo>
                    <a:cubicBezTo>
                      <a:pt x="95" y="379"/>
                      <a:pt x="94" y="382"/>
                      <a:pt x="94" y="383"/>
                    </a:cubicBezTo>
                    <a:cubicBezTo>
                      <a:pt x="95" y="386"/>
                      <a:pt x="106" y="394"/>
                      <a:pt x="98" y="376"/>
                    </a:cubicBezTo>
                    <a:cubicBezTo>
                      <a:pt x="98" y="375"/>
                      <a:pt x="98" y="373"/>
                      <a:pt x="99" y="373"/>
                    </a:cubicBezTo>
                    <a:cubicBezTo>
                      <a:pt x="106" y="372"/>
                      <a:pt x="102" y="395"/>
                      <a:pt x="112" y="393"/>
                    </a:cubicBezTo>
                    <a:cubicBezTo>
                      <a:pt x="122" y="391"/>
                      <a:pt x="112" y="347"/>
                      <a:pt x="132" y="346"/>
                    </a:cubicBezTo>
                    <a:cubicBezTo>
                      <a:pt x="134" y="346"/>
                      <a:pt x="129" y="352"/>
                      <a:pt x="129" y="353"/>
                    </a:cubicBezTo>
                    <a:cubicBezTo>
                      <a:pt x="126" y="358"/>
                      <a:pt x="118" y="369"/>
                      <a:pt x="125" y="375"/>
                    </a:cubicBezTo>
                    <a:cubicBezTo>
                      <a:pt x="137" y="384"/>
                      <a:pt x="125" y="365"/>
                      <a:pt x="127" y="365"/>
                    </a:cubicBezTo>
                    <a:cubicBezTo>
                      <a:pt x="135" y="365"/>
                      <a:pt x="134" y="376"/>
                      <a:pt x="140" y="380"/>
                    </a:cubicBezTo>
                    <a:cubicBezTo>
                      <a:pt x="145" y="383"/>
                      <a:pt x="160" y="380"/>
                      <a:pt x="156" y="385"/>
                    </a:cubicBezTo>
                    <a:cubicBezTo>
                      <a:pt x="151" y="393"/>
                      <a:pt x="126" y="372"/>
                      <a:pt x="121" y="383"/>
                    </a:cubicBezTo>
                    <a:cubicBezTo>
                      <a:pt x="104" y="418"/>
                      <a:pt x="145" y="426"/>
                      <a:pt x="145" y="444"/>
                    </a:cubicBezTo>
                    <a:cubicBezTo>
                      <a:pt x="145" y="447"/>
                      <a:pt x="113" y="486"/>
                      <a:pt x="109" y="493"/>
                    </a:cubicBezTo>
                    <a:cubicBezTo>
                      <a:pt x="105" y="500"/>
                      <a:pt x="112" y="523"/>
                      <a:pt x="110" y="524"/>
                    </a:cubicBezTo>
                    <a:cubicBezTo>
                      <a:pt x="103" y="529"/>
                      <a:pt x="106" y="499"/>
                      <a:pt x="95" y="511"/>
                    </a:cubicBezTo>
                    <a:cubicBezTo>
                      <a:pt x="82" y="525"/>
                      <a:pt x="112" y="541"/>
                      <a:pt x="113" y="549"/>
                    </a:cubicBezTo>
                    <a:cubicBezTo>
                      <a:pt x="113" y="552"/>
                      <a:pt x="111" y="557"/>
                      <a:pt x="114" y="559"/>
                    </a:cubicBezTo>
                    <a:cubicBezTo>
                      <a:pt x="128" y="572"/>
                      <a:pt x="107" y="532"/>
                      <a:pt x="123" y="529"/>
                    </a:cubicBezTo>
                    <a:cubicBezTo>
                      <a:pt x="134" y="528"/>
                      <a:pt x="157" y="562"/>
                      <a:pt x="167" y="555"/>
                    </a:cubicBezTo>
                    <a:cubicBezTo>
                      <a:pt x="179" y="547"/>
                      <a:pt x="155" y="532"/>
                      <a:pt x="164" y="524"/>
                    </a:cubicBezTo>
                    <a:cubicBezTo>
                      <a:pt x="168" y="521"/>
                      <a:pt x="171" y="534"/>
                      <a:pt x="176" y="534"/>
                    </a:cubicBezTo>
                    <a:cubicBezTo>
                      <a:pt x="183" y="534"/>
                      <a:pt x="179" y="536"/>
                      <a:pt x="190" y="543"/>
                    </a:cubicBezTo>
                    <a:cubicBezTo>
                      <a:pt x="192" y="544"/>
                      <a:pt x="190" y="533"/>
                      <a:pt x="193" y="535"/>
                    </a:cubicBezTo>
                    <a:cubicBezTo>
                      <a:pt x="196" y="536"/>
                      <a:pt x="193" y="543"/>
                      <a:pt x="196" y="543"/>
                    </a:cubicBezTo>
                    <a:cubicBezTo>
                      <a:pt x="211" y="547"/>
                      <a:pt x="212" y="532"/>
                      <a:pt x="215" y="528"/>
                    </a:cubicBezTo>
                    <a:cubicBezTo>
                      <a:pt x="220" y="523"/>
                      <a:pt x="231" y="534"/>
                      <a:pt x="235" y="529"/>
                    </a:cubicBezTo>
                    <a:cubicBezTo>
                      <a:pt x="239" y="524"/>
                      <a:pt x="234" y="516"/>
                      <a:pt x="238" y="513"/>
                    </a:cubicBezTo>
                    <a:cubicBezTo>
                      <a:pt x="239" y="511"/>
                      <a:pt x="243" y="513"/>
                      <a:pt x="245" y="514"/>
                    </a:cubicBezTo>
                    <a:cubicBezTo>
                      <a:pt x="251" y="514"/>
                      <a:pt x="281" y="512"/>
                      <a:pt x="286" y="515"/>
                    </a:cubicBezTo>
                    <a:cubicBezTo>
                      <a:pt x="287" y="516"/>
                      <a:pt x="286" y="516"/>
                      <a:pt x="285" y="516"/>
                    </a:cubicBezTo>
                    <a:cubicBezTo>
                      <a:pt x="279" y="513"/>
                      <a:pt x="272" y="520"/>
                      <a:pt x="265" y="520"/>
                    </a:cubicBezTo>
                    <a:cubicBezTo>
                      <a:pt x="264" y="520"/>
                      <a:pt x="263" y="520"/>
                      <a:pt x="263" y="520"/>
                    </a:cubicBezTo>
                    <a:cubicBezTo>
                      <a:pt x="257" y="525"/>
                      <a:pt x="267" y="524"/>
                      <a:pt x="265" y="526"/>
                    </a:cubicBezTo>
                    <a:cubicBezTo>
                      <a:pt x="261" y="532"/>
                      <a:pt x="260" y="522"/>
                      <a:pt x="255" y="527"/>
                    </a:cubicBezTo>
                    <a:cubicBezTo>
                      <a:pt x="253" y="529"/>
                      <a:pt x="232" y="577"/>
                      <a:pt x="232" y="578"/>
                    </a:cubicBezTo>
                    <a:cubicBezTo>
                      <a:pt x="233" y="586"/>
                      <a:pt x="254" y="612"/>
                      <a:pt x="258" y="618"/>
                    </a:cubicBezTo>
                    <a:cubicBezTo>
                      <a:pt x="259" y="619"/>
                      <a:pt x="260" y="621"/>
                      <a:pt x="261" y="622"/>
                    </a:cubicBezTo>
                    <a:cubicBezTo>
                      <a:pt x="265" y="623"/>
                      <a:pt x="266" y="610"/>
                      <a:pt x="270" y="612"/>
                    </a:cubicBezTo>
                    <a:cubicBezTo>
                      <a:pt x="277" y="618"/>
                      <a:pt x="260" y="630"/>
                      <a:pt x="274" y="638"/>
                    </a:cubicBezTo>
                    <a:cubicBezTo>
                      <a:pt x="274" y="638"/>
                      <a:pt x="276" y="639"/>
                      <a:pt x="276" y="639"/>
                    </a:cubicBezTo>
                    <a:cubicBezTo>
                      <a:pt x="278" y="637"/>
                      <a:pt x="282" y="619"/>
                      <a:pt x="285" y="617"/>
                    </a:cubicBezTo>
                    <a:cubicBezTo>
                      <a:pt x="286" y="616"/>
                      <a:pt x="286" y="621"/>
                      <a:pt x="287" y="623"/>
                    </a:cubicBezTo>
                    <a:cubicBezTo>
                      <a:pt x="291" y="632"/>
                      <a:pt x="297" y="624"/>
                      <a:pt x="302" y="620"/>
                    </a:cubicBezTo>
                    <a:cubicBezTo>
                      <a:pt x="304" y="618"/>
                      <a:pt x="305" y="614"/>
                      <a:pt x="307" y="615"/>
                    </a:cubicBezTo>
                    <a:cubicBezTo>
                      <a:pt x="310" y="617"/>
                      <a:pt x="299" y="621"/>
                      <a:pt x="303" y="625"/>
                    </a:cubicBezTo>
                    <a:cubicBezTo>
                      <a:pt x="312" y="637"/>
                      <a:pt x="291" y="638"/>
                      <a:pt x="298" y="648"/>
                    </a:cubicBezTo>
                    <a:cubicBezTo>
                      <a:pt x="299" y="649"/>
                      <a:pt x="308" y="645"/>
                      <a:pt x="301" y="653"/>
                    </a:cubicBezTo>
                    <a:cubicBezTo>
                      <a:pt x="291" y="663"/>
                      <a:pt x="282" y="655"/>
                      <a:pt x="283" y="676"/>
                    </a:cubicBezTo>
                    <a:cubicBezTo>
                      <a:pt x="284" y="686"/>
                      <a:pt x="297" y="681"/>
                      <a:pt x="298" y="685"/>
                    </a:cubicBezTo>
                    <a:cubicBezTo>
                      <a:pt x="298" y="685"/>
                      <a:pt x="297" y="686"/>
                      <a:pt x="296" y="686"/>
                    </a:cubicBezTo>
                    <a:cubicBezTo>
                      <a:pt x="275" y="692"/>
                      <a:pt x="284" y="714"/>
                      <a:pt x="290" y="728"/>
                    </a:cubicBezTo>
                    <a:cubicBezTo>
                      <a:pt x="292" y="732"/>
                      <a:pt x="302" y="740"/>
                      <a:pt x="306" y="739"/>
                    </a:cubicBezTo>
                    <a:cubicBezTo>
                      <a:pt x="309" y="739"/>
                      <a:pt x="310" y="736"/>
                      <a:pt x="311" y="740"/>
                    </a:cubicBezTo>
                    <a:cubicBezTo>
                      <a:pt x="312" y="744"/>
                      <a:pt x="306" y="743"/>
                      <a:pt x="304" y="743"/>
                    </a:cubicBezTo>
                    <a:cubicBezTo>
                      <a:pt x="293" y="740"/>
                      <a:pt x="288" y="722"/>
                      <a:pt x="273" y="729"/>
                    </a:cubicBezTo>
                    <a:cubicBezTo>
                      <a:pt x="269" y="731"/>
                      <a:pt x="283" y="747"/>
                      <a:pt x="281" y="751"/>
                    </a:cubicBezTo>
                    <a:cubicBezTo>
                      <a:pt x="280" y="753"/>
                      <a:pt x="279" y="749"/>
                      <a:pt x="277" y="748"/>
                    </a:cubicBezTo>
                    <a:cubicBezTo>
                      <a:pt x="272" y="745"/>
                      <a:pt x="266" y="738"/>
                      <a:pt x="260" y="736"/>
                    </a:cubicBezTo>
                    <a:cubicBezTo>
                      <a:pt x="251" y="733"/>
                      <a:pt x="243" y="745"/>
                      <a:pt x="234" y="745"/>
                    </a:cubicBezTo>
                    <a:cubicBezTo>
                      <a:pt x="224" y="745"/>
                      <a:pt x="220" y="739"/>
                      <a:pt x="211" y="738"/>
                    </a:cubicBezTo>
                    <a:cubicBezTo>
                      <a:pt x="209" y="737"/>
                      <a:pt x="213" y="740"/>
                      <a:pt x="213" y="740"/>
                    </a:cubicBezTo>
                    <a:cubicBezTo>
                      <a:pt x="218" y="745"/>
                      <a:pt x="208" y="745"/>
                      <a:pt x="205" y="747"/>
                    </a:cubicBezTo>
                    <a:cubicBezTo>
                      <a:pt x="199" y="749"/>
                      <a:pt x="186" y="751"/>
                      <a:pt x="182" y="755"/>
                    </a:cubicBezTo>
                    <a:cubicBezTo>
                      <a:pt x="174" y="763"/>
                      <a:pt x="171" y="775"/>
                      <a:pt x="167" y="779"/>
                    </a:cubicBezTo>
                    <a:cubicBezTo>
                      <a:pt x="156" y="789"/>
                      <a:pt x="133" y="797"/>
                      <a:pt x="132" y="811"/>
                    </a:cubicBezTo>
                    <a:cubicBezTo>
                      <a:pt x="132" y="812"/>
                      <a:pt x="140" y="809"/>
                      <a:pt x="142" y="810"/>
                    </a:cubicBezTo>
                    <a:cubicBezTo>
                      <a:pt x="145" y="810"/>
                      <a:pt x="151" y="812"/>
                      <a:pt x="153" y="812"/>
                    </a:cubicBezTo>
                    <a:cubicBezTo>
                      <a:pt x="153" y="812"/>
                      <a:pt x="154" y="811"/>
                      <a:pt x="154" y="811"/>
                    </a:cubicBezTo>
                    <a:cubicBezTo>
                      <a:pt x="159" y="809"/>
                      <a:pt x="177" y="783"/>
                      <a:pt x="193" y="794"/>
                    </a:cubicBezTo>
                    <a:cubicBezTo>
                      <a:pt x="195" y="794"/>
                      <a:pt x="188" y="797"/>
                      <a:pt x="188" y="798"/>
                    </a:cubicBezTo>
                    <a:cubicBezTo>
                      <a:pt x="180" y="813"/>
                      <a:pt x="199" y="816"/>
                      <a:pt x="200" y="819"/>
                    </a:cubicBezTo>
                    <a:cubicBezTo>
                      <a:pt x="204" y="825"/>
                      <a:pt x="188" y="829"/>
                      <a:pt x="188" y="836"/>
                    </a:cubicBezTo>
                    <a:cubicBezTo>
                      <a:pt x="188" y="841"/>
                      <a:pt x="195" y="845"/>
                      <a:pt x="200" y="843"/>
                    </a:cubicBezTo>
                    <a:cubicBezTo>
                      <a:pt x="200" y="843"/>
                      <a:pt x="205" y="842"/>
                      <a:pt x="204" y="843"/>
                    </a:cubicBezTo>
                    <a:cubicBezTo>
                      <a:pt x="203" y="847"/>
                      <a:pt x="194" y="846"/>
                      <a:pt x="194" y="846"/>
                    </a:cubicBezTo>
                    <a:cubicBezTo>
                      <a:pt x="189" y="857"/>
                      <a:pt x="190" y="869"/>
                      <a:pt x="182" y="880"/>
                    </a:cubicBezTo>
                    <a:cubicBezTo>
                      <a:pt x="175" y="889"/>
                      <a:pt x="114" y="915"/>
                      <a:pt x="112" y="914"/>
                    </a:cubicBezTo>
                    <a:cubicBezTo>
                      <a:pt x="108" y="912"/>
                      <a:pt x="82" y="929"/>
                      <a:pt x="83" y="935"/>
                    </a:cubicBezTo>
                    <a:cubicBezTo>
                      <a:pt x="83" y="940"/>
                      <a:pt x="97" y="931"/>
                      <a:pt x="99" y="937"/>
                    </a:cubicBezTo>
                    <a:cubicBezTo>
                      <a:pt x="104" y="947"/>
                      <a:pt x="89" y="951"/>
                      <a:pt x="91" y="951"/>
                    </a:cubicBezTo>
                    <a:cubicBezTo>
                      <a:pt x="93" y="952"/>
                      <a:pt x="94" y="957"/>
                      <a:pt x="95" y="957"/>
                    </a:cubicBezTo>
                    <a:cubicBezTo>
                      <a:pt x="98" y="956"/>
                      <a:pt x="118" y="956"/>
                      <a:pt x="119" y="949"/>
                    </a:cubicBezTo>
                    <a:cubicBezTo>
                      <a:pt x="120" y="946"/>
                      <a:pt x="127" y="942"/>
                      <a:pt x="126" y="945"/>
                    </a:cubicBezTo>
                    <a:cubicBezTo>
                      <a:pt x="124" y="951"/>
                      <a:pt x="123" y="956"/>
                      <a:pt x="117" y="957"/>
                    </a:cubicBezTo>
                    <a:cubicBezTo>
                      <a:pt x="115" y="957"/>
                      <a:pt x="113" y="958"/>
                      <a:pt x="111" y="958"/>
                    </a:cubicBezTo>
                    <a:cubicBezTo>
                      <a:pt x="110" y="958"/>
                      <a:pt x="106" y="957"/>
                      <a:pt x="106" y="958"/>
                    </a:cubicBezTo>
                    <a:cubicBezTo>
                      <a:pt x="107" y="962"/>
                      <a:pt x="99" y="957"/>
                      <a:pt x="100" y="959"/>
                    </a:cubicBezTo>
                    <a:cubicBezTo>
                      <a:pt x="108" y="984"/>
                      <a:pt x="159" y="945"/>
                      <a:pt x="167" y="945"/>
                    </a:cubicBezTo>
                    <a:cubicBezTo>
                      <a:pt x="171" y="945"/>
                      <a:pt x="166" y="956"/>
                      <a:pt x="171" y="959"/>
                    </a:cubicBezTo>
                    <a:cubicBezTo>
                      <a:pt x="174" y="962"/>
                      <a:pt x="194" y="960"/>
                      <a:pt x="194" y="961"/>
                    </a:cubicBezTo>
                    <a:cubicBezTo>
                      <a:pt x="193" y="968"/>
                      <a:pt x="164" y="965"/>
                      <a:pt x="173" y="975"/>
                    </a:cubicBezTo>
                    <a:cubicBezTo>
                      <a:pt x="185" y="989"/>
                      <a:pt x="202" y="964"/>
                      <a:pt x="214" y="967"/>
                    </a:cubicBezTo>
                    <a:cubicBezTo>
                      <a:pt x="215" y="967"/>
                      <a:pt x="230" y="993"/>
                      <a:pt x="240" y="996"/>
                    </a:cubicBezTo>
                    <a:cubicBezTo>
                      <a:pt x="266" y="1005"/>
                      <a:pt x="275" y="991"/>
                      <a:pt x="290" y="976"/>
                    </a:cubicBezTo>
                    <a:cubicBezTo>
                      <a:pt x="295" y="970"/>
                      <a:pt x="307" y="976"/>
                      <a:pt x="314" y="972"/>
                    </a:cubicBezTo>
                    <a:cubicBezTo>
                      <a:pt x="319" y="969"/>
                      <a:pt x="341" y="943"/>
                      <a:pt x="343" y="947"/>
                    </a:cubicBezTo>
                    <a:cubicBezTo>
                      <a:pt x="344" y="948"/>
                      <a:pt x="344" y="949"/>
                      <a:pt x="344" y="949"/>
                    </a:cubicBezTo>
                    <a:cubicBezTo>
                      <a:pt x="337" y="963"/>
                      <a:pt x="313" y="978"/>
                      <a:pt x="303" y="988"/>
                    </a:cubicBezTo>
                    <a:cubicBezTo>
                      <a:pt x="293" y="999"/>
                      <a:pt x="289" y="1002"/>
                      <a:pt x="288" y="1012"/>
                    </a:cubicBezTo>
                    <a:cubicBezTo>
                      <a:pt x="287" y="1014"/>
                      <a:pt x="288" y="1029"/>
                      <a:pt x="286" y="1021"/>
                    </a:cubicBezTo>
                    <a:cubicBezTo>
                      <a:pt x="286" y="1021"/>
                      <a:pt x="282" y="1022"/>
                      <a:pt x="281" y="1022"/>
                    </a:cubicBezTo>
                    <a:cubicBezTo>
                      <a:pt x="277" y="1022"/>
                      <a:pt x="274" y="1022"/>
                      <a:pt x="269" y="1023"/>
                    </a:cubicBezTo>
                    <a:cubicBezTo>
                      <a:pt x="244" y="1030"/>
                      <a:pt x="205" y="1004"/>
                      <a:pt x="179" y="1024"/>
                    </a:cubicBezTo>
                    <a:cubicBezTo>
                      <a:pt x="175" y="1027"/>
                      <a:pt x="183" y="1036"/>
                      <a:pt x="179" y="1043"/>
                    </a:cubicBezTo>
                    <a:cubicBezTo>
                      <a:pt x="169" y="1056"/>
                      <a:pt x="160" y="1041"/>
                      <a:pt x="153" y="1047"/>
                    </a:cubicBezTo>
                    <a:cubicBezTo>
                      <a:pt x="146" y="1052"/>
                      <a:pt x="153" y="1072"/>
                      <a:pt x="150" y="1078"/>
                    </a:cubicBezTo>
                    <a:cubicBezTo>
                      <a:pt x="146" y="1084"/>
                      <a:pt x="137" y="1089"/>
                      <a:pt x="132" y="1093"/>
                    </a:cubicBezTo>
                    <a:cubicBezTo>
                      <a:pt x="130" y="1094"/>
                      <a:pt x="133" y="1100"/>
                      <a:pt x="130" y="1103"/>
                    </a:cubicBezTo>
                    <a:cubicBezTo>
                      <a:pt x="127" y="1104"/>
                      <a:pt x="118" y="1103"/>
                      <a:pt x="117" y="1103"/>
                    </a:cubicBezTo>
                    <a:cubicBezTo>
                      <a:pt x="114" y="1106"/>
                      <a:pt x="127" y="1110"/>
                      <a:pt x="124" y="1113"/>
                    </a:cubicBezTo>
                    <a:cubicBezTo>
                      <a:pt x="124" y="1114"/>
                      <a:pt x="123" y="1113"/>
                      <a:pt x="123" y="1113"/>
                    </a:cubicBezTo>
                    <a:cubicBezTo>
                      <a:pt x="107" y="1102"/>
                      <a:pt x="102" y="1131"/>
                      <a:pt x="86" y="1145"/>
                    </a:cubicBezTo>
                    <a:cubicBezTo>
                      <a:pt x="76" y="1154"/>
                      <a:pt x="56" y="1149"/>
                      <a:pt x="48" y="1161"/>
                    </a:cubicBezTo>
                    <a:cubicBezTo>
                      <a:pt x="46" y="1164"/>
                      <a:pt x="45" y="1176"/>
                      <a:pt x="51" y="1176"/>
                    </a:cubicBezTo>
                    <a:cubicBezTo>
                      <a:pt x="61" y="1176"/>
                      <a:pt x="62" y="1162"/>
                      <a:pt x="68" y="1164"/>
                    </a:cubicBezTo>
                    <a:cubicBezTo>
                      <a:pt x="79" y="1168"/>
                      <a:pt x="95" y="1188"/>
                      <a:pt x="96" y="1181"/>
                    </a:cubicBezTo>
                    <a:cubicBezTo>
                      <a:pt x="96" y="1180"/>
                      <a:pt x="96" y="1180"/>
                      <a:pt x="96" y="1180"/>
                    </a:cubicBezTo>
                    <a:cubicBezTo>
                      <a:pt x="96" y="1180"/>
                      <a:pt x="98" y="1180"/>
                      <a:pt x="98" y="1180"/>
                    </a:cubicBezTo>
                    <a:cubicBezTo>
                      <a:pt x="104" y="1179"/>
                      <a:pt x="108" y="1172"/>
                      <a:pt x="102" y="1169"/>
                    </a:cubicBezTo>
                    <a:cubicBezTo>
                      <a:pt x="98" y="1167"/>
                      <a:pt x="107" y="1162"/>
                      <a:pt x="106" y="1161"/>
                    </a:cubicBezTo>
                    <a:cubicBezTo>
                      <a:pt x="104" y="1160"/>
                      <a:pt x="105" y="1160"/>
                      <a:pt x="106" y="1159"/>
                    </a:cubicBezTo>
                    <a:cubicBezTo>
                      <a:pt x="111" y="1150"/>
                      <a:pt x="105" y="1162"/>
                      <a:pt x="110" y="1162"/>
                    </a:cubicBezTo>
                    <a:cubicBezTo>
                      <a:pt x="110" y="1162"/>
                      <a:pt x="126" y="1152"/>
                      <a:pt x="128" y="1151"/>
                    </a:cubicBezTo>
                    <a:cubicBezTo>
                      <a:pt x="132" y="1150"/>
                      <a:pt x="129" y="1139"/>
                      <a:pt x="132" y="1138"/>
                    </a:cubicBezTo>
                    <a:cubicBezTo>
                      <a:pt x="134" y="1136"/>
                      <a:pt x="172" y="1132"/>
                      <a:pt x="178" y="1135"/>
                    </a:cubicBezTo>
                    <a:cubicBezTo>
                      <a:pt x="191" y="1143"/>
                      <a:pt x="165" y="1120"/>
                      <a:pt x="185" y="1120"/>
                    </a:cubicBezTo>
                    <a:cubicBezTo>
                      <a:pt x="189" y="1120"/>
                      <a:pt x="182" y="1132"/>
                      <a:pt x="186" y="1133"/>
                    </a:cubicBezTo>
                    <a:cubicBezTo>
                      <a:pt x="195" y="1135"/>
                      <a:pt x="215" y="1157"/>
                      <a:pt x="230" y="1152"/>
                    </a:cubicBezTo>
                    <a:cubicBezTo>
                      <a:pt x="237" y="1150"/>
                      <a:pt x="243" y="1113"/>
                      <a:pt x="247" y="1104"/>
                    </a:cubicBezTo>
                    <a:cubicBezTo>
                      <a:pt x="249" y="1101"/>
                      <a:pt x="243" y="1092"/>
                      <a:pt x="248" y="1092"/>
                    </a:cubicBezTo>
                    <a:cubicBezTo>
                      <a:pt x="250" y="1092"/>
                      <a:pt x="250" y="1100"/>
                      <a:pt x="254" y="1100"/>
                    </a:cubicBezTo>
                    <a:cubicBezTo>
                      <a:pt x="271" y="1099"/>
                      <a:pt x="285" y="1080"/>
                      <a:pt x="304" y="1086"/>
                    </a:cubicBezTo>
                    <a:cubicBezTo>
                      <a:pt x="313" y="1089"/>
                      <a:pt x="321" y="1093"/>
                      <a:pt x="329" y="1098"/>
                    </a:cubicBezTo>
                    <a:cubicBezTo>
                      <a:pt x="333" y="1102"/>
                      <a:pt x="332" y="1112"/>
                      <a:pt x="337" y="1112"/>
                    </a:cubicBezTo>
                    <a:cubicBezTo>
                      <a:pt x="343" y="1112"/>
                      <a:pt x="333" y="1100"/>
                      <a:pt x="339" y="1097"/>
                    </a:cubicBezTo>
                    <a:cubicBezTo>
                      <a:pt x="347" y="1094"/>
                      <a:pt x="378" y="1108"/>
                      <a:pt x="381" y="1102"/>
                    </a:cubicBezTo>
                    <a:cubicBezTo>
                      <a:pt x="387" y="1091"/>
                      <a:pt x="366" y="1088"/>
                      <a:pt x="374" y="1084"/>
                    </a:cubicBezTo>
                    <a:cubicBezTo>
                      <a:pt x="377" y="1082"/>
                      <a:pt x="380" y="1090"/>
                      <a:pt x="383" y="1090"/>
                    </a:cubicBezTo>
                    <a:cubicBezTo>
                      <a:pt x="399" y="1088"/>
                      <a:pt x="432" y="1085"/>
                      <a:pt x="439" y="1075"/>
                    </a:cubicBezTo>
                    <a:cubicBezTo>
                      <a:pt x="440" y="1073"/>
                      <a:pt x="425" y="1060"/>
                      <a:pt x="426" y="1060"/>
                    </a:cubicBezTo>
                    <a:cubicBezTo>
                      <a:pt x="427" y="1058"/>
                      <a:pt x="450" y="1079"/>
                      <a:pt x="454" y="1078"/>
                    </a:cubicBezTo>
                    <a:cubicBezTo>
                      <a:pt x="462" y="1078"/>
                      <a:pt x="445" y="1067"/>
                      <a:pt x="459" y="1069"/>
                    </a:cubicBezTo>
                    <a:cubicBezTo>
                      <a:pt x="464" y="1071"/>
                      <a:pt x="455" y="1078"/>
                      <a:pt x="461" y="1079"/>
                    </a:cubicBezTo>
                    <a:cubicBezTo>
                      <a:pt x="466" y="1080"/>
                      <a:pt x="463" y="1071"/>
                      <a:pt x="470" y="1070"/>
                    </a:cubicBezTo>
                    <a:cubicBezTo>
                      <a:pt x="474" y="1070"/>
                      <a:pt x="475" y="1075"/>
                      <a:pt x="475" y="1073"/>
                    </a:cubicBezTo>
                    <a:cubicBezTo>
                      <a:pt x="476" y="1071"/>
                      <a:pt x="474" y="1077"/>
                      <a:pt x="475" y="1079"/>
                    </a:cubicBezTo>
                    <a:cubicBezTo>
                      <a:pt x="478" y="1087"/>
                      <a:pt x="516" y="1073"/>
                      <a:pt x="533" y="1072"/>
                    </a:cubicBezTo>
                    <a:cubicBezTo>
                      <a:pt x="549" y="1071"/>
                      <a:pt x="563" y="1083"/>
                      <a:pt x="578" y="1084"/>
                    </a:cubicBezTo>
                    <a:cubicBezTo>
                      <a:pt x="584" y="1084"/>
                      <a:pt x="618" y="1057"/>
                      <a:pt x="639" y="1060"/>
                    </a:cubicBezTo>
                    <a:cubicBezTo>
                      <a:pt x="640" y="1061"/>
                      <a:pt x="642" y="1061"/>
                      <a:pt x="643" y="1060"/>
                    </a:cubicBezTo>
                    <a:cubicBezTo>
                      <a:pt x="645" y="1059"/>
                      <a:pt x="643" y="1047"/>
                      <a:pt x="649" y="1043"/>
                    </a:cubicBezTo>
                    <a:cubicBezTo>
                      <a:pt x="657" y="1036"/>
                      <a:pt x="676" y="1039"/>
                      <a:pt x="681" y="1027"/>
                    </a:cubicBezTo>
                    <a:cubicBezTo>
                      <a:pt x="684" y="1020"/>
                      <a:pt x="679" y="1014"/>
                      <a:pt x="679" y="1007"/>
                    </a:cubicBezTo>
                    <a:cubicBezTo>
                      <a:pt x="679" y="1005"/>
                      <a:pt x="687" y="1005"/>
                      <a:pt x="685" y="999"/>
                    </a:cubicBezTo>
                    <a:cubicBezTo>
                      <a:pt x="684" y="996"/>
                      <a:pt x="681" y="997"/>
                      <a:pt x="679" y="998"/>
                    </a:cubicBezTo>
                    <a:cubicBezTo>
                      <a:pt x="668" y="1004"/>
                      <a:pt x="627" y="1007"/>
                      <a:pt x="620" y="996"/>
                    </a:cubicBezTo>
                    <a:cubicBezTo>
                      <a:pt x="619" y="994"/>
                      <a:pt x="606" y="1003"/>
                      <a:pt x="606" y="995"/>
                    </a:cubicBezTo>
                    <a:cubicBezTo>
                      <a:pt x="605" y="992"/>
                      <a:pt x="624" y="992"/>
                      <a:pt x="620" y="988"/>
                    </a:cubicBezTo>
                    <a:cubicBezTo>
                      <a:pt x="616" y="984"/>
                      <a:pt x="600" y="982"/>
                      <a:pt x="597" y="988"/>
                    </a:cubicBezTo>
                    <a:cubicBezTo>
                      <a:pt x="597" y="989"/>
                      <a:pt x="590" y="991"/>
                      <a:pt x="590" y="989"/>
                    </a:cubicBezTo>
                    <a:cubicBezTo>
                      <a:pt x="590" y="975"/>
                      <a:pt x="630" y="987"/>
                      <a:pt x="641" y="968"/>
                    </a:cubicBezTo>
                    <a:cubicBezTo>
                      <a:pt x="645" y="961"/>
                      <a:pt x="638" y="946"/>
                      <a:pt x="626" y="956"/>
                    </a:cubicBezTo>
                    <a:cubicBezTo>
                      <a:pt x="625" y="957"/>
                      <a:pt x="618" y="954"/>
                      <a:pt x="618" y="954"/>
                    </a:cubicBezTo>
                    <a:cubicBezTo>
                      <a:pt x="620" y="950"/>
                      <a:pt x="632" y="952"/>
                      <a:pt x="636" y="949"/>
                    </a:cubicBezTo>
                    <a:cubicBezTo>
                      <a:pt x="637" y="947"/>
                      <a:pt x="641" y="938"/>
                      <a:pt x="643" y="938"/>
                    </a:cubicBezTo>
                    <a:cubicBezTo>
                      <a:pt x="644" y="938"/>
                      <a:pt x="645" y="941"/>
                      <a:pt x="645" y="942"/>
                    </a:cubicBezTo>
                    <a:cubicBezTo>
                      <a:pt x="651" y="948"/>
                      <a:pt x="670" y="947"/>
                      <a:pt x="671" y="934"/>
                    </a:cubicBezTo>
                    <a:cubicBezTo>
                      <a:pt x="672" y="933"/>
                      <a:pt x="661" y="936"/>
                      <a:pt x="664" y="932"/>
                    </a:cubicBezTo>
                    <a:cubicBezTo>
                      <a:pt x="666" y="929"/>
                      <a:pt x="669" y="929"/>
                      <a:pt x="669" y="925"/>
                    </a:cubicBezTo>
                    <a:cubicBezTo>
                      <a:pt x="669" y="925"/>
                      <a:pt x="658" y="926"/>
                      <a:pt x="656" y="926"/>
                    </a:cubicBezTo>
                    <a:cubicBezTo>
                      <a:pt x="653" y="926"/>
                      <a:pt x="650" y="923"/>
                      <a:pt x="655" y="923"/>
                    </a:cubicBezTo>
                    <a:cubicBezTo>
                      <a:pt x="657" y="922"/>
                      <a:pt x="673" y="923"/>
                      <a:pt x="662" y="917"/>
                    </a:cubicBezTo>
                    <a:cubicBezTo>
                      <a:pt x="661" y="917"/>
                      <a:pt x="659" y="914"/>
                      <a:pt x="659" y="913"/>
                    </a:cubicBezTo>
                    <a:cubicBezTo>
                      <a:pt x="663" y="908"/>
                      <a:pt x="671" y="928"/>
                      <a:pt x="677" y="924"/>
                    </a:cubicBezTo>
                    <a:cubicBezTo>
                      <a:pt x="693" y="913"/>
                      <a:pt x="713" y="873"/>
                      <a:pt x="714" y="852"/>
                    </a:cubicBezTo>
                    <a:cubicBezTo>
                      <a:pt x="716" y="793"/>
                      <a:pt x="637" y="778"/>
                      <a:pt x="605" y="787"/>
                    </a:cubicBezTo>
                    <a:cubicBezTo>
                      <a:pt x="596" y="790"/>
                      <a:pt x="596" y="813"/>
                      <a:pt x="590" y="814"/>
                    </a:cubicBezTo>
                    <a:cubicBezTo>
                      <a:pt x="590" y="814"/>
                      <a:pt x="586" y="810"/>
                      <a:pt x="585" y="809"/>
                    </a:cubicBezTo>
                    <a:cubicBezTo>
                      <a:pt x="576" y="806"/>
                      <a:pt x="573" y="802"/>
                      <a:pt x="564" y="797"/>
                    </a:cubicBezTo>
                    <a:cubicBezTo>
                      <a:pt x="562" y="797"/>
                      <a:pt x="557" y="800"/>
                      <a:pt x="556" y="799"/>
                    </a:cubicBezTo>
                    <a:cubicBezTo>
                      <a:pt x="553" y="794"/>
                      <a:pt x="583" y="775"/>
                      <a:pt x="586" y="771"/>
                    </a:cubicBezTo>
                    <a:cubicBezTo>
                      <a:pt x="595" y="758"/>
                      <a:pt x="577" y="730"/>
                      <a:pt x="571" y="721"/>
                    </a:cubicBezTo>
                    <a:cubicBezTo>
                      <a:pt x="571" y="721"/>
                      <a:pt x="569" y="719"/>
                      <a:pt x="569" y="719"/>
                    </a:cubicBezTo>
                    <a:cubicBezTo>
                      <a:pt x="558" y="712"/>
                      <a:pt x="548" y="706"/>
                      <a:pt x="538" y="698"/>
                    </a:cubicBezTo>
                    <a:cubicBezTo>
                      <a:pt x="535" y="695"/>
                      <a:pt x="531" y="690"/>
                      <a:pt x="527" y="689"/>
                    </a:cubicBezTo>
                    <a:cubicBezTo>
                      <a:pt x="518" y="688"/>
                      <a:pt x="510" y="696"/>
                      <a:pt x="503" y="688"/>
                    </a:cubicBezTo>
                    <a:cubicBezTo>
                      <a:pt x="502" y="687"/>
                      <a:pt x="490" y="689"/>
                      <a:pt x="491" y="688"/>
                    </a:cubicBezTo>
                    <a:cubicBezTo>
                      <a:pt x="516" y="669"/>
                      <a:pt x="569" y="706"/>
                      <a:pt x="570" y="703"/>
                    </a:cubicBezTo>
                    <a:cubicBezTo>
                      <a:pt x="573" y="692"/>
                      <a:pt x="545" y="669"/>
                      <a:pt x="541" y="659"/>
                    </a:cubicBezTo>
                    <a:cubicBezTo>
                      <a:pt x="532" y="637"/>
                      <a:pt x="549" y="635"/>
                      <a:pt x="549" y="632"/>
                    </a:cubicBezTo>
                    <a:cubicBezTo>
                      <a:pt x="549" y="631"/>
                      <a:pt x="525" y="616"/>
                      <a:pt x="523" y="614"/>
                    </a:cubicBezTo>
                    <a:cubicBezTo>
                      <a:pt x="515" y="607"/>
                      <a:pt x="515" y="589"/>
                      <a:pt x="506" y="582"/>
                    </a:cubicBezTo>
                    <a:cubicBezTo>
                      <a:pt x="491" y="573"/>
                      <a:pt x="470" y="572"/>
                      <a:pt x="457" y="563"/>
                    </a:cubicBezTo>
                    <a:cubicBezTo>
                      <a:pt x="454" y="561"/>
                      <a:pt x="451" y="568"/>
                      <a:pt x="449" y="563"/>
                    </a:cubicBezTo>
                    <a:cubicBezTo>
                      <a:pt x="447" y="560"/>
                      <a:pt x="451" y="557"/>
                      <a:pt x="452" y="553"/>
                    </a:cubicBezTo>
                    <a:cubicBezTo>
                      <a:pt x="452" y="552"/>
                      <a:pt x="445" y="550"/>
                      <a:pt x="444" y="549"/>
                    </a:cubicBezTo>
                    <a:cubicBezTo>
                      <a:pt x="440" y="543"/>
                      <a:pt x="437" y="535"/>
                      <a:pt x="435" y="527"/>
                    </a:cubicBezTo>
                    <a:cubicBezTo>
                      <a:pt x="432" y="508"/>
                      <a:pt x="421" y="493"/>
                      <a:pt x="416" y="474"/>
                    </a:cubicBezTo>
                    <a:cubicBezTo>
                      <a:pt x="413" y="462"/>
                      <a:pt x="418" y="442"/>
                      <a:pt x="410" y="432"/>
                    </a:cubicBezTo>
                    <a:cubicBezTo>
                      <a:pt x="405" y="424"/>
                      <a:pt x="395" y="426"/>
                      <a:pt x="394" y="424"/>
                    </a:cubicBezTo>
                    <a:cubicBezTo>
                      <a:pt x="384" y="413"/>
                      <a:pt x="375" y="396"/>
                      <a:pt x="366" y="387"/>
                    </a:cubicBezTo>
                    <a:cubicBezTo>
                      <a:pt x="364" y="385"/>
                      <a:pt x="309" y="366"/>
                      <a:pt x="308" y="366"/>
                    </a:cubicBezTo>
                    <a:cubicBezTo>
                      <a:pt x="300" y="366"/>
                      <a:pt x="298" y="378"/>
                      <a:pt x="287" y="381"/>
                    </a:cubicBezTo>
                    <a:cubicBezTo>
                      <a:pt x="275" y="385"/>
                      <a:pt x="216" y="369"/>
                      <a:pt x="214" y="360"/>
                    </a:cubicBezTo>
                    <a:cubicBezTo>
                      <a:pt x="213" y="357"/>
                      <a:pt x="227" y="364"/>
                      <a:pt x="228" y="365"/>
                    </a:cubicBezTo>
                    <a:cubicBezTo>
                      <a:pt x="230" y="367"/>
                      <a:pt x="249" y="372"/>
                      <a:pt x="253" y="373"/>
                    </a:cubicBezTo>
                    <a:cubicBezTo>
                      <a:pt x="254" y="373"/>
                      <a:pt x="260" y="370"/>
                      <a:pt x="261" y="369"/>
                    </a:cubicBezTo>
                    <a:cubicBezTo>
                      <a:pt x="266" y="366"/>
                      <a:pt x="269" y="369"/>
                      <a:pt x="274" y="366"/>
                    </a:cubicBezTo>
                    <a:cubicBezTo>
                      <a:pt x="278" y="364"/>
                      <a:pt x="284" y="350"/>
                      <a:pt x="292" y="346"/>
                    </a:cubicBezTo>
                    <a:cubicBezTo>
                      <a:pt x="302" y="342"/>
                      <a:pt x="309" y="350"/>
                      <a:pt x="320" y="342"/>
                    </a:cubicBezTo>
                    <a:cubicBezTo>
                      <a:pt x="321" y="341"/>
                      <a:pt x="326" y="338"/>
                      <a:pt x="326" y="336"/>
                    </a:cubicBezTo>
                    <a:cubicBezTo>
                      <a:pt x="326" y="330"/>
                      <a:pt x="310" y="328"/>
                      <a:pt x="307" y="327"/>
                    </a:cubicBezTo>
                    <a:cubicBezTo>
                      <a:pt x="300" y="324"/>
                      <a:pt x="313" y="314"/>
                      <a:pt x="297" y="314"/>
                    </a:cubicBezTo>
                    <a:cubicBezTo>
                      <a:pt x="296" y="314"/>
                      <a:pt x="276" y="321"/>
                      <a:pt x="267" y="323"/>
                    </a:cubicBezTo>
                    <a:cubicBezTo>
                      <a:pt x="266" y="324"/>
                      <a:pt x="265" y="324"/>
                      <a:pt x="264" y="325"/>
                    </a:cubicBezTo>
                    <a:cubicBezTo>
                      <a:pt x="264" y="325"/>
                      <a:pt x="265" y="324"/>
                      <a:pt x="267" y="323"/>
                    </a:cubicBezTo>
                    <a:cubicBezTo>
                      <a:pt x="273" y="321"/>
                      <a:pt x="276" y="314"/>
                      <a:pt x="282" y="312"/>
                    </a:cubicBezTo>
                    <a:cubicBezTo>
                      <a:pt x="291" y="308"/>
                      <a:pt x="306" y="313"/>
                      <a:pt x="312" y="311"/>
                    </a:cubicBezTo>
                    <a:cubicBezTo>
                      <a:pt x="334" y="303"/>
                      <a:pt x="367" y="229"/>
                      <a:pt x="372" y="207"/>
                    </a:cubicBezTo>
                    <a:cubicBezTo>
                      <a:pt x="375" y="193"/>
                      <a:pt x="391" y="186"/>
                      <a:pt x="394" y="176"/>
                    </a:cubicBezTo>
                    <a:cubicBezTo>
                      <a:pt x="394" y="175"/>
                      <a:pt x="399" y="170"/>
                      <a:pt x="399" y="170"/>
                    </a:cubicBezTo>
                    <a:cubicBezTo>
                      <a:pt x="393" y="163"/>
                      <a:pt x="393" y="142"/>
                      <a:pt x="378" y="138"/>
                    </a:cubicBezTo>
                    <a:cubicBezTo>
                      <a:pt x="364" y="134"/>
                      <a:pt x="343" y="144"/>
                      <a:pt x="331" y="143"/>
                    </a:cubicBezTo>
                    <a:cubicBezTo>
                      <a:pt x="306" y="142"/>
                      <a:pt x="276" y="135"/>
                      <a:pt x="248" y="136"/>
                    </a:cubicBezTo>
                    <a:cubicBezTo>
                      <a:pt x="237" y="137"/>
                      <a:pt x="239" y="150"/>
                      <a:pt x="233" y="143"/>
                    </a:cubicBezTo>
                    <a:cubicBezTo>
                      <a:pt x="230" y="140"/>
                      <a:pt x="215" y="152"/>
                      <a:pt x="212" y="153"/>
                    </a:cubicBezTo>
                    <a:cubicBezTo>
                      <a:pt x="210" y="154"/>
                      <a:pt x="192" y="151"/>
                      <a:pt x="192" y="154"/>
                    </a:cubicBezTo>
                    <a:cubicBezTo>
                      <a:pt x="190" y="168"/>
                      <a:pt x="176" y="165"/>
                      <a:pt x="179" y="163"/>
                    </a:cubicBezTo>
                    <a:cubicBezTo>
                      <a:pt x="184" y="160"/>
                      <a:pt x="176" y="159"/>
                      <a:pt x="176" y="159"/>
                    </a:cubicBezTo>
                    <a:cubicBezTo>
                      <a:pt x="178" y="155"/>
                      <a:pt x="190" y="156"/>
                      <a:pt x="194" y="147"/>
                    </a:cubicBezTo>
                    <a:cubicBezTo>
                      <a:pt x="194" y="146"/>
                      <a:pt x="201" y="142"/>
                      <a:pt x="200" y="140"/>
                    </a:cubicBezTo>
                    <a:cubicBezTo>
                      <a:pt x="196" y="137"/>
                      <a:pt x="173" y="145"/>
                      <a:pt x="169" y="150"/>
                    </a:cubicBezTo>
                    <a:cubicBezTo>
                      <a:pt x="169" y="151"/>
                      <a:pt x="161" y="157"/>
                      <a:pt x="161" y="155"/>
                    </a:cubicBezTo>
                    <a:cubicBezTo>
                      <a:pt x="157" y="138"/>
                      <a:pt x="217" y="141"/>
                      <a:pt x="220" y="116"/>
                    </a:cubicBezTo>
                    <a:cubicBezTo>
                      <a:pt x="220" y="114"/>
                      <a:pt x="209" y="123"/>
                      <a:pt x="205" y="123"/>
                    </a:cubicBezTo>
                    <a:cubicBezTo>
                      <a:pt x="193" y="123"/>
                      <a:pt x="167" y="114"/>
                      <a:pt x="167" y="113"/>
                    </a:cubicBezTo>
                    <a:cubicBezTo>
                      <a:pt x="167" y="112"/>
                      <a:pt x="164" y="109"/>
                      <a:pt x="164" y="109"/>
                    </a:cubicBezTo>
                    <a:cubicBezTo>
                      <a:pt x="166" y="108"/>
                      <a:pt x="168" y="110"/>
                      <a:pt x="168" y="111"/>
                    </a:cubicBezTo>
                    <a:cubicBezTo>
                      <a:pt x="170" y="115"/>
                      <a:pt x="194" y="118"/>
                      <a:pt x="198" y="115"/>
                    </a:cubicBezTo>
                    <a:cubicBezTo>
                      <a:pt x="209" y="107"/>
                      <a:pt x="182" y="104"/>
                      <a:pt x="196" y="103"/>
                    </a:cubicBezTo>
                    <a:cubicBezTo>
                      <a:pt x="198" y="102"/>
                      <a:pt x="198" y="105"/>
                      <a:pt x="199" y="104"/>
                    </a:cubicBezTo>
                    <a:cubicBezTo>
                      <a:pt x="212" y="97"/>
                      <a:pt x="282" y="43"/>
                      <a:pt x="284" y="31"/>
                    </a:cubicBezTo>
                    <a:cubicBezTo>
                      <a:pt x="284" y="25"/>
                      <a:pt x="279" y="31"/>
                      <a:pt x="277" y="27"/>
                    </a:cubicBezTo>
                    <a:cubicBezTo>
                      <a:pt x="276" y="23"/>
                      <a:pt x="290" y="5"/>
                      <a:pt x="286" y="4"/>
                    </a:cubicBezTo>
                    <a:cubicBezTo>
                      <a:pt x="280" y="3"/>
                      <a:pt x="259" y="0"/>
                      <a:pt x="255" y="0"/>
                    </a:cubicBezTo>
                    <a:cubicBezTo>
                      <a:pt x="246" y="1"/>
                      <a:pt x="261" y="10"/>
                      <a:pt x="256" y="11"/>
                    </a:cubicBezTo>
                    <a:cubicBezTo>
                      <a:pt x="246" y="14"/>
                      <a:pt x="240" y="7"/>
                      <a:pt x="230" y="8"/>
                    </a:cubicBezTo>
                    <a:cubicBezTo>
                      <a:pt x="224" y="9"/>
                      <a:pt x="219" y="16"/>
                      <a:pt x="213" y="16"/>
                    </a:cubicBezTo>
                    <a:cubicBezTo>
                      <a:pt x="207" y="17"/>
                      <a:pt x="202" y="9"/>
                      <a:pt x="197" y="11"/>
                    </a:cubicBezTo>
                    <a:cubicBezTo>
                      <a:pt x="191" y="14"/>
                      <a:pt x="179" y="22"/>
                      <a:pt x="178" y="22"/>
                    </a:cubicBezTo>
                    <a:cubicBezTo>
                      <a:pt x="174" y="22"/>
                      <a:pt x="173" y="18"/>
                      <a:pt x="167" y="20"/>
                    </a:cubicBezTo>
                    <a:cubicBezTo>
                      <a:pt x="163" y="22"/>
                      <a:pt x="159" y="33"/>
                      <a:pt x="156" y="33"/>
                    </a:cubicBezTo>
                    <a:cubicBezTo>
                      <a:pt x="150" y="32"/>
                      <a:pt x="165" y="19"/>
                      <a:pt x="160" y="18"/>
                    </a:cubicBezTo>
                    <a:cubicBezTo>
                      <a:pt x="146" y="13"/>
                      <a:pt x="145" y="21"/>
                      <a:pt x="135" y="31"/>
                    </a:cubicBezTo>
                    <a:cubicBezTo>
                      <a:pt x="134" y="31"/>
                      <a:pt x="132" y="34"/>
                      <a:pt x="131" y="33"/>
                    </a:cubicBezTo>
                    <a:cubicBezTo>
                      <a:pt x="131" y="32"/>
                      <a:pt x="132" y="29"/>
                      <a:pt x="133" y="28"/>
                    </a:cubicBezTo>
                    <a:cubicBezTo>
                      <a:pt x="134" y="27"/>
                      <a:pt x="134" y="25"/>
                      <a:pt x="135" y="24"/>
                    </a:cubicBezTo>
                    <a:cubicBezTo>
                      <a:pt x="136" y="23"/>
                      <a:pt x="137" y="22"/>
                      <a:pt x="138" y="21"/>
                    </a:cubicBezTo>
                    <a:cubicBezTo>
                      <a:pt x="138" y="21"/>
                      <a:pt x="139" y="21"/>
                      <a:pt x="139" y="20"/>
                    </a:cubicBezTo>
                    <a:cubicBezTo>
                      <a:pt x="141" y="16"/>
                      <a:pt x="137" y="18"/>
                      <a:pt x="136" y="16"/>
                    </a:cubicBezTo>
                    <a:cubicBezTo>
                      <a:pt x="128" y="3"/>
                      <a:pt x="133" y="19"/>
                      <a:pt x="127" y="22"/>
                    </a:cubicBezTo>
                    <a:cubicBezTo>
                      <a:pt x="124" y="23"/>
                      <a:pt x="128" y="14"/>
                      <a:pt x="126" y="11"/>
                    </a:cubicBezTo>
                    <a:cubicBezTo>
                      <a:pt x="125" y="9"/>
                      <a:pt x="111" y="6"/>
                      <a:pt x="110" y="7"/>
                    </a:cubicBezTo>
                    <a:cubicBezTo>
                      <a:pt x="106" y="11"/>
                      <a:pt x="101" y="27"/>
                      <a:pt x="104" y="29"/>
                    </a:cubicBezTo>
                    <a:cubicBezTo>
                      <a:pt x="114" y="38"/>
                      <a:pt x="98" y="34"/>
                      <a:pt x="103" y="36"/>
                    </a:cubicBezTo>
                    <a:cubicBezTo>
                      <a:pt x="105" y="37"/>
                      <a:pt x="110" y="40"/>
                      <a:pt x="108" y="42"/>
                    </a:cubicBezTo>
                    <a:cubicBezTo>
                      <a:pt x="106" y="44"/>
                      <a:pt x="99" y="36"/>
                      <a:pt x="97" y="38"/>
                    </a:cubicBezTo>
                    <a:cubicBezTo>
                      <a:pt x="95" y="40"/>
                      <a:pt x="96" y="43"/>
                      <a:pt x="95" y="46"/>
                    </a:cubicBezTo>
                    <a:cubicBezTo>
                      <a:pt x="92" y="52"/>
                      <a:pt x="101" y="54"/>
                      <a:pt x="113" y="61"/>
                    </a:cubicBezTo>
                    <a:cubicBezTo>
                      <a:pt x="113" y="62"/>
                      <a:pt x="117" y="63"/>
                      <a:pt x="116" y="64"/>
                    </a:cubicBezTo>
                    <a:cubicBezTo>
                      <a:pt x="115" y="64"/>
                      <a:pt x="113" y="63"/>
                      <a:pt x="113" y="63"/>
                    </a:cubicBezTo>
                    <a:cubicBezTo>
                      <a:pt x="109" y="61"/>
                      <a:pt x="77" y="58"/>
                      <a:pt x="75" y="59"/>
                    </a:cubicBezTo>
                    <a:cubicBezTo>
                      <a:pt x="69" y="63"/>
                      <a:pt x="91" y="68"/>
                      <a:pt x="88" y="75"/>
                    </a:cubicBezTo>
                    <a:cubicBezTo>
                      <a:pt x="87" y="79"/>
                      <a:pt x="87" y="86"/>
                      <a:pt x="83" y="86"/>
                    </a:cubicBezTo>
                    <a:cubicBezTo>
                      <a:pt x="82" y="86"/>
                      <a:pt x="71" y="80"/>
                      <a:pt x="70" y="84"/>
                    </a:cubicBezTo>
                    <a:cubicBezTo>
                      <a:pt x="69" y="88"/>
                      <a:pt x="106" y="114"/>
                      <a:pt x="104" y="120"/>
                    </a:cubicBezTo>
                    <a:cubicBezTo>
                      <a:pt x="103" y="122"/>
                      <a:pt x="100" y="114"/>
                      <a:pt x="97" y="113"/>
                    </a:cubicBezTo>
                    <a:cubicBezTo>
                      <a:pt x="91" y="111"/>
                      <a:pt x="78" y="102"/>
                      <a:pt x="75" y="105"/>
                    </a:cubicBezTo>
                    <a:cubicBezTo>
                      <a:pt x="74" y="106"/>
                      <a:pt x="91" y="117"/>
                      <a:pt x="90" y="117"/>
                    </a:cubicBezTo>
                    <a:cubicBezTo>
                      <a:pt x="88" y="119"/>
                      <a:pt x="80" y="112"/>
                      <a:pt x="78" y="111"/>
                    </a:cubicBezTo>
                    <a:cubicBezTo>
                      <a:pt x="73" y="108"/>
                      <a:pt x="60" y="124"/>
                      <a:pt x="61" y="108"/>
                    </a:cubicBezTo>
                    <a:cubicBezTo>
                      <a:pt x="61" y="107"/>
                      <a:pt x="58" y="109"/>
                      <a:pt x="57" y="108"/>
                    </a:cubicBezTo>
                    <a:cubicBezTo>
                      <a:pt x="57" y="108"/>
                      <a:pt x="56" y="106"/>
                      <a:pt x="56" y="106"/>
                    </a:cubicBezTo>
                    <a:cubicBezTo>
                      <a:pt x="54" y="106"/>
                      <a:pt x="57" y="128"/>
                      <a:pt x="56" y="128"/>
                    </a:cubicBezTo>
                    <a:cubicBezTo>
                      <a:pt x="52" y="130"/>
                      <a:pt x="47" y="102"/>
                      <a:pt x="39" y="116"/>
                    </a:cubicBezTo>
                    <a:cubicBezTo>
                      <a:pt x="31" y="130"/>
                      <a:pt x="49" y="130"/>
                      <a:pt x="50" y="137"/>
                    </a:cubicBezTo>
                    <a:cubicBezTo>
                      <a:pt x="51" y="141"/>
                      <a:pt x="42" y="139"/>
                      <a:pt x="40" y="142"/>
                    </a:cubicBezTo>
                    <a:cubicBezTo>
                      <a:pt x="33" y="147"/>
                      <a:pt x="53" y="158"/>
                      <a:pt x="58" y="158"/>
                    </a:cubicBezTo>
                    <a:cubicBezTo>
                      <a:pt x="60" y="158"/>
                      <a:pt x="65" y="157"/>
                      <a:pt x="65" y="161"/>
                    </a:cubicBezTo>
                    <a:cubicBezTo>
                      <a:pt x="65" y="162"/>
                      <a:pt x="56" y="161"/>
                      <a:pt x="55" y="162"/>
                    </a:cubicBezTo>
                    <a:cubicBezTo>
                      <a:pt x="52" y="165"/>
                      <a:pt x="37" y="153"/>
                      <a:pt x="35" y="155"/>
                    </a:cubicBezTo>
                    <a:cubicBezTo>
                      <a:pt x="32" y="161"/>
                      <a:pt x="34" y="186"/>
                      <a:pt x="41" y="188"/>
                    </a:cubicBezTo>
                    <a:close/>
                    <a:moveTo>
                      <a:pt x="107" y="321"/>
                    </a:moveTo>
                    <a:cubicBezTo>
                      <a:pt x="95" y="329"/>
                      <a:pt x="90" y="340"/>
                      <a:pt x="78" y="348"/>
                    </a:cubicBezTo>
                    <a:cubicBezTo>
                      <a:pt x="78" y="348"/>
                      <a:pt x="74" y="351"/>
                      <a:pt x="73" y="350"/>
                    </a:cubicBezTo>
                    <a:cubicBezTo>
                      <a:pt x="73" y="349"/>
                      <a:pt x="82" y="344"/>
                      <a:pt x="83" y="343"/>
                    </a:cubicBezTo>
                    <a:cubicBezTo>
                      <a:pt x="89" y="334"/>
                      <a:pt x="104" y="313"/>
                      <a:pt x="107" y="321"/>
                    </a:cubicBezTo>
                    <a:close/>
                    <a:moveTo>
                      <a:pt x="181" y="304"/>
                    </a:moveTo>
                    <a:cubicBezTo>
                      <a:pt x="187" y="302"/>
                      <a:pt x="189" y="295"/>
                      <a:pt x="195" y="293"/>
                    </a:cubicBezTo>
                    <a:cubicBezTo>
                      <a:pt x="195" y="293"/>
                      <a:pt x="195" y="293"/>
                      <a:pt x="195" y="293"/>
                    </a:cubicBezTo>
                    <a:cubicBezTo>
                      <a:pt x="207" y="291"/>
                      <a:pt x="174" y="313"/>
                      <a:pt x="172" y="309"/>
                    </a:cubicBezTo>
                    <a:cubicBezTo>
                      <a:pt x="171" y="307"/>
                      <a:pt x="180" y="305"/>
                      <a:pt x="181" y="30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2" name="Freeform 837"/>
              <p:cNvSpPr>
                <a:spLocks/>
              </p:cNvSpPr>
              <p:nvPr/>
            </p:nvSpPr>
            <p:spPr bwMode="auto">
              <a:xfrm>
                <a:off x="2039" y="2620"/>
                <a:ext cx="19" cy="15"/>
              </a:xfrm>
              <a:custGeom>
                <a:avLst/>
                <a:gdLst>
                  <a:gd name="T0" fmla="*/ 15 w 29"/>
                  <a:gd name="T1" fmla="*/ 20 h 23"/>
                  <a:gd name="T2" fmla="*/ 15 w 29"/>
                  <a:gd name="T3" fmla="*/ 20 h 23"/>
                  <a:gd name="T4" fmla="*/ 28 w 29"/>
                  <a:gd name="T5" fmla="*/ 19 h 23"/>
                  <a:gd name="T6" fmla="*/ 15 w 29"/>
                  <a:gd name="T7" fmla="*/ 2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23">
                    <a:moveTo>
                      <a:pt x="15" y="20"/>
                    </a:moveTo>
                    <a:cubicBezTo>
                      <a:pt x="15" y="20"/>
                      <a:pt x="15" y="20"/>
                      <a:pt x="15" y="20"/>
                    </a:cubicBezTo>
                    <a:cubicBezTo>
                      <a:pt x="17" y="20"/>
                      <a:pt x="29" y="23"/>
                      <a:pt x="28" y="19"/>
                    </a:cubicBezTo>
                    <a:cubicBezTo>
                      <a:pt x="23" y="0"/>
                      <a:pt x="0" y="20"/>
                      <a:pt x="15" y="2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3" name="Freeform 838"/>
              <p:cNvSpPr>
                <a:spLocks/>
              </p:cNvSpPr>
              <p:nvPr/>
            </p:nvSpPr>
            <p:spPr bwMode="auto">
              <a:xfrm>
                <a:off x="1807" y="2191"/>
                <a:ext cx="2" cy="1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2 h 2"/>
                  <a:gd name="T4" fmla="*/ 3 w 3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cubicBezTo>
                      <a:pt x="1" y="1"/>
                      <a:pt x="0" y="2"/>
                      <a:pt x="0" y="2"/>
                    </a:cubicBezTo>
                    <a:cubicBezTo>
                      <a:pt x="1" y="1"/>
                      <a:pt x="2" y="1"/>
                      <a:pt x="3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4" name="Freeform 839"/>
              <p:cNvSpPr>
                <a:spLocks/>
              </p:cNvSpPr>
              <p:nvPr/>
            </p:nvSpPr>
            <p:spPr bwMode="auto">
              <a:xfrm>
                <a:off x="1820" y="1963"/>
                <a:ext cx="9" cy="12"/>
              </a:xfrm>
              <a:custGeom>
                <a:avLst/>
                <a:gdLst>
                  <a:gd name="T0" fmla="*/ 12 w 13"/>
                  <a:gd name="T1" fmla="*/ 1 h 18"/>
                  <a:gd name="T2" fmla="*/ 1 w 13"/>
                  <a:gd name="T3" fmla="*/ 3 h 18"/>
                  <a:gd name="T4" fmla="*/ 6 w 13"/>
                  <a:gd name="T5" fmla="*/ 4 h 18"/>
                  <a:gd name="T6" fmla="*/ 3 w 13"/>
                  <a:gd name="T7" fmla="*/ 7 h 18"/>
                  <a:gd name="T8" fmla="*/ 4 w 13"/>
                  <a:gd name="T9" fmla="*/ 7 h 18"/>
                  <a:gd name="T10" fmla="*/ 10 w 13"/>
                  <a:gd name="T11" fmla="*/ 16 h 18"/>
                  <a:gd name="T12" fmla="*/ 10 w 13"/>
                  <a:gd name="T13" fmla="*/ 13 h 18"/>
                  <a:gd name="T14" fmla="*/ 12 w 13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8">
                    <a:moveTo>
                      <a:pt x="12" y="1"/>
                    </a:moveTo>
                    <a:cubicBezTo>
                      <a:pt x="11" y="0"/>
                      <a:pt x="0" y="1"/>
                      <a:pt x="1" y="3"/>
                    </a:cubicBezTo>
                    <a:cubicBezTo>
                      <a:pt x="1" y="4"/>
                      <a:pt x="6" y="2"/>
                      <a:pt x="6" y="4"/>
                    </a:cubicBezTo>
                    <a:cubicBezTo>
                      <a:pt x="6" y="6"/>
                      <a:pt x="0" y="5"/>
                      <a:pt x="3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9"/>
                      <a:pt x="5" y="18"/>
                      <a:pt x="10" y="16"/>
                    </a:cubicBezTo>
                    <a:cubicBezTo>
                      <a:pt x="11" y="16"/>
                      <a:pt x="11" y="13"/>
                      <a:pt x="10" y="13"/>
                    </a:cubicBezTo>
                    <a:cubicBezTo>
                      <a:pt x="10" y="10"/>
                      <a:pt x="13" y="2"/>
                      <a:pt x="12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5" name="Freeform 840"/>
              <p:cNvSpPr>
                <a:spLocks/>
              </p:cNvSpPr>
              <p:nvPr/>
            </p:nvSpPr>
            <p:spPr bwMode="auto">
              <a:xfrm>
                <a:off x="1800" y="1951"/>
                <a:ext cx="18" cy="19"/>
              </a:xfrm>
              <a:custGeom>
                <a:avLst/>
                <a:gdLst>
                  <a:gd name="T0" fmla="*/ 5 w 27"/>
                  <a:gd name="T1" fmla="*/ 15 h 29"/>
                  <a:gd name="T2" fmla="*/ 12 w 27"/>
                  <a:gd name="T3" fmla="*/ 28 h 29"/>
                  <a:gd name="T4" fmla="*/ 24 w 27"/>
                  <a:gd name="T5" fmla="*/ 27 h 29"/>
                  <a:gd name="T6" fmla="*/ 17 w 27"/>
                  <a:gd name="T7" fmla="*/ 25 h 29"/>
                  <a:gd name="T8" fmla="*/ 21 w 27"/>
                  <a:gd name="T9" fmla="*/ 22 h 29"/>
                  <a:gd name="T10" fmla="*/ 20 w 27"/>
                  <a:gd name="T11" fmla="*/ 17 h 29"/>
                  <a:gd name="T12" fmla="*/ 2 w 27"/>
                  <a:gd name="T13" fmla="*/ 13 h 29"/>
                  <a:gd name="T14" fmla="*/ 5 w 27"/>
                  <a:gd name="T15" fmla="*/ 1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9">
                    <a:moveTo>
                      <a:pt x="5" y="15"/>
                    </a:moveTo>
                    <a:cubicBezTo>
                      <a:pt x="6" y="14"/>
                      <a:pt x="10" y="26"/>
                      <a:pt x="12" y="28"/>
                    </a:cubicBezTo>
                    <a:cubicBezTo>
                      <a:pt x="13" y="29"/>
                      <a:pt x="23" y="29"/>
                      <a:pt x="24" y="27"/>
                    </a:cubicBezTo>
                    <a:cubicBezTo>
                      <a:pt x="27" y="20"/>
                      <a:pt x="18" y="27"/>
                      <a:pt x="17" y="25"/>
                    </a:cubicBezTo>
                    <a:cubicBezTo>
                      <a:pt x="15" y="23"/>
                      <a:pt x="21" y="23"/>
                      <a:pt x="21" y="22"/>
                    </a:cubicBezTo>
                    <a:cubicBezTo>
                      <a:pt x="23" y="21"/>
                      <a:pt x="17" y="20"/>
                      <a:pt x="20" y="17"/>
                    </a:cubicBezTo>
                    <a:cubicBezTo>
                      <a:pt x="18" y="10"/>
                      <a:pt x="0" y="0"/>
                      <a:pt x="2" y="13"/>
                    </a:cubicBezTo>
                    <a:cubicBezTo>
                      <a:pt x="2" y="15"/>
                      <a:pt x="4" y="15"/>
                      <a:pt x="5" y="1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6" name="Freeform 841"/>
              <p:cNvSpPr>
                <a:spLocks/>
              </p:cNvSpPr>
              <p:nvPr/>
            </p:nvSpPr>
            <p:spPr bwMode="auto">
              <a:xfrm>
                <a:off x="1909" y="2688"/>
                <a:ext cx="30" cy="19"/>
              </a:xfrm>
              <a:custGeom>
                <a:avLst/>
                <a:gdLst>
                  <a:gd name="T0" fmla="*/ 24 w 46"/>
                  <a:gd name="T1" fmla="*/ 1 h 29"/>
                  <a:gd name="T2" fmla="*/ 13 w 46"/>
                  <a:gd name="T3" fmla="*/ 7 h 29"/>
                  <a:gd name="T4" fmla="*/ 2 w 46"/>
                  <a:gd name="T5" fmla="*/ 17 h 29"/>
                  <a:gd name="T6" fmla="*/ 8 w 46"/>
                  <a:gd name="T7" fmla="*/ 15 h 29"/>
                  <a:gd name="T8" fmla="*/ 17 w 46"/>
                  <a:gd name="T9" fmla="*/ 20 h 29"/>
                  <a:gd name="T10" fmla="*/ 35 w 46"/>
                  <a:gd name="T11" fmla="*/ 25 h 29"/>
                  <a:gd name="T12" fmla="*/ 45 w 46"/>
                  <a:gd name="T13" fmla="*/ 13 h 29"/>
                  <a:gd name="T14" fmla="*/ 45 w 46"/>
                  <a:gd name="T15" fmla="*/ 14 h 29"/>
                  <a:gd name="T16" fmla="*/ 24 w 46"/>
                  <a:gd name="T17" fmla="*/ 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29">
                    <a:moveTo>
                      <a:pt x="24" y="1"/>
                    </a:moveTo>
                    <a:cubicBezTo>
                      <a:pt x="20" y="2"/>
                      <a:pt x="18" y="6"/>
                      <a:pt x="13" y="7"/>
                    </a:cubicBezTo>
                    <a:cubicBezTo>
                      <a:pt x="11" y="8"/>
                      <a:pt x="0" y="16"/>
                      <a:pt x="2" y="17"/>
                    </a:cubicBezTo>
                    <a:cubicBezTo>
                      <a:pt x="3" y="17"/>
                      <a:pt x="6" y="15"/>
                      <a:pt x="8" y="15"/>
                    </a:cubicBezTo>
                    <a:cubicBezTo>
                      <a:pt x="11" y="16"/>
                      <a:pt x="14" y="19"/>
                      <a:pt x="17" y="20"/>
                    </a:cubicBezTo>
                    <a:cubicBezTo>
                      <a:pt x="24" y="24"/>
                      <a:pt x="26" y="29"/>
                      <a:pt x="35" y="25"/>
                    </a:cubicBezTo>
                    <a:cubicBezTo>
                      <a:pt x="40" y="23"/>
                      <a:pt x="38" y="17"/>
                      <a:pt x="45" y="13"/>
                    </a:cubicBezTo>
                    <a:cubicBezTo>
                      <a:pt x="45" y="14"/>
                      <a:pt x="45" y="14"/>
                      <a:pt x="45" y="14"/>
                    </a:cubicBezTo>
                    <a:cubicBezTo>
                      <a:pt x="46" y="8"/>
                      <a:pt x="30" y="0"/>
                      <a:pt x="24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7" name="Freeform 842"/>
              <p:cNvSpPr>
                <a:spLocks/>
              </p:cNvSpPr>
              <p:nvPr/>
            </p:nvSpPr>
            <p:spPr bwMode="auto">
              <a:xfrm>
                <a:off x="1868" y="2776"/>
                <a:ext cx="5" cy="4"/>
              </a:xfrm>
              <a:custGeom>
                <a:avLst/>
                <a:gdLst>
                  <a:gd name="T0" fmla="*/ 3 w 7"/>
                  <a:gd name="T1" fmla="*/ 1 h 5"/>
                  <a:gd name="T2" fmla="*/ 3 w 7"/>
                  <a:gd name="T3" fmla="*/ 1 h 5"/>
                  <a:gd name="T4" fmla="*/ 3 w 7"/>
                  <a:gd name="T5" fmla="*/ 1 h 5"/>
                  <a:gd name="T6" fmla="*/ 3 w 7"/>
                  <a:gd name="T7" fmla="*/ 2 h 5"/>
                  <a:gd name="T8" fmla="*/ 3 w 7"/>
                  <a:gd name="T9" fmla="*/ 2 h 5"/>
                  <a:gd name="T10" fmla="*/ 3 w 7"/>
                  <a:gd name="T11" fmla="*/ 2 h 5"/>
                  <a:gd name="T12" fmla="*/ 2 w 7"/>
                  <a:gd name="T13" fmla="*/ 2 h 5"/>
                  <a:gd name="T14" fmla="*/ 2 w 7"/>
                  <a:gd name="T15" fmla="*/ 2 h 5"/>
                  <a:gd name="T16" fmla="*/ 2 w 7"/>
                  <a:gd name="T17" fmla="*/ 2 h 5"/>
                  <a:gd name="T18" fmla="*/ 2 w 7"/>
                  <a:gd name="T19" fmla="*/ 2 h 5"/>
                  <a:gd name="T20" fmla="*/ 1 w 7"/>
                  <a:gd name="T21" fmla="*/ 2 h 5"/>
                  <a:gd name="T22" fmla="*/ 0 w 7"/>
                  <a:gd name="T23" fmla="*/ 3 h 5"/>
                  <a:gd name="T24" fmla="*/ 0 w 7"/>
                  <a:gd name="T25" fmla="*/ 4 h 5"/>
                  <a:gd name="T26" fmla="*/ 1 w 7"/>
                  <a:gd name="T27" fmla="*/ 4 h 5"/>
                  <a:gd name="T28" fmla="*/ 1 w 7"/>
                  <a:gd name="T29" fmla="*/ 4 h 5"/>
                  <a:gd name="T30" fmla="*/ 1 w 7"/>
                  <a:gd name="T31" fmla="*/ 4 h 5"/>
                  <a:gd name="T32" fmla="*/ 1 w 7"/>
                  <a:gd name="T33" fmla="*/ 4 h 5"/>
                  <a:gd name="T34" fmla="*/ 3 w 7"/>
                  <a:gd name="T35" fmla="*/ 4 h 5"/>
                  <a:gd name="T36" fmla="*/ 4 w 7"/>
                  <a:gd name="T37" fmla="*/ 4 h 5"/>
                  <a:gd name="T38" fmla="*/ 5 w 7"/>
                  <a:gd name="T39" fmla="*/ 3 h 5"/>
                  <a:gd name="T40" fmla="*/ 5 w 7"/>
                  <a:gd name="T41" fmla="*/ 3 h 5"/>
                  <a:gd name="T42" fmla="*/ 5 w 7"/>
                  <a:gd name="T43" fmla="*/ 3 h 5"/>
                  <a:gd name="T44" fmla="*/ 6 w 7"/>
                  <a:gd name="T45" fmla="*/ 3 h 5"/>
                  <a:gd name="T46" fmla="*/ 6 w 7"/>
                  <a:gd name="T47" fmla="*/ 2 h 5"/>
                  <a:gd name="T48" fmla="*/ 6 w 7"/>
                  <a:gd name="T49" fmla="*/ 2 h 5"/>
                  <a:gd name="T50" fmla="*/ 7 w 7"/>
                  <a:gd name="T51" fmla="*/ 1 h 5"/>
                  <a:gd name="T52" fmla="*/ 6 w 7"/>
                  <a:gd name="T53" fmla="*/ 1 h 5"/>
                  <a:gd name="T54" fmla="*/ 5 w 7"/>
                  <a:gd name="T55" fmla="*/ 0 h 5"/>
                  <a:gd name="T56" fmla="*/ 5 w 7"/>
                  <a:gd name="T57" fmla="*/ 1 h 5"/>
                  <a:gd name="T58" fmla="*/ 4 w 7"/>
                  <a:gd name="T59" fmla="*/ 1 h 5"/>
                  <a:gd name="T60" fmla="*/ 4 w 7"/>
                  <a:gd name="T61" fmla="*/ 2 h 5"/>
                  <a:gd name="T62" fmla="*/ 3 w 7"/>
                  <a:gd name="T6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" h="5">
                    <a:moveTo>
                      <a:pt x="3" y="1"/>
                    </a:moveTo>
                    <a:cubicBezTo>
                      <a:pt x="3" y="1"/>
                      <a:pt x="3" y="2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0" y="3"/>
                      <a:pt x="0" y="3"/>
                    </a:cubicBezTo>
                    <a:cubicBezTo>
                      <a:pt x="0" y="3"/>
                      <a:pt x="0" y="4"/>
                      <a:pt x="0" y="4"/>
                    </a:cubicBezTo>
                    <a:cubicBezTo>
                      <a:pt x="0" y="4"/>
                      <a:pt x="0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2" y="5"/>
                      <a:pt x="3" y="4"/>
                      <a:pt x="3" y="4"/>
                    </a:cubicBezTo>
                    <a:cubicBezTo>
                      <a:pt x="3" y="4"/>
                      <a:pt x="4" y="4"/>
                      <a:pt x="4" y="4"/>
                    </a:cubicBezTo>
                    <a:cubicBezTo>
                      <a:pt x="4" y="4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3"/>
                      <a:pt x="6" y="2"/>
                      <a:pt x="6" y="2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7" y="2"/>
                      <a:pt x="7" y="1"/>
                      <a:pt x="7" y="1"/>
                    </a:cubicBezTo>
                    <a:cubicBezTo>
                      <a:pt x="7" y="0"/>
                      <a:pt x="6" y="1"/>
                      <a:pt x="6" y="1"/>
                    </a:cubicBezTo>
                    <a:cubicBezTo>
                      <a:pt x="6" y="1"/>
                      <a:pt x="6" y="0"/>
                      <a:pt x="5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4" y="1"/>
                      <a:pt x="5" y="2"/>
                      <a:pt x="4" y="2"/>
                    </a:cubicBezTo>
                    <a:cubicBezTo>
                      <a:pt x="4" y="2"/>
                      <a:pt x="3" y="1"/>
                      <a:pt x="3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8" name="Freeform 843"/>
              <p:cNvSpPr>
                <a:spLocks/>
              </p:cNvSpPr>
              <p:nvPr/>
            </p:nvSpPr>
            <p:spPr bwMode="auto">
              <a:xfrm>
                <a:off x="1871" y="2776"/>
                <a:ext cx="0" cy="1"/>
              </a:xfrm>
              <a:custGeom>
                <a:avLst/>
                <a:gdLst>
                  <a:gd name="T0" fmla="*/ 0 h 1"/>
                  <a:gd name="T1" fmla="*/ 0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29" name="Freeform 844"/>
              <p:cNvSpPr>
                <a:spLocks/>
              </p:cNvSpPr>
              <p:nvPr/>
            </p:nvSpPr>
            <p:spPr bwMode="auto">
              <a:xfrm>
                <a:off x="1800" y="1933"/>
                <a:ext cx="40" cy="26"/>
              </a:xfrm>
              <a:custGeom>
                <a:avLst/>
                <a:gdLst>
                  <a:gd name="T0" fmla="*/ 11 w 60"/>
                  <a:gd name="T1" fmla="*/ 30 h 40"/>
                  <a:gd name="T2" fmla="*/ 12 w 60"/>
                  <a:gd name="T3" fmla="*/ 28 h 40"/>
                  <a:gd name="T4" fmla="*/ 16 w 60"/>
                  <a:gd name="T5" fmla="*/ 17 h 40"/>
                  <a:gd name="T6" fmla="*/ 17 w 60"/>
                  <a:gd name="T7" fmla="*/ 33 h 40"/>
                  <a:gd name="T8" fmla="*/ 31 w 60"/>
                  <a:gd name="T9" fmla="*/ 32 h 40"/>
                  <a:gd name="T10" fmla="*/ 31 w 60"/>
                  <a:gd name="T11" fmla="*/ 32 h 40"/>
                  <a:gd name="T12" fmla="*/ 36 w 60"/>
                  <a:gd name="T13" fmla="*/ 29 h 40"/>
                  <a:gd name="T14" fmla="*/ 47 w 60"/>
                  <a:gd name="T15" fmla="*/ 40 h 40"/>
                  <a:gd name="T16" fmla="*/ 56 w 60"/>
                  <a:gd name="T17" fmla="*/ 27 h 40"/>
                  <a:gd name="T18" fmla="*/ 55 w 60"/>
                  <a:gd name="T19" fmla="*/ 27 h 40"/>
                  <a:gd name="T20" fmla="*/ 49 w 60"/>
                  <a:gd name="T21" fmla="*/ 34 h 40"/>
                  <a:gd name="T22" fmla="*/ 50 w 60"/>
                  <a:gd name="T23" fmla="*/ 24 h 40"/>
                  <a:gd name="T24" fmla="*/ 45 w 60"/>
                  <a:gd name="T25" fmla="*/ 27 h 40"/>
                  <a:gd name="T26" fmla="*/ 38 w 60"/>
                  <a:gd name="T27" fmla="*/ 21 h 40"/>
                  <a:gd name="T28" fmla="*/ 24 w 60"/>
                  <a:gd name="T29" fmla="*/ 23 h 40"/>
                  <a:gd name="T30" fmla="*/ 27 w 60"/>
                  <a:gd name="T31" fmla="*/ 19 h 40"/>
                  <a:gd name="T32" fmla="*/ 34 w 60"/>
                  <a:gd name="T33" fmla="*/ 13 h 40"/>
                  <a:gd name="T34" fmla="*/ 33 w 60"/>
                  <a:gd name="T35" fmla="*/ 11 h 40"/>
                  <a:gd name="T36" fmla="*/ 24 w 60"/>
                  <a:gd name="T37" fmla="*/ 4 h 40"/>
                  <a:gd name="T38" fmla="*/ 18 w 60"/>
                  <a:gd name="T39" fmla="*/ 0 h 40"/>
                  <a:gd name="T40" fmla="*/ 11 w 60"/>
                  <a:gd name="T41" fmla="*/ 3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40">
                    <a:moveTo>
                      <a:pt x="11" y="30"/>
                    </a:moveTo>
                    <a:cubicBezTo>
                      <a:pt x="12" y="31"/>
                      <a:pt x="11" y="28"/>
                      <a:pt x="12" y="28"/>
                    </a:cubicBezTo>
                    <a:cubicBezTo>
                      <a:pt x="17" y="26"/>
                      <a:pt x="12" y="18"/>
                      <a:pt x="16" y="17"/>
                    </a:cubicBezTo>
                    <a:cubicBezTo>
                      <a:pt x="18" y="17"/>
                      <a:pt x="15" y="31"/>
                      <a:pt x="17" y="33"/>
                    </a:cubicBezTo>
                    <a:cubicBezTo>
                      <a:pt x="20" y="39"/>
                      <a:pt x="29" y="32"/>
                      <a:pt x="31" y="32"/>
                    </a:cubicBezTo>
                    <a:cubicBezTo>
                      <a:pt x="31" y="32"/>
                      <a:pt x="31" y="32"/>
                      <a:pt x="31" y="32"/>
                    </a:cubicBezTo>
                    <a:cubicBezTo>
                      <a:pt x="33" y="33"/>
                      <a:pt x="35" y="27"/>
                      <a:pt x="36" y="29"/>
                    </a:cubicBezTo>
                    <a:cubicBezTo>
                      <a:pt x="40" y="35"/>
                      <a:pt x="39" y="39"/>
                      <a:pt x="47" y="40"/>
                    </a:cubicBezTo>
                    <a:cubicBezTo>
                      <a:pt x="47" y="40"/>
                      <a:pt x="60" y="31"/>
                      <a:pt x="56" y="27"/>
                    </a:cubicBezTo>
                    <a:cubicBezTo>
                      <a:pt x="56" y="27"/>
                      <a:pt x="55" y="27"/>
                      <a:pt x="55" y="27"/>
                    </a:cubicBezTo>
                    <a:cubicBezTo>
                      <a:pt x="50" y="28"/>
                      <a:pt x="50" y="34"/>
                      <a:pt x="49" y="34"/>
                    </a:cubicBezTo>
                    <a:cubicBezTo>
                      <a:pt x="42" y="35"/>
                      <a:pt x="51" y="25"/>
                      <a:pt x="50" y="24"/>
                    </a:cubicBezTo>
                    <a:cubicBezTo>
                      <a:pt x="49" y="23"/>
                      <a:pt x="45" y="27"/>
                      <a:pt x="45" y="27"/>
                    </a:cubicBezTo>
                    <a:cubicBezTo>
                      <a:pt x="43" y="28"/>
                      <a:pt x="41" y="20"/>
                      <a:pt x="38" y="21"/>
                    </a:cubicBezTo>
                    <a:cubicBezTo>
                      <a:pt x="36" y="22"/>
                      <a:pt x="29" y="25"/>
                      <a:pt x="24" y="23"/>
                    </a:cubicBezTo>
                    <a:cubicBezTo>
                      <a:pt x="24" y="23"/>
                      <a:pt x="26" y="20"/>
                      <a:pt x="27" y="19"/>
                    </a:cubicBezTo>
                    <a:cubicBezTo>
                      <a:pt x="31" y="17"/>
                      <a:pt x="33" y="15"/>
                      <a:pt x="34" y="13"/>
                    </a:cubicBezTo>
                    <a:cubicBezTo>
                      <a:pt x="35" y="12"/>
                      <a:pt x="33" y="11"/>
                      <a:pt x="33" y="11"/>
                    </a:cubicBezTo>
                    <a:cubicBezTo>
                      <a:pt x="31" y="9"/>
                      <a:pt x="26" y="5"/>
                      <a:pt x="24" y="4"/>
                    </a:cubicBezTo>
                    <a:cubicBezTo>
                      <a:pt x="23" y="2"/>
                      <a:pt x="20" y="0"/>
                      <a:pt x="18" y="0"/>
                    </a:cubicBezTo>
                    <a:cubicBezTo>
                      <a:pt x="7" y="1"/>
                      <a:pt x="0" y="26"/>
                      <a:pt x="11" y="3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0" name="Freeform 845"/>
              <p:cNvSpPr>
                <a:spLocks/>
              </p:cNvSpPr>
              <p:nvPr/>
            </p:nvSpPr>
            <p:spPr bwMode="auto">
              <a:xfrm>
                <a:off x="1642" y="2210"/>
                <a:ext cx="27" cy="43"/>
              </a:xfrm>
              <a:custGeom>
                <a:avLst/>
                <a:gdLst>
                  <a:gd name="T0" fmla="*/ 26 w 40"/>
                  <a:gd name="T1" fmla="*/ 22 h 66"/>
                  <a:gd name="T2" fmla="*/ 26 w 40"/>
                  <a:gd name="T3" fmla="*/ 22 h 66"/>
                  <a:gd name="T4" fmla="*/ 34 w 40"/>
                  <a:gd name="T5" fmla="*/ 1 h 66"/>
                  <a:gd name="T6" fmla="*/ 8 w 40"/>
                  <a:gd name="T7" fmla="*/ 24 h 66"/>
                  <a:gd name="T8" fmla="*/ 18 w 40"/>
                  <a:gd name="T9" fmla="*/ 27 h 66"/>
                  <a:gd name="T10" fmla="*/ 7 w 40"/>
                  <a:gd name="T11" fmla="*/ 30 h 66"/>
                  <a:gd name="T12" fmla="*/ 1 w 40"/>
                  <a:gd name="T13" fmla="*/ 35 h 66"/>
                  <a:gd name="T14" fmla="*/ 1 w 40"/>
                  <a:gd name="T15" fmla="*/ 43 h 66"/>
                  <a:gd name="T16" fmla="*/ 26 w 40"/>
                  <a:gd name="T17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66">
                    <a:moveTo>
                      <a:pt x="26" y="22"/>
                    </a:moveTo>
                    <a:cubicBezTo>
                      <a:pt x="26" y="22"/>
                      <a:pt x="26" y="22"/>
                      <a:pt x="26" y="22"/>
                    </a:cubicBezTo>
                    <a:cubicBezTo>
                      <a:pt x="28" y="19"/>
                      <a:pt x="40" y="2"/>
                      <a:pt x="34" y="1"/>
                    </a:cubicBezTo>
                    <a:cubicBezTo>
                      <a:pt x="29" y="0"/>
                      <a:pt x="10" y="19"/>
                      <a:pt x="8" y="24"/>
                    </a:cubicBezTo>
                    <a:cubicBezTo>
                      <a:pt x="7" y="29"/>
                      <a:pt x="19" y="26"/>
                      <a:pt x="18" y="27"/>
                    </a:cubicBezTo>
                    <a:cubicBezTo>
                      <a:pt x="15" y="29"/>
                      <a:pt x="11" y="28"/>
                      <a:pt x="7" y="30"/>
                    </a:cubicBezTo>
                    <a:cubicBezTo>
                      <a:pt x="5" y="31"/>
                      <a:pt x="2" y="33"/>
                      <a:pt x="1" y="35"/>
                    </a:cubicBezTo>
                    <a:cubicBezTo>
                      <a:pt x="0" y="38"/>
                      <a:pt x="1" y="40"/>
                      <a:pt x="1" y="43"/>
                    </a:cubicBezTo>
                    <a:cubicBezTo>
                      <a:pt x="1" y="66"/>
                      <a:pt x="23" y="29"/>
                      <a:pt x="26" y="2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1" name="Freeform 846"/>
              <p:cNvSpPr>
                <a:spLocks/>
              </p:cNvSpPr>
              <p:nvPr/>
            </p:nvSpPr>
            <p:spPr bwMode="auto">
              <a:xfrm>
                <a:off x="1868" y="277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2" name="Freeform 847"/>
              <p:cNvSpPr>
                <a:spLocks/>
              </p:cNvSpPr>
              <p:nvPr/>
            </p:nvSpPr>
            <p:spPr bwMode="auto">
              <a:xfrm>
                <a:off x="1867" y="2817"/>
                <a:ext cx="14" cy="8"/>
              </a:xfrm>
              <a:custGeom>
                <a:avLst/>
                <a:gdLst>
                  <a:gd name="T0" fmla="*/ 21 w 21"/>
                  <a:gd name="T1" fmla="*/ 7 h 13"/>
                  <a:gd name="T2" fmla="*/ 20 w 21"/>
                  <a:gd name="T3" fmla="*/ 5 h 13"/>
                  <a:gd name="T4" fmla="*/ 20 w 21"/>
                  <a:gd name="T5" fmla="*/ 4 h 13"/>
                  <a:gd name="T6" fmla="*/ 19 w 21"/>
                  <a:gd name="T7" fmla="*/ 4 h 13"/>
                  <a:gd name="T8" fmla="*/ 18 w 21"/>
                  <a:gd name="T9" fmla="*/ 3 h 13"/>
                  <a:gd name="T10" fmla="*/ 18 w 21"/>
                  <a:gd name="T11" fmla="*/ 3 h 13"/>
                  <a:gd name="T12" fmla="*/ 17 w 21"/>
                  <a:gd name="T13" fmla="*/ 3 h 13"/>
                  <a:gd name="T14" fmla="*/ 17 w 21"/>
                  <a:gd name="T15" fmla="*/ 3 h 13"/>
                  <a:gd name="T16" fmla="*/ 15 w 21"/>
                  <a:gd name="T17" fmla="*/ 3 h 13"/>
                  <a:gd name="T18" fmla="*/ 15 w 21"/>
                  <a:gd name="T19" fmla="*/ 2 h 13"/>
                  <a:gd name="T20" fmla="*/ 15 w 21"/>
                  <a:gd name="T21" fmla="*/ 1 h 13"/>
                  <a:gd name="T22" fmla="*/ 13 w 21"/>
                  <a:gd name="T23" fmla="*/ 1 h 13"/>
                  <a:gd name="T24" fmla="*/ 12 w 21"/>
                  <a:gd name="T25" fmla="*/ 1 h 13"/>
                  <a:gd name="T26" fmla="*/ 10 w 21"/>
                  <a:gd name="T27" fmla="*/ 1 h 13"/>
                  <a:gd name="T28" fmla="*/ 8 w 21"/>
                  <a:gd name="T29" fmla="*/ 0 h 13"/>
                  <a:gd name="T30" fmla="*/ 8 w 21"/>
                  <a:gd name="T31" fmla="*/ 0 h 13"/>
                  <a:gd name="T32" fmla="*/ 8 w 21"/>
                  <a:gd name="T33" fmla="*/ 0 h 13"/>
                  <a:gd name="T34" fmla="*/ 6 w 21"/>
                  <a:gd name="T35" fmla="*/ 1 h 13"/>
                  <a:gd name="T36" fmla="*/ 6 w 21"/>
                  <a:gd name="T37" fmla="*/ 1 h 13"/>
                  <a:gd name="T38" fmla="*/ 5 w 21"/>
                  <a:gd name="T39" fmla="*/ 1 h 13"/>
                  <a:gd name="T40" fmla="*/ 5 w 21"/>
                  <a:gd name="T41" fmla="*/ 1 h 13"/>
                  <a:gd name="T42" fmla="*/ 4 w 21"/>
                  <a:gd name="T43" fmla="*/ 2 h 13"/>
                  <a:gd name="T44" fmla="*/ 3 w 21"/>
                  <a:gd name="T45" fmla="*/ 1 h 13"/>
                  <a:gd name="T46" fmla="*/ 2 w 21"/>
                  <a:gd name="T47" fmla="*/ 0 h 13"/>
                  <a:gd name="T48" fmla="*/ 1 w 21"/>
                  <a:gd name="T49" fmla="*/ 0 h 13"/>
                  <a:gd name="T50" fmla="*/ 0 w 21"/>
                  <a:gd name="T51" fmla="*/ 2 h 13"/>
                  <a:gd name="T52" fmla="*/ 0 w 21"/>
                  <a:gd name="T53" fmla="*/ 3 h 13"/>
                  <a:gd name="T54" fmla="*/ 0 w 21"/>
                  <a:gd name="T55" fmla="*/ 3 h 13"/>
                  <a:gd name="T56" fmla="*/ 1 w 21"/>
                  <a:gd name="T57" fmla="*/ 4 h 13"/>
                  <a:gd name="T58" fmla="*/ 2 w 21"/>
                  <a:gd name="T59" fmla="*/ 9 h 13"/>
                  <a:gd name="T60" fmla="*/ 1 w 21"/>
                  <a:gd name="T61" fmla="*/ 10 h 13"/>
                  <a:gd name="T62" fmla="*/ 1 w 21"/>
                  <a:gd name="T63" fmla="*/ 10 h 13"/>
                  <a:gd name="T64" fmla="*/ 1 w 21"/>
                  <a:gd name="T65" fmla="*/ 10 h 13"/>
                  <a:gd name="T66" fmla="*/ 1 w 21"/>
                  <a:gd name="T67" fmla="*/ 10 h 13"/>
                  <a:gd name="T68" fmla="*/ 2 w 21"/>
                  <a:gd name="T69" fmla="*/ 11 h 13"/>
                  <a:gd name="T70" fmla="*/ 4 w 21"/>
                  <a:gd name="T71" fmla="*/ 11 h 13"/>
                  <a:gd name="T72" fmla="*/ 4 w 21"/>
                  <a:gd name="T73" fmla="*/ 11 h 13"/>
                  <a:gd name="T74" fmla="*/ 5 w 21"/>
                  <a:gd name="T75" fmla="*/ 10 h 13"/>
                  <a:gd name="T76" fmla="*/ 6 w 21"/>
                  <a:gd name="T77" fmla="*/ 11 h 13"/>
                  <a:gd name="T78" fmla="*/ 6 w 21"/>
                  <a:gd name="T79" fmla="*/ 11 h 13"/>
                  <a:gd name="T80" fmla="*/ 7 w 21"/>
                  <a:gd name="T81" fmla="*/ 12 h 13"/>
                  <a:gd name="T82" fmla="*/ 8 w 21"/>
                  <a:gd name="T83" fmla="*/ 12 h 13"/>
                  <a:gd name="T84" fmla="*/ 7 w 21"/>
                  <a:gd name="T85" fmla="*/ 10 h 13"/>
                  <a:gd name="T86" fmla="*/ 9 w 21"/>
                  <a:gd name="T87" fmla="*/ 8 h 13"/>
                  <a:gd name="T88" fmla="*/ 10 w 21"/>
                  <a:gd name="T89" fmla="*/ 8 h 13"/>
                  <a:gd name="T90" fmla="*/ 10 w 21"/>
                  <a:gd name="T91" fmla="*/ 8 h 13"/>
                  <a:gd name="T92" fmla="*/ 11 w 21"/>
                  <a:gd name="T93" fmla="*/ 9 h 13"/>
                  <a:gd name="T94" fmla="*/ 12 w 21"/>
                  <a:gd name="T95" fmla="*/ 11 h 13"/>
                  <a:gd name="T96" fmla="*/ 16 w 21"/>
                  <a:gd name="T97" fmla="*/ 13 h 13"/>
                  <a:gd name="T98" fmla="*/ 18 w 21"/>
                  <a:gd name="T99" fmla="*/ 12 h 13"/>
                  <a:gd name="T100" fmla="*/ 20 w 21"/>
                  <a:gd name="T101" fmla="*/ 11 h 13"/>
                  <a:gd name="T102" fmla="*/ 21 w 21"/>
                  <a:gd name="T103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" h="13">
                    <a:moveTo>
                      <a:pt x="21" y="8"/>
                    </a:moveTo>
                    <a:cubicBezTo>
                      <a:pt x="21" y="8"/>
                      <a:pt x="21" y="7"/>
                      <a:pt x="21" y="7"/>
                    </a:cubicBezTo>
                    <a:cubicBezTo>
                      <a:pt x="21" y="7"/>
                      <a:pt x="20" y="7"/>
                      <a:pt x="20" y="7"/>
                    </a:cubicBezTo>
                    <a:cubicBezTo>
                      <a:pt x="20" y="6"/>
                      <a:pt x="20" y="6"/>
                      <a:pt x="20" y="5"/>
                    </a:cubicBezTo>
                    <a:cubicBezTo>
                      <a:pt x="20" y="5"/>
                      <a:pt x="21" y="5"/>
                      <a:pt x="21" y="5"/>
                    </a:cubicBezTo>
                    <a:cubicBezTo>
                      <a:pt x="21" y="4"/>
                      <a:pt x="20" y="4"/>
                      <a:pt x="20" y="4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3"/>
                      <a:pt x="20" y="4"/>
                      <a:pt x="19" y="4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9" y="3"/>
                      <a:pt x="19" y="3"/>
                      <a:pt x="18" y="3"/>
                    </a:cubicBezTo>
                    <a:cubicBezTo>
                      <a:pt x="18" y="3"/>
                      <a:pt x="19" y="2"/>
                      <a:pt x="18" y="2"/>
                    </a:cubicBezTo>
                    <a:cubicBezTo>
                      <a:pt x="18" y="2"/>
                      <a:pt x="18" y="3"/>
                      <a:pt x="18" y="3"/>
                    </a:cubicBezTo>
                    <a:cubicBezTo>
                      <a:pt x="18" y="3"/>
                      <a:pt x="18" y="2"/>
                      <a:pt x="18" y="2"/>
                    </a:cubicBezTo>
                    <a:cubicBezTo>
                      <a:pt x="17" y="2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6" y="3"/>
                      <a:pt x="16" y="3"/>
                      <a:pt x="15" y="3"/>
                    </a:cubicBezTo>
                    <a:cubicBezTo>
                      <a:pt x="15" y="3"/>
                      <a:pt x="15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2"/>
                      <a:pt x="15" y="1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3" y="0"/>
                      <a:pt x="13" y="1"/>
                      <a:pt x="13" y="1"/>
                    </a:cubicBezTo>
                    <a:cubicBezTo>
                      <a:pt x="13" y="1"/>
                      <a:pt x="13" y="1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2" y="1"/>
                      <a:pt x="12" y="1"/>
                      <a:pt x="11" y="1"/>
                    </a:cubicBezTo>
                    <a:cubicBezTo>
                      <a:pt x="11" y="1"/>
                      <a:pt x="10" y="1"/>
                      <a:pt x="10" y="1"/>
                    </a:cubicBezTo>
                    <a:cubicBezTo>
                      <a:pt x="10" y="1"/>
                      <a:pt x="9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1"/>
                      <a:pt x="7" y="1"/>
                    </a:cubicBezTo>
                    <a:cubicBezTo>
                      <a:pt x="7" y="1"/>
                      <a:pt x="6" y="1"/>
                      <a:pt x="6" y="1"/>
                    </a:cubicBezTo>
                    <a:cubicBezTo>
                      <a:pt x="6" y="1"/>
                      <a:pt x="6" y="2"/>
                      <a:pt x="6" y="2"/>
                    </a:cubicBezTo>
                    <a:cubicBezTo>
                      <a:pt x="6" y="2"/>
                      <a:pt x="6" y="1"/>
                      <a:pt x="6" y="1"/>
                    </a:cubicBezTo>
                    <a:cubicBezTo>
                      <a:pt x="6" y="1"/>
                      <a:pt x="5" y="2"/>
                      <a:pt x="5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5" y="1"/>
                      <a:pt x="5" y="2"/>
                      <a:pt x="5" y="2"/>
                    </a:cubicBezTo>
                    <a:cubicBezTo>
                      <a:pt x="5" y="2"/>
                      <a:pt x="5" y="1"/>
                      <a:pt x="5" y="1"/>
                    </a:cubicBezTo>
                    <a:cubicBezTo>
                      <a:pt x="5" y="2"/>
                      <a:pt x="5" y="2"/>
                      <a:pt x="4" y="2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2"/>
                      <a:pt x="0" y="2"/>
                    </a:cubicBezTo>
                    <a:cubicBezTo>
                      <a:pt x="0" y="2"/>
                      <a:pt x="0" y="3"/>
                      <a:pt x="0" y="3"/>
                    </a:cubicBezTo>
                    <a:cubicBezTo>
                      <a:pt x="0" y="3"/>
                      <a:pt x="0" y="3"/>
                      <a:pt x="1" y="3"/>
                    </a:cubicBezTo>
                    <a:cubicBezTo>
                      <a:pt x="1" y="3"/>
                      <a:pt x="1" y="3"/>
                      <a:pt x="1" y="4"/>
                    </a:cubicBezTo>
                    <a:cubicBezTo>
                      <a:pt x="2" y="4"/>
                      <a:pt x="3" y="7"/>
                      <a:pt x="2" y="8"/>
                    </a:cubicBezTo>
                    <a:cubicBezTo>
                      <a:pt x="2" y="8"/>
                      <a:pt x="2" y="9"/>
                      <a:pt x="2" y="9"/>
                    </a:cubicBezTo>
                    <a:cubicBezTo>
                      <a:pt x="2" y="9"/>
                      <a:pt x="1" y="9"/>
                      <a:pt x="1" y="10"/>
                    </a:cubicBezTo>
                    <a:cubicBezTo>
                      <a:pt x="1" y="10"/>
                      <a:pt x="2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0" y="10"/>
                      <a:pt x="0" y="10"/>
                    </a:cubicBezTo>
                    <a:cubicBezTo>
                      <a:pt x="0" y="11"/>
                      <a:pt x="1" y="10"/>
                      <a:pt x="1" y="10"/>
                    </a:cubicBezTo>
                    <a:cubicBezTo>
                      <a:pt x="1" y="10"/>
                      <a:pt x="1" y="11"/>
                      <a:pt x="1" y="11"/>
                    </a:cubicBezTo>
                    <a:cubicBezTo>
                      <a:pt x="1" y="11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1"/>
                    </a:cubicBezTo>
                    <a:cubicBezTo>
                      <a:pt x="1" y="11"/>
                      <a:pt x="2" y="11"/>
                      <a:pt x="2" y="11"/>
                    </a:cubicBezTo>
                    <a:cubicBezTo>
                      <a:pt x="2" y="11"/>
                      <a:pt x="2" y="11"/>
                      <a:pt x="2" y="11"/>
                    </a:cubicBezTo>
                    <a:cubicBezTo>
                      <a:pt x="2" y="11"/>
                      <a:pt x="3" y="11"/>
                      <a:pt x="4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10"/>
                      <a:pt x="4" y="11"/>
                      <a:pt x="4" y="11"/>
                    </a:cubicBezTo>
                    <a:cubicBezTo>
                      <a:pt x="4" y="11"/>
                      <a:pt x="4" y="10"/>
                      <a:pt x="4" y="10"/>
                    </a:cubicBezTo>
                    <a:cubicBezTo>
                      <a:pt x="4" y="10"/>
                      <a:pt x="5" y="10"/>
                      <a:pt x="5" y="10"/>
                    </a:cubicBezTo>
                    <a:cubicBezTo>
                      <a:pt x="5" y="10"/>
                      <a:pt x="6" y="10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5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1"/>
                      <a:pt x="7" y="12"/>
                    </a:cubicBezTo>
                    <a:cubicBezTo>
                      <a:pt x="7" y="12"/>
                      <a:pt x="7" y="13"/>
                      <a:pt x="7" y="12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1"/>
                      <a:pt x="8" y="11"/>
                      <a:pt x="7" y="11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10"/>
                      <a:pt x="7" y="9"/>
                    </a:cubicBezTo>
                    <a:cubicBezTo>
                      <a:pt x="7" y="9"/>
                      <a:pt x="8" y="9"/>
                      <a:pt x="9" y="8"/>
                    </a:cubicBezTo>
                    <a:cubicBezTo>
                      <a:pt x="9" y="8"/>
                      <a:pt x="9" y="8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11" y="9"/>
                      <a:pt x="11" y="9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12" y="9"/>
                      <a:pt x="12" y="10"/>
                      <a:pt x="12" y="10"/>
                    </a:cubicBezTo>
                    <a:cubicBezTo>
                      <a:pt x="13" y="10"/>
                      <a:pt x="12" y="11"/>
                      <a:pt x="12" y="11"/>
                    </a:cubicBezTo>
                    <a:cubicBezTo>
                      <a:pt x="13" y="11"/>
                      <a:pt x="14" y="11"/>
                      <a:pt x="14" y="11"/>
                    </a:cubicBezTo>
                    <a:cubicBezTo>
                      <a:pt x="14" y="11"/>
                      <a:pt x="15" y="13"/>
                      <a:pt x="16" y="13"/>
                    </a:cubicBezTo>
                    <a:cubicBezTo>
                      <a:pt x="16" y="13"/>
                      <a:pt x="16" y="12"/>
                      <a:pt x="16" y="12"/>
                    </a:cubicBezTo>
                    <a:cubicBezTo>
                      <a:pt x="17" y="12"/>
                      <a:pt x="17" y="12"/>
                      <a:pt x="18" y="12"/>
                    </a:cubicBezTo>
                    <a:cubicBezTo>
                      <a:pt x="18" y="12"/>
                      <a:pt x="19" y="13"/>
                      <a:pt x="20" y="12"/>
                    </a:cubicBezTo>
                    <a:cubicBezTo>
                      <a:pt x="20" y="12"/>
                      <a:pt x="20" y="12"/>
                      <a:pt x="20" y="11"/>
                    </a:cubicBezTo>
                    <a:cubicBezTo>
                      <a:pt x="20" y="11"/>
                      <a:pt x="19" y="8"/>
                      <a:pt x="20" y="8"/>
                    </a:cubicBezTo>
                    <a:cubicBezTo>
                      <a:pt x="20" y="8"/>
                      <a:pt x="20" y="8"/>
                      <a:pt x="21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3" name="Freeform 848"/>
              <p:cNvSpPr>
                <a:spLocks/>
              </p:cNvSpPr>
              <p:nvPr/>
            </p:nvSpPr>
            <p:spPr bwMode="auto">
              <a:xfrm>
                <a:off x="1868" y="277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4" name="Freeform 849"/>
              <p:cNvSpPr>
                <a:spLocks/>
              </p:cNvSpPr>
              <p:nvPr/>
            </p:nvSpPr>
            <p:spPr bwMode="auto">
              <a:xfrm>
                <a:off x="1635" y="2212"/>
                <a:ext cx="9" cy="11"/>
              </a:xfrm>
              <a:custGeom>
                <a:avLst/>
                <a:gdLst>
                  <a:gd name="T0" fmla="*/ 1 w 13"/>
                  <a:gd name="T1" fmla="*/ 12 h 17"/>
                  <a:gd name="T2" fmla="*/ 13 w 13"/>
                  <a:gd name="T3" fmla="*/ 1 h 17"/>
                  <a:gd name="T4" fmla="*/ 1 w 13"/>
                  <a:gd name="T5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7">
                    <a:moveTo>
                      <a:pt x="1" y="12"/>
                    </a:moveTo>
                    <a:cubicBezTo>
                      <a:pt x="1" y="17"/>
                      <a:pt x="12" y="4"/>
                      <a:pt x="13" y="1"/>
                    </a:cubicBezTo>
                    <a:cubicBezTo>
                      <a:pt x="13" y="0"/>
                      <a:pt x="0" y="4"/>
                      <a:pt x="1" y="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5" name="Freeform 850"/>
              <p:cNvSpPr>
                <a:spLocks/>
              </p:cNvSpPr>
              <p:nvPr/>
            </p:nvSpPr>
            <p:spPr bwMode="auto">
              <a:xfrm>
                <a:off x="1616" y="2227"/>
                <a:ext cx="31" cy="36"/>
              </a:xfrm>
              <a:custGeom>
                <a:avLst/>
                <a:gdLst>
                  <a:gd name="T0" fmla="*/ 21 w 47"/>
                  <a:gd name="T1" fmla="*/ 54 h 55"/>
                  <a:gd name="T2" fmla="*/ 29 w 47"/>
                  <a:gd name="T3" fmla="*/ 50 h 55"/>
                  <a:gd name="T4" fmla="*/ 46 w 47"/>
                  <a:gd name="T5" fmla="*/ 40 h 55"/>
                  <a:gd name="T6" fmla="*/ 37 w 47"/>
                  <a:gd name="T7" fmla="*/ 8 h 55"/>
                  <a:gd name="T8" fmla="*/ 20 w 47"/>
                  <a:gd name="T9" fmla="*/ 22 h 55"/>
                  <a:gd name="T10" fmla="*/ 19 w 47"/>
                  <a:gd name="T11" fmla="*/ 12 h 55"/>
                  <a:gd name="T12" fmla="*/ 3 w 47"/>
                  <a:gd name="T13" fmla="*/ 40 h 55"/>
                  <a:gd name="T14" fmla="*/ 25 w 47"/>
                  <a:gd name="T15" fmla="*/ 27 h 55"/>
                  <a:gd name="T16" fmla="*/ 26 w 47"/>
                  <a:gd name="T17" fmla="*/ 29 h 55"/>
                  <a:gd name="T18" fmla="*/ 26 w 47"/>
                  <a:gd name="T19" fmla="*/ 44 h 55"/>
                  <a:gd name="T20" fmla="*/ 21 w 47"/>
                  <a:gd name="T21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7" h="55">
                    <a:moveTo>
                      <a:pt x="21" y="54"/>
                    </a:moveTo>
                    <a:cubicBezTo>
                      <a:pt x="24" y="55"/>
                      <a:pt x="28" y="53"/>
                      <a:pt x="29" y="50"/>
                    </a:cubicBezTo>
                    <a:cubicBezTo>
                      <a:pt x="29" y="46"/>
                      <a:pt x="45" y="47"/>
                      <a:pt x="46" y="40"/>
                    </a:cubicBezTo>
                    <a:cubicBezTo>
                      <a:pt x="47" y="30"/>
                      <a:pt x="36" y="21"/>
                      <a:pt x="37" y="8"/>
                    </a:cubicBezTo>
                    <a:cubicBezTo>
                      <a:pt x="38" y="0"/>
                      <a:pt x="25" y="16"/>
                      <a:pt x="20" y="22"/>
                    </a:cubicBezTo>
                    <a:cubicBezTo>
                      <a:pt x="18" y="24"/>
                      <a:pt x="22" y="10"/>
                      <a:pt x="19" y="12"/>
                    </a:cubicBezTo>
                    <a:cubicBezTo>
                      <a:pt x="10" y="15"/>
                      <a:pt x="0" y="31"/>
                      <a:pt x="3" y="40"/>
                    </a:cubicBezTo>
                    <a:cubicBezTo>
                      <a:pt x="5" y="47"/>
                      <a:pt x="19" y="21"/>
                      <a:pt x="25" y="27"/>
                    </a:cubicBezTo>
                    <a:cubicBezTo>
                      <a:pt x="26" y="28"/>
                      <a:pt x="26" y="28"/>
                      <a:pt x="26" y="29"/>
                    </a:cubicBezTo>
                    <a:cubicBezTo>
                      <a:pt x="18" y="41"/>
                      <a:pt x="27" y="30"/>
                      <a:pt x="26" y="44"/>
                    </a:cubicBezTo>
                    <a:cubicBezTo>
                      <a:pt x="26" y="44"/>
                      <a:pt x="12" y="51"/>
                      <a:pt x="21" y="5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6" name="Freeform 851"/>
              <p:cNvSpPr>
                <a:spLocks/>
              </p:cNvSpPr>
              <p:nvPr/>
            </p:nvSpPr>
            <p:spPr bwMode="auto">
              <a:xfrm>
                <a:off x="1603" y="2162"/>
                <a:ext cx="23" cy="13"/>
              </a:xfrm>
              <a:custGeom>
                <a:avLst/>
                <a:gdLst>
                  <a:gd name="T0" fmla="*/ 28 w 35"/>
                  <a:gd name="T1" fmla="*/ 0 h 19"/>
                  <a:gd name="T2" fmla="*/ 28 w 35"/>
                  <a:gd name="T3" fmla="*/ 0 h 19"/>
                  <a:gd name="T4" fmla="*/ 18 w 35"/>
                  <a:gd name="T5" fmla="*/ 15 h 19"/>
                  <a:gd name="T6" fmla="*/ 28 w 35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19">
                    <a:moveTo>
                      <a:pt x="28" y="0"/>
                    </a:moveTo>
                    <a:cubicBezTo>
                      <a:pt x="28" y="0"/>
                      <a:pt x="28" y="0"/>
                      <a:pt x="28" y="0"/>
                    </a:cubicBezTo>
                    <a:cubicBezTo>
                      <a:pt x="17" y="5"/>
                      <a:pt x="0" y="19"/>
                      <a:pt x="18" y="15"/>
                    </a:cubicBezTo>
                    <a:cubicBezTo>
                      <a:pt x="23" y="14"/>
                      <a:pt x="35" y="0"/>
                      <a:pt x="28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7" name="Freeform 852"/>
              <p:cNvSpPr>
                <a:spLocks/>
              </p:cNvSpPr>
              <p:nvPr/>
            </p:nvSpPr>
            <p:spPr bwMode="auto">
              <a:xfrm>
                <a:off x="1933" y="1836"/>
                <a:ext cx="5" cy="10"/>
              </a:xfrm>
              <a:custGeom>
                <a:avLst/>
                <a:gdLst>
                  <a:gd name="T0" fmla="*/ 1 w 8"/>
                  <a:gd name="T1" fmla="*/ 10 h 16"/>
                  <a:gd name="T2" fmla="*/ 8 w 8"/>
                  <a:gd name="T3" fmla="*/ 9 h 16"/>
                  <a:gd name="T4" fmla="*/ 8 w 8"/>
                  <a:gd name="T5" fmla="*/ 9 h 16"/>
                  <a:gd name="T6" fmla="*/ 1 w 8"/>
                  <a:gd name="T7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6">
                    <a:moveTo>
                      <a:pt x="1" y="10"/>
                    </a:moveTo>
                    <a:cubicBezTo>
                      <a:pt x="2" y="16"/>
                      <a:pt x="7" y="13"/>
                      <a:pt x="8" y="9"/>
                    </a:cubicBezTo>
                    <a:cubicBezTo>
                      <a:pt x="8" y="9"/>
                      <a:pt x="8" y="9"/>
                      <a:pt x="8" y="9"/>
                    </a:cubicBezTo>
                    <a:cubicBezTo>
                      <a:pt x="7" y="1"/>
                      <a:pt x="0" y="0"/>
                      <a:pt x="1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8" name="Freeform 853"/>
              <p:cNvSpPr>
                <a:spLocks/>
              </p:cNvSpPr>
              <p:nvPr/>
            </p:nvSpPr>
            <p:spPr bwMode="auto">
              <a:xfrm>
                <a:off x="1621" y="2120"/>
                <a:ext cx="15" cy="31"/>
              </a:xfrm>
              <a:custGeom>
                <a:avLst/>
                <a:gdLst>
                  <a:gd name="T0" fmla="*/ 22 w 22"/>
                  <a:gd name="T1" fmla="*/ 20 h 47"/>
                  <a:gd name="T2" fmla="*/ 20 w 22"/>
                  <a:gd name="T3" fmla="*/ 15 h 47"/>
                  <a:gd name="T4" fmla="*/ 22 w 22"/>
                  <a:gd name="T5" fmla="*/ 21 h 47"/>
                  <a:gd name="T6" fmla="*/ 22 w 22"/>
                  <a:gd name="T7" fmla="*/ 2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47">
                    <a:moveTo>
                      <a:pt x="22" y="20"/>
                    </a:moveTo>
                    <a:cubicBezTo>
                      <a:pt x="22" y="19"/>
                      <a:pt x="21" y="16"/>
                      <a:pt x="20" y="15"/>
                    </a:cubicBezTo>
                    <a:cubicBezTo>
                      <a:pt x="0" y="0"/>
                      <a:pt x="6" y="47"/>
                      <a:pt x="22" y="21"/>
                    </a:cubicBezTo>
                    <a:lnTo>
                      <a:pt x="22" y="2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39" name="Freeform 854"/>
              <p:cNvSpPr>
                <a:spLocks/>
              </p:cNvSpPr>
              <p:nvPr/>
            </p:nvSpPr>
            <p:spPr bwMode="auto">
              <a:xfrm>
                <a:off x="1837" y="1932"/>
                <a:ext cx="11" cy="11"/>
              </a:xfrm>
              <a:custGeom>
                <a:avLst/>
                <a:gdLst>
                  <a:gd name="T0" fmla="*/ 2 w 16"/>
                  <a:gd name="T1" fmla="*/ 12 h 17"/>
                  <a:gd name="T2" fmla="*/ 4 w 16"/>
                  <a:gd name="T3" fmla="*/ 12 h 17"/>
                  <a:gd name="T4" fmla="*/ 8 w 16"/>
                  <a:gd name="T5" fmla="*/ 10 h 17"/>
                  <a:gd name="T6" fmla="*/ 14 w 16"/>
                  <a:gd name="T7" fmla="*/ 11 h 17"/>
                  <a:gd name="T8" fmla="*/ 12 w 16"/>
                  <a:gd name="T9" fmla="*/ 8 h 17"/>
                  <a:gd name="T10" fmla="*/ 13 w 16"/>
                  <a:gd name="T11" fmla="*/ 7 h 17"/>
                  <a:gd name="T12" fmla="*/ 13 w 16"/>
                  <a:gd name="T13" fmla="*/ 7 h 17"/>
                  <a:gd name="T14" fmla="*/ 9 w 16"/>
                  <a:gd name="T15" fmla="*/ 6 h 17"/>
                  <a:gd name="T16" fmla="*/ 5 w 16"/>
                  <a:gd name="T17" fmla="*/ 1 h 17"/>
                  <a:gd name="T18" fmla="*/ 4 w 16"/>
                  <a:gd name="T19" fmla="*/ 1 h 17"/>
                  <a:gd name="T20" fmla="*/ 7 w 16"/>
                  <a:gd name="T21" fmla="*/ 7 h 17"/>
                  <a:gd name="T22" fmla="*/ 2 w 16"/>
                  <a:gd name="T23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7">
                    <a:moveTo>
                      <a:pt x="2" y="12"/>
                    </a:moveTo>
                    <a:cubicBezTo>
                      <a:pt x="3" y="13"/>
                      <a:pt x="3" y="12"/>
                      <a:pt x="4" y="12"/>
                    </a:cubicBezTo>
                    <a:cubicBezTo>
                      <a:pt x="7" y="13"/>
                      <a:pt x="5" y="10"/>
                      <a:pt x="8" y="10"/>
                    </a:cubicBezTo>
                    <a:cubicBezTo>
                      <a:pt x="10" y="11"/>
                      <a:pt x="11" y="17"/>
                      <a:pt x="14" y="11"/>
                    </a:cubicBezTo>
                    <a:cubicBezTo>
                      <a:pt x="16" y="9"/>
                      <a:pt x="13" y="10"/>
                      <a:pt x="12" y="8"/>
                    </a:cubicBezTo>
                    <a:cubicBezTo>
                      <a:pt x="12" y="7"/>
                      <a:pt x="12" y="7"/>
                      <a:pt x="13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5" y="6"/>
                      <a:pt x="9" y="7"/>
                      <a:pt x="9" y="6"/>
                    </a:cubicBezTo>
                    <a:cubicBezTo>
                      <a:pt x="8" y="4"/>
                      <a:pt x="11" y="0"/>
                      <a:pt x="5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2" y="2"/>
                      <a:pt x="8" y="5"/>
                      <a:pt x="7" y="7"/>
                    </a:cubicBezTo>
                    <a:cubicBezTo>
                      <a:pt x="6" y="9"/>
                      <a:pt x="0" y="11"/>
                      <a:pt x="2" y="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0" name="Freeform 855"/>
              <p:cNvSpPr>
                <a:spLocks/>
              </p:cNvSpPr>
              <p:nvPr/>
            </p:nvSpPr>
            <p:spPr bwMode="auto">
              <a:xfrm>
                <a:off x="1826" y="1939"/>
                <a:ext cx="7" cy="8"/>
              </a:xfrm>
              <a:custGeom>
                <a:avLst/>
                <a:gdLst>
                  <a:gd name="T0" fmla="*/ 7 w 10"/>
                  <a:gd name="T1" fmla="*/ 4 h 12"/>
                  <a:gd name="T2" fmla="*/ 1 w 10"/>
                  <a:gd name="T3" fmla="*/ 5 h 12"/>
                  <a:gd name="T4" fmla="*/ 8 w 10"/>
                  <a:gd name="T5" fmla="*/ 5 h 12"/>
                  <a:gd name="T6" fmla="*/ 10 w 10"/>
                  <a:gd name="T7" fmla="*/ 1 h 12"/>
                  <a:gd name="T8" fmla="*/ 10 w 10"/>
                  <a:gd name="T9" fmla="*/ 1 h 12"/>
                  <a:gd name="T10" fmla="*/ 7 w 10"/>
                  <a:gd name="T11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12">
                    <a:moveTo>
                      <a:pt x="7" y="4"/>
                    </a:moveTo>
                    <a:cubicBezTo>
                      <a:pt x="3" y="5"/>
                      <a:pt x="3" y="0"/>
                      <a:pt x="1" y="5"/>
                    </a:cubicBezTo>
                    <a:cubicBezTo>
                      <a:pt x="0" y="8"/>
                      <a:pt x="7" y="12"/>
                      <a:pt x="8" y="5"/>
                    </a:cubicBezTo>
                    <a:cubicBezTo>
                      <a:pt x="9" y="4"/>
                      <a:pt x="10" y="2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7" y="0"/>
                      <a:pt x="9" y="3"/>
                      <a:pt x="7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1" name="Freeform 856"/>
              <p:cNvSpPr>
                <a:spLocks/>
              </p:cNvSpPr>
              <p:nvPr/>
            </p:nvSpPr>
            <p:spPr bwMode="auto">
              <a:xfrm>
                <a:off x="1831" y="1919"/>
                <a:ext cx="6" cy="16"/>
              </a:xfrm>
              <a:custGeom>
                <a:avLst/>
                <a:gdLst>
                  <a:gd name="T0" fmla="*/ 9 w 9"/>
                  <a:gd name="T1" fmla="*/ 12 h 25"/>
                  <a:gd name="T2" fmla="*/ 4 w 9"/>
                  <a:gd name="T3" fmla="*/ 23 h 25"/>
                  <a:gd name="T4" fmla="*/ 9 w 9"/>
                  <a:gd name="T5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25">
                    <a:moveTo>
                      <a:pt x="9" y="12"/>
                    </a:moveTo>
                    <a:cubicBezTo>
                      <a:pt x="0" y="0"/>
                      <a:pt x="3" y="23"/>
                      <a:pt x="4" y="23"/>
                    </a:cubicBezTo>
                    <a:cubicBezTo>
                      <a:pt x="7" y="25"/>
                      <a:pt x="8" y="15"/>
                      <a:pt x="9" y="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2" name="Freeform 857"/>
              <p:cNvSpPr>
                <a:spLocks/>
              </p:cNvSpPr>
              <p:nvPr/>
            </p:nvSpPr>
            <p:spPr bwMode="auto">
              <a:xfrm>
                <a:off x="1837" y="1917"/>
                <a:ext cx="17" cy="13"/>
              </a:xfrm>
              <a:custGeom>
                <a:avLst/>
                <a:gdLst>
                  <a:gd name="T0" fmla="*/ 9 w 26"/>
                  <a:gd name="T1" fmla="*/ 12 h 20"/>
                  <a:gd name="T2" fmla="*/ 12 w 26"/>
                  <a:gd name="T3" fmla="*/ 14 h 20"/>
                  <a:gd name="T4" fmla="*/ 16 w 26"/>
                  <a:gd name="T5" fmla="*/ 10 h 20"/>
                  <a:gd name="T6" fmla="*/ 17 w 26"/>
                  <a:gd name="T7" fmla="*/ 13 h 20"/>
                  <a:gd name="T8" fmla="*/ 25 w 26"/>
                  <a:gd name="T9" fmla="*/ 5 h 20"/>
                  <a:gd name="T10" fmla="*/ 25 w 26"/>
                  <a:gd name="T11" fmla="*/ 5 h 20"/>
                  <a:gd name="T12" fmla="*/ 24 w 26"/>
                  <a:gd name="T13" fmla="*/ 0 h 20"/>
                  <a:gd name="T14" fmla="*/ 12 w 26"/>
                  <a:gd name="T15" fmla="*/ 7 h 20"/>
                  <a:gd name="T16" fmla="*/ 16 w 26"/>
                  <a:gd name="T17" fmla="*/ 2 h 20"/>
                  <a:gd name="T18" fmla="*/ 10 w 26"/>
                  <a:gd name="T19" fmla="*/ 6 h 20"/>
                  <a:gd name="T20" fmla="*/ 10 w 26"/>
                  <a:gd name="T21" fmla="*/ 9 h 20"/>
                  <a:gd name="T22" fmla="*/ 3 w 26"/>
                  <a:gd name="T23" fmla="*/ 19 h 20"/>
                  <a:gd name="T24" fmla="*/ 9 w 26"/>
                  <a:gd name="T25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20">
                    <a:moveTo>
                      <a:pt x="9" y="12"/>
                    </a:moveTo>
                    <a:cubicBezTo>
                      <a:pt x="10" y="11"/>
                      <a:pt x="11" y="14"/>
                      <a:pt x="12" y="14"/>
                    </a:cubicBezTo>
                    <a:cubicBezTo>
                      <a:pt x="13" y="13"/>
                      <a:pt x="17" y="7"/>
                      <a:pt x="16" y="10"/>
                    </a:cubicBezTo>
                    <a:cubicBezTo>
                      <a:pt x="16" y="10"/>
                      <a:pt x="16" y="14"/>
                      <a:pt x="17" y="13"/>
                    </a:cubicBezTo>
                    <a:cubicBezTo>
                      <a:pt x="21" y="9"/>
                      <a:pt x="18" y="6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6"/>
                      <a:pt x="26" y="0"/>
                      <a:pt x="24" y="0"/>
                    </a:cubicBezTo>
                    <a:cubicBezTo>
                      <a:pt x="23" y="1"/>
                      <a:pt x="14" y="10"/>
                      <a:pt x="12" y="7"/>
                    </a:cubicBezTo>
                    <a:cubicBezTo>
                      <a:pt x="10" y="6"/>
                      <a:pt x="17" y="3"/>
                      <a:pt x="16" y="2"/>
                    </a:cubicBezTo>
                    <a:cubicBezTo>
                      <a:pt x="15" y="1"/>
                      <a:pt x="8" y="3"/>
                      <a:pt x="10" y="6"/>
                    </a:cubicBezTo>
                    <a:cubicBezTo>
                      <a:pt x="10" y="6"/>
                      <a:pt x="10" y="8"/>
                      <a:pt x="10" y="9"/>
                    </a:cubicBezTo>
                    <a:cubicBezTo>
                      <a:pt x="8" y="11"/>
                      <a:pt x="0" y="13"/>
                      <a:pt x="3" y="19"/>
                    </a:cubicBezTo>
                    <a:cubicBezTo>
                      <a:pt x="3" y="20"/>
                      <a:pt x="6" y="12"/>
                      <a:pt x="9" y="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3" name="Freeform 858"/>
              <p:cNvSpPr>
                <a:spLocks/>
              </p:cNvSpPr>
              <p:nvPr/>
            </p:nvSpPr>
            <p:spPr bwMode="auto">
              <a:xfrm>
                <a:off x="1804" y="2391"/>
                <a:ext cx="10" cy="15"/>
              </a:xfrm>
              <a:custGeom>
                <a:avLst/>
                <a:gdLst>
                  <a:gd name="T0" fmla="*/ 15 w 16"/>
                  <a:gd name="T1" fmla="*/ 17 h 23"/>
                  <a:gd name="T2" fmla="*/ 8 w 16"/>
                  <a:gd name="T3" fmla="*/ 4 h 23"/>
                  <a:gd name="T4" fmla="*/ 8 w 16"/>
                  <a:gd name="T5" fmla="*/ 4 h 23"/>
                  <a:gd name="T6" fmla="*/ 15 w 16"/>
                  <a:gd name="T7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23">
                    <a:moveTo>
                      <a:pt x="15" y="17"/>
                    </a:moveTo>
                    <a:cubicBezTo>
                      <a:pt x="16" y="12"/>
                      <a:pt x="8" y="8"/>
                      <a:pt x="8" y="4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0" y="0"/>
                      <a:pt x="13" y="23"/>
                      <a:pt x="15" y="1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4" name="Freeform 859"/>
              <p:cNvSpPr>
                <a:spLocks/>
              </p:cNvSpPr>
              <p:nvPr/>
            </p:nvSpPr>
            <p:spPr bwMode="auto">
              <a:xfrm>
                <a:off x="1819" y="1912"/>
                <a:ext cx="18" cy="14"/>
              </a:xfrm>
              <a:custGeom>
                <a:avLst/>
                <a:gdLst>
                  <a:gd name="T0" fmla="*/ 4 w 28"/>
                  <a:gd name="T1" fmla="*/ 9 h 21"/>
                  <a:gd name="T2" fmla="*/ 11 w 28"/>
                  <a:gd name="T3" fmla="*/ 12 h 21"/>
                  <a:gd name="T4" fmla="*/ 15 w 28"/>
                  <a:gd name="T5" fmla="*/ 20 h 21"/>
                  <a:gd name="T6" fmla="*/ 16 w 28"/>
                  <a:gd name="T7" fmla="*/ 21 h 21"/>
                  <a:gd name="T8" fmla="*/ 10 w 28"/>
                  <a:gd name="T9" fmla="*/ 3 h 21"/>
                  <a:gd name="T10" fmla="*/ 10 w 28"/>
                  <a:gd name="T11" fmla="*/ 2 h 21"/>
                  <a:gd name="T12" fmla="*/ 6 w 28"/>
                  <a:gd name="T13" fmla="*/ 5 h 21"/>
                  <a:gd name="T14" fmla="*/ 1 w 28"/>
                  <a:gd name="T15" fmla="*/ 5 h 21"/>
                  <a:gd name="T16" fmla="*/ 4 w 28"/>
                  <a:gd name="T17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21">
                    <a:moveTo>
                      <a:pt x="4" y="9"/>
                    </a:moveTo>
                    <a:cubicBezTo>
                      <a:pt x="8" y="20"/>
                      <a:pt x="6" y="10"/>
                      <a:pt x="11" y="12"/>
                    </a:cubicBezTo>
                    <a:cubicBezTo>
                      <a:pt x="15" y="14"/>
                      <a:pt x="15" y="17"/>
                      <a:pt x="15" y="20"/>
                    </a:cubicBezTo>
                    <a:cubicBezTo>
                      <a:pt x="15" y="20"/>
                      <a:pt x="15" y="21"/>
                      <a:pt x="16" y="21"/>
                    </a:cubicBezTo>
                    <a:cubicBezTo>
                      <a:pt x="28" y="16"/>
                      <a:pt x="1" y="7"/>
                      <a:pt x="10" y="3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7" y="4"/>
                      <a:pt x="6" y="5"/>
                    </a:cubicBezTo>
                    <a:cubicBezTo>
                      <a:pt x="4" y="6"/>
                      <a:pt x="2" y="4"/>
                      <a:pt x="1" y="5"/>
                    </a:cubicBezTo>
                    <a:cubicBezTo>
                      <a:pt x="0" y="7"/>
                      <a:pt x="4" y="8"/>
                      <a:pt x="4" y="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5" name="Freeform 860"/>
              <p:cNvSpPr>
                <a:spLocks/>
              </p:cNvSpPr>
              <p:nvPr/>
            </p:nvSpPr>
            <p:spPr bwMode="auto">
              <a:xfrm>
                <a:off x="1817" y="1927"/>
                <a:ext cx="9" cy="9"/>
              </a:xfrm>
              <a:custGeom>
                <a:avLst/>
                <a:gdLst>
                  <a:gd name="T0" fmla="*/ 7 w 14"/>
                  <a:gd name="T1" fmla="*/ 13 h 14"/>
                  <a:gd name="T2" fmla="*/ 12 w 14"/>
                  <a:gd name="T3" fmla="*/ 6 h 14"/>
                  <a:gd name="T4" fmla="*/ 13 w 14"/>
                  <a:gd name="T5" fmla="*/ 6 h 14"/>
                  <a:gd name="T6" fmla="*/ 11 w 14"/>
                  <a:gd name="T7" fmla="*/ 3 h 14"/>
                  <a:gd name="T8" fmla="*/ 0 w 14"/>
                  <a:gd name="T9" fmla="*/ 7 h 14"/>
                  <a:gd name="T10" fmla="*/ 1 w 14"/>
                  <a:gd name="T11" fmla="*/ 9 h 14"/>
                  <a:gd name="T12" fmla="*/ 7 w 14"/>
                  <a:gd name="T1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4">
                    <a:moveTo>
                      <a:pt x="7" y="13"/>
                    </a:moveTo>
                    <a:cubicBezTo>
                      <a:pt x="14" y="14"/>
                      <a:pt x="9" y="8"/>
                      <a:pt x="12" y="6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3" y="5"/>
                      <a:pt x="12" y="3"/>
                      <a:pt x="11" y="3"/>
                    </a:cubicBezTo>
                    <a:cubicBezTo>
                      <a:pt x="8" y="4"/>
                      <a:pt x="0" y="0"/>
                      <a:pt x="0" y="7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3" y="11"/>
                      <a:pt x="4" y="13"/>
                      <a:pt x="7" y="1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6" name="Freeform 861"/>
              <p:cNvSpPr>
                <a:spLocks/>
              </p:cNvSpPr>
              <p:nvPr/>
            </p:nvSpPr>
            <p:spPr bwMode="auto">
              <a:xfrm>
                <a:off x="1560" y="2066"/>
                <a:ext cx="28" cy="23"/>
              </a:xfrm>
              <a:custGeom>
                <a:avLst/>
                <a:gdLst>
                  <a:gd name="T0" fmla="*/ 2 w 42"/>
                  <a:gd name="T1" fmla="*/ 19 h 35"/>
                  <a:gd name="T2" fmla="*/ 37 w 42"/>
                  <a:gd name="T3" fmla="*/ 26 h 35"/>
                  <a:gd name="T4" fmla="*/ 27 w 42"/>
                  <a:gd name="T5" fmla="*/ 24 h 35"/>
                  <a:gd name="T6" fmla="*/ 40 w 42"/>
                  <a:gd name="T7" fmla="*/ 18 h 35"/>
                  <a:gd name="T8" fmla="*/ 32 w 42"/>
                  <a:gd name="T9" fmla="*/ 14 h 35"/>
                  <a:gd name="T10" fmla="*/ 42 w 42"/>
                  <a:gd name="T11" fmla="*/ 13 h 35"/>
                  <a:gd name="T12" fmla="*/ 33 w 42"/>
                  <a:gd name="T13" fmla="*/ 5 h 35"/>
                  <a:gd name="T14" fmla="*/ 33 w 42"/>
                  <a:gd name="T15" fmla="*/ 5 h 35"/>
                  <a:gd name="T16" fmla="*/ 22 w 42"/>
                  <a:gd name="T17" fmla="*/ 5 h 35"/>
                  <a:gd name="T18" fmla="*/ 16 w 42"/>
                  <a:gd name="T19" fmla="*/ 12 h 35"/>
                  <a:gd name="T20" fmla="*/ 14 w 42"/>
                  <a:gd name="T21" fmla="*/ 8 h 35"/>
                  <a:gd name="T22" fmla="*/ 1 w 42"/>
                  <a:gd name="T23" fmla="*/ 18 h 35"/>
                  <a:gd name="T24" fmla="*/ 2 w 42"/>
                  <a:gd name="T25" fmla="*/ 1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35">
                    <a:moveTo>
                      <a:pt x="2" y="19"/>
                    </a:moveTo>
                    <a:cubicBezTo>
                      <a:pt x="8" y="22"/>
                      <a:pt x="36" y="35"/>
                      <a:pt x="37" y="26"/>
                    </a:cubicBezTo>
                    <a:cubicBezTo>
                      <a:pt x="38" y="21"/>
                      <a:pt x="28" y="26"/>
                      <a:pt x="27" y="24"/>
                    </a:cubicBezTo>
                    <a:cubicBezTo>
                      <a:pt x="25" y="20"/>
                      <a:pt x="42" y="26"/>
                      <a:pt x="40" y="18"/>
                    </a:cubicBezTo>
                    <a:cubicBezTo>
                      <a:pt x="39" y="15"/>
                      <a:pt x="31" y="17"/>
                      <a:pt x="32" y="14"/>
                    </a:cubicBezTo>
                    <a:cubicBezTo>
                      <a:pt x="34" y="5"/>
                      <a:pt x="37" y="20"/>
                      <a:pt x="42" y="13"/>
                    </a:cubicBezTo>
                    <a:cubicBezTo>
                      <a:pt x="42" y="13"/>
                      <a:pt x="34" y="6"/>
                      <a:pt x="33" y="5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29" y="0"/>
                      <a:pt x="22" y="20"/>
                      <a:pt x="22" y="5"/>
                    </a:cubicBezTo>
                    <a:cubicBezTo>
                      <a:pt x="22" y="3"/>
                      <a:pt x="16" y="11"/>
                      <a:pt x="16" y="12"/>
                    </a:cubicBezTo>
                    <a:cubicBezTo>
                      <a:pt x="12" y="15"/>
                      <a:pt x="14" y="8"/>
                      <a:pt x="14" y="8"/>
                    </a:cubicBezTo>
                    <a:cubicBezTo>
                      <a:pt x="10" y="8"/>
                      <a:pt x="0" y="13"/>
                      <a:pt x="1" y="18"/>
                    </a:cubicBezTo>
                    <a:cubicBezTo>
                      <a:pt x="1" y="18"/>
                      <a:pt x="2" y="18"/>
                      <a:pt x="2" y="1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7" name="Freeform 862"/>
              <p:cNvSpPr>
                <a:spLocks/>
              </p:cNvSpPr>
              <p:nvPr/>
            </p:nvSpPr>
            <p:spPr bwMode="auto">
              <a:xfrm>
                <a:off x="1726" y="2453"/>
                <a:ext cx="36" cy="29"/>
              </a:xfrm>
              <a:custGeom>
                <a:avLst/>
                <a:gdLst>
                  <a:gd name="T0" fmla="*/ 21 w 55"/>
                  <a:gd name="T1" fmla="*/ 41 h 44"/>
                  <a:gd name="T2" fmla="*/ 54 w 55"/>
                  <a:gd name="T3" fmla="*/ 17 h 44"/>
                  <a:gd name="T4" fmla="*/ 50 w 55"/>
                  <a:gd name="T5" fmla="*/ 16 h 44"/>
                  <a:gd name="T6" fmla="*/ 21 w 55"/>
                  <a:gd name="T7" fmla="*/ 0 h 44"/>
                  <a:gd name="T8" fmla="*/ 14 w 55"/>
                  <a:gd name="T9" fmla="*/ 34 h 44"/>
                  <a:gd name="T10" fmla="*/ 23 w 55"/>
                  <a:gd name="T11" fmla="*/ 33 h 44"/>
                  <a:gd name="T12" fmla="*/ 21 w 55"/>
                  <a:gd name="T13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5" h="44">
                    <a:moveTo>
                      <a:pt x="21" y="41"/>
                    </a:moveTo>
                    <a:cubicBezTo>
                      <a:pt x="26" y="44"/>
                      <a:pt x="55" y="19"/>
                      <a:pt x="54" y="17"/>
                    </a:cubicBezTo>
                    <a:cubicBezTo>
                      <a:pt x="53" y="16"/>
                      <a:pt x="50" y="16"/>
                      <a:pt x="50" y="16"/>
                    </a:cubicBezTo>
                    <a:cubicBezTo>
                      <a:pt x="27" y="11"/>
                      <a:pt x="43" y="6"/>
                      <a:pt x="21" y="0"/>
                    </a:cubicBezTo>
                    <a:cubicBezTo>
                      <a:pt x="6" y="0"/>
                      <a:pt x="0" y="28"/>
                      <a:pt x="14" y="34"/>
                    </a:cubicBezTo>
                    <a:cubicBezTo>
                      <a:pt x="17" y="35"/>
                      <a:pt x="21" y="31"/>
                      <a:pt x="23" y="33"/>
                    </a:cubicBezTo>
                    <a:cubicBezTo>
                      <a:pt x="24" y="34"/>
                      <a:pt x="18" y="38"/>
                      <a:pt x="21" y="4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8" name="Freeform 863"/>
              <p:cNvSpPr>
                <a:spLocks/>
              </p:cNvSpPr>
              <p:nvPr/>
            </p:nvSpPr>
            <p:spPr bwMode="auto">
              <a:xfrm>
                <a:off x="1842" y="2799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1 w 1"/>
                  <a:gd name="T5" fmla="*/ 1 h 1"/>
                  <a:gd name="T6" fmla="*/ 0 w 1"/>
                  <a:gd name="T7" fmla="*/ 1 h 1"/>
                  <a:gd name="T8" fmla="*/ 1 w 1"/>
                  <a:gd name="T9" fmla="*/ 1 h 1"/>
                  <a:gd name="T10" fmla="*/ 1 w 1"/>
                  <a:gd name="T11" fmla="*/ 1 h 1"/>
                  <a:gd name="T12" fmla="*/ 1 w 1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49" name="Freeform 864"/>
              <p:cNvSpPr>
                <a:spLocks/>
              </p:cNvSpPr>
              <p:nvPr/>
            </p:nvSpPr>
            <p:spPr bwMode="auto">
              <a:xfrm>
                <a:off x="1559" y="2122"/>
                <a:ext cx="12" cy="19"/>
              </a:xfrm>
              <a:custGeom>
                <a:avLst/>
                <a:gdLst>
                  <a:gd name="T0" fmla="*/ 16 w 18"/>
                  <a:gd name="T1" fmla="*/ 15 h 30"/>
                  <a:gd name="T2" fmla="*/ 16 w 18"/>
                  <a:gd name="T3" fmla="*/ 15 h 30"/>
                  <a:gd name="T4" fmla="*/ 2 w 18"/>
                  <a:gd name="T5" fmla="*/ 22 h 30"/>
                  <a:gd name="T6" fmla="*/ 16 w 18"/>
                  <a:gd name="T7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30">
                    <a:moveTo>
                      <a:pt x="16" y="15"/>
                    </a:moveTo>
                    <a:cubicBezTo>
                      <a:pt x="16" y="15"/>
                      <a:pt x="16" y="15"/>
                      <a:pt x="16" y="15"/>
                    </a:cubicBezTo>
                    <a:cubicBezTo>
                      <a:pt x="18" y="0"/>
                      <a:pt x="0" y="19"/>
                      <a:pt x="2" y="22"/>
                    </a:cubicBezTo>
                    <a:cubicBezTo>
                      <a:pt x="6" y="30"/>
                      <a:pt x="17" y="18"/>
                      <a:pt x="16" y="1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0" name="Freeform 865"/>
              <p:cNvSpPr>
                <a:spLocks/>
              </p:cNvSpPr>
              <p:nvPr/>
            </p:nvSpPr>
            <p:spPr bwMode="auto">
              <a:xfrm>
                <a:off x="1520" y="2290"/>
                <a:ext cx="161" cy="115"/>
              </a:xfrm>
              <a:custGeom>
                <a:avLst/>
                <a:gdLst>
                  <a:gd name="T0" fmla="*/ 56 w 245"/>
                  <a:gd name="T1" fmla="*/ 74 h 176"/>
                  <a:gd name="T2" fmla="*/ 34 w 245"/>
                  <a:gd name="T3" fmla="*/ 86 h 176"/>
                  <a:gd name="T4" fmla="*/ 43 w 245"/>
                  <a:gd name="T5" fmla="*/ 92 h 176"/>
                  <a:gd name="T6" fmla="*/ 1 w 245"/>
                  <a:gd name="T7" fmla="*/ 113 h 176"/>
                  <a:gd name="T8" fmla="*/ 74 w 245"/>
                  <a:gd name="T9" fmla="*/ 156 h 176"/>
                  <a:gd name="T10" fmla="*/ 103 w 245"/>
                  <a:gd name="T11" fmla="*/ 117 h 176"/>
                  <a:gd name="T12" fmla="*/ 124 w 245"/>
                  <a:gd name="T13" fmla="*/ 147 h 176"/>
                  <a:gd name="T14" fmla="*/ 139 w 245"/>
                  <a:gd name="T15" fmla="*/ 153 h 176"/>
                  <a:gd name="T16" fmla="*/ 136 w 245"/>
                  <a:gd name="T17" fmla="*/ 162 h 176"/>
                  <a:gd name="T18" fmla="*/ 139 w 245"/>
                  <a:gd name="T19" fmla="*/ 169 h 176"/>
                  <a:gd name="T20" fmla="*/ 170 w 245"/>
                  <a:gd name="T21" fmla="*/ 160 h 176"/>
                  <a:gd name="T22" fmla="*/ 170 w 245"/>
                  <a:gd name="T23" fmla="*/ 160 h 176"/>
                  <a:gd name="T24" fmla="*/ 176 w 245"/>
                  <a:gd name="T25" fmla="*/ 161 h 176"/>
                  <a:gd name="T26" fmla="*/ 190 w 245"/>
                  <a:gd name="T27" fmla="*/ 169 h 176"/>
                  <a:gd name="T28" fmla="*/ 206 w 245"/>
                  <a:gd name="T29" fmla="*/ 143 h 176"/>
                  <a:gd name="T30" fmla="*/ 233 w 245"/>
                  <a:gd name="T31" fmla="*/ 135 h 176"/>
                  <a:gd name="T32" fmla="*/ 234 w 245"/>
                  <a:gd name="T33" fmla="*/ 124 h 176"/>
                  <a:gd name="T34" fmla="*/ 220 w 245"/>
                  <a:gd name="T35" fmla="*/ 127 h 176"/>
                  <a:gd name="T36" fmla="*/ 228 w 245"/>
                  <a:gd name="T37" fmla="*/ 112 h 176"/>
                  <a:gd name="T38" fmla="*/ 221 w 245"/>
                  <a:gd name="T39" fmla="*/ 96 h 176"/>
                  <a:gd name="T40" fmla="*/ 227 w 245"/>
                  <a:gd name="T41" fmla="*/ 98 h 176"/>
                  <a:gd name="T42" fmla="*/ 238 w 245"/>
                  <a:gd name="T43" fmla="*/ 128 h 176"/>
                  <a:gd name="T44" fmla="*/ 245 w 245"/>
                  <a:gd name="T45" fmla="*/ 108 h 176"/>
                  <a:gd name="T46" fmla="*/ 232 w 245"/>
                  <a:gd name="T47" fmla="*/ 81 h 176"/>
                  <a:gd name="T48" fmla="*/ 201 w 245"/>
                  <a:gd name="T49" fmla="*/ 88 h 176"/>
                  <a:gd name="T50" fmla="*/ 222 w 245"/>
                  <a:gd name="T51" fmla="*/ 64 h 176"/>
                  <a:gd name="T52" fmla="*/ 212 w 245"/>
                  <a:gd name="T53" fmla="*/ 58 h 176"/>
                  <a:gd name="T54" fmla="*/ 211 w 245"/>
                  <a:gd name="T55" fmla="*/ 63 h 176"/>
                  <a:gd name="T56" fmla="*/ 181 w 245"/>
                  <a:gd name="T57" fmla="*/ 7 h 176"/>
                  <a:gd name="T58" fmla="*/ 115 w 245"/>
                  <a:gd name="T59" fmla="*/ 14 h 176"/>
                  <a:gd name="T60" fmla="*/ 109 w 245"/>
                  <a:gd name="T61" fmla="*/ 12 h 176"/>
                  <a:gd name="T62" fmla="*/ 91 w 245"/>
                  <a:gd name="T63" fmla="*/ 31 h 176"/>
                  <a:gd name="T64" fmla="*/ 86 w 245"/>
                  <a:gd name="T65" fmla="*/ 30 h 176"/>
                  <a:gd name="T66" fmla="*/ 82 w 245"/>
                  <a:gd name="T67" fmla="*/ 31 h 176"/>
                  <a:gd name="T68" fmla="*/ 82 w 245"/>
                  <a:gd name="T69" fmla="*/ 31 h 176"/>
                  <a:gd name="T70" fmla="*/ 56 w 245"/>
                  <a:gd name="T71" fmla="*/ 74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45" h="176">
                    <a:moveTo>
                      <a:pt x="56" y="74"/>
                    </a:moveTo>
                    <a:cubicBezTo>
                      <a:pt x="47" y="80"/>
                      <a:pt x="10" y="71"/>
                      <a:pt x="34" y="86"/>
                    </a:cubicBezTo>
                    <a:cubicBezTo>
                      <a:pt x="37" y="88"/>
                      <a:pt x="41" y="89"/>
                      <a:pt x="43" y="92"/>
                    </a:cubicBezTo>
                    <a:cubicBezTo>
                      <a:pt x="44" y="94"/>
                      <a:pt x="1" y="109"/>
                      <a:pt x="1" y="113"/>
                    </a:cubicBezTo>
                    <a:cubicBezTo>
                      <a:pt x="0" y="126"/>
                      <a:pt x="61" y="157"/>
                      <a:pt x="74" y="156"/>
                    </a:cubicBezTo>
                    <a:cubicBezTo>
                      <a:pt x="99" y="152"/>
                      <a:pt x="81" y="119"/>
                      <a:pt x="103" y="117"/>
                    </a:cubicBezTo>
                    <a:cubicBezTo>
                      <a:pt x="115" y="116"/>
                      <a:pt x="118" y="142"/>
                      <a:pt x="124" y="147"/>
                    </a:cubicBezTo>
                    <a:cubicBezTo>
                      <a:pt x="128" y="149"/>
                      <a:pt x="139" y="145"/>
                      <a:pt x="139" y="153"/>
                    </a:cubicBezTo>
                    <a:cubicBezTo>
                      <a:pt x="139" y="156"/>
                      <a:pt x="136" y="159"/>
                      <a:pt x="136" y="162"/>
                    </a:cubicBezTo>
                    <a:cubicBezTo>
                      <a:pt x="136" y="165"/>
                      <a:pt x="137" y="168"/>
                      <a:pt x="139" y="169"/>
                    </a:cubicBezTo>
                    <a:cubicBezTo>
                      <a:pt x="149" y="176"/>
                      <a:pt x="165" y="158"/>
                      <a:pt x="170" y="160"/>
                    </a:cubicBezTo>
                    <a:cubicBezTo>
                      <a:pt x="170" y="160"/>
                      <a:pt x="170" y="160"/>
                      <a:pt x="170" y="160"/>
                    </a:cubicBezTo>
                    <a:cubicBezTo>
                      <a:pt x="170" y="160"/>
                      <a:pt x="175" y="160"/>
                      <a:pt x="176" y="161"/>
                    </a:cubicBezTo>
                    <a:cubicBezTo>
                      <a:pt x="185" y="162"/>
                      <a:pt x="184" y="172"/>
                      <a:pt x="190" y="169"/>
                    </a:cubicBezTo>
                    <a:cubicBezTo>
                      <a:pt x="206" y="163"/>
                      <a:pt x="199" y="151"/>
                      <a:pt x="206" y="143"/>
                    </a:cubicBezTo>
                    <a:cubicBezTo>
                      <a:pt x="216" y="133"/>
                      <a:pt x="226" y="148"/>
                      <a:pt x="233" y="135"/>
                    </a:cubicBezTo>
                    <a:cubicBezTo>
                      <a:pt x="236" y="131"/>
                      <a:pt x="235" y="129"/>
                      <a:pt x="234" y="124"/>
                    </a:cubicBezTo>
                    <a:cubicBezTo>
                      <a:pt x="232" y="117"/>
                      <a:pt x="224" y="128"/>
                      <a:pt x="220" y="127"/>
                    </a:cubicBezTo>
                    <a:cubicBezTo>
                      <a:pt x="214" y="126"/>
                      <a:pt x="229" y="117"/>
                      <a:pt x="228" y="112"/>
                    </a:cubicBezTo>
                    <a:cubicBezTo>
                      <a:pt x="227" y="108"/>
                      <a:pt x="218" y="98"/>
                      <a:pt x="221" y="96"/>
                    </a:cubicBezTo>
                    <a:cubicBezTo>
                      <a:pt x="222" y="95"/>
                      <a:pt x="226" y="98"/>
                      <a:pt x="227" y="98"/>
                    </a:cubicBezTo>
                    <a:cubicBezTo>
                      <a:pt x="236" y="105"/>
                      <a:pt x="232" y="127"/>
                      <a:pt x="238" y="128"/>
                    </a:cubicBezTo>
                    <a:cubicBezTo>
                      <a:pt x="240" y="128"/>
                      <a:pt x="245" y="112"/>
                      <a:pt x="245" y="108"/>
                    </a:cubicBezTo>
                    <a:cubicBezTo>
                      <a:pt x="245" y="107"/>
                      <a:pt x="235" y="82"/>
                      <a:pt x="232" y="81"/>
                    </a:cubicBezTo>
                    <a:cubicBezTo>
                      <a:pt x="223" y="79"/>
                      <a:pt x="201" y="91"/>
                      <a:pt x="201" y="88"/>
                    </a:cubicBezTo>
                    <a:cubicBezTo>
                      <a:pt x="199" y="75"/>
                      <a:pt x="224" y="79"/>
                      <a:pt x="222" y="64"/>
                    </a:cubicBezTo>
                    <a:cubicBezTo>
                      <a:pt x="222" y="61"/>
                      <a:pt x="214" y="54"/>
                      <a:pt x="212" y="58"/>
                    </a:cubicBezTo>
                    <a:cubicBezTo>
                      <a:pt x="212" y="60"/>
                      <a:pt x="226" y="75"/>
                      <a:pt x="211" y="63"/>
                    </a:cubicBezTo>
                    <a:cubicBezTo>
                      <a:pt x="198" y="52"/>
                      <a:pt x="191" y="11"/>
                      <a:pt x="181" y="7"/>
                    </a:cubicBezTo>
                    <a:cubicBezTo>
                      <a:pt x="160" y="0"/>
                      <a:pt x="128" y="21"/>
                      <a:pt x="115" y="14"/>
                    </a:cubicBezTo>
                    <a:cubicBezTo>
                      <a:pt x="114" y="14"/>
                      <a:pt x="110" y="11"/>
                      <a:pt x="109" y="12"/>
                    </a:cubicBezTo>
                    <a:cubicBezTo>
                      <a:pt x="106" y="16"/>
                      <a:pt x="104" y="41"/>
                      <a:pt x="91" y="31"/>
                    </a:cubicBezTo>
                    <a:cubicBezTo>
                      <a:pt x="90" y="29"/>
                      <a:pt x="88" y="30"/>
                      <a:pt x="86" y="30"/>
                    </a:cubicBezTo>
                    <a:cubicBezTo>
                      <a:pt x="85" y="31"/>
                      <a:pt x="82" y="32"/>
                      <a:pt x="82" y="31"/>
                    </a:cubicBezTo>
                    <a:cubicBezTo>
                      <a:pt x="82" y="31"/>
                      <a:pt x="82" y="31"/>
                      <a:pt x="82" y="31"/>
                    </a:cubicBezTo>
                    <a:cubicBezTo>
                      <a:pt x="59" y="36"/>
                      <a:pt x="72" y="63"/>
                      <a:pt x="56" y="7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1" name="Freeform 866"/>
              <p:cNvSpPr>
                <a:spLocks/>
              </p:cNvSpPr>
              <p:nvPr/>
            </p:nvSpPr>
            <p:spPr bwMode="auto">
              <a:xfrm>
                <a:off x="1694" y="2233"/>
                <a:ext cx="13" cy="20"/>
              </a:xfrm>
              <a:custGeom>
                <a:avLst/>
                <a:gdLst>
                  <a:gd name="T0" fmla="*/ 17 w 20"/>
                  <a:gd name="T1" fmla="*/ 29 h 30"/>
                  <a:gd name="T2" fmla="*/ 5 w 20"/>
                  <a:gd name="T3" fmla="*/ 2 h 30"/>
                  <a:gd name="T4" fmla="*/ 4 w 20"/>
                  <a:gd name="T5" fmla="*/ 1 h 30"/>
                  <a:gd name="T6" fmla="*/ 17 w 20"/>
                  <a:gd name="T7" fmla="*/ 2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30">
                    <a:moveTo>
                      <a:pt x="17" y="29"/>
                    </a:moveTo>
                    <a:cubicBezTo>
                      <a:pt x="20" y="30"/>
                      <a:pt x="13" y="6"/>
                      <a:pt x="5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0" y="0"/>
                      <a:pt x="10" y="26"/>
                      <a:pt x="17" y="2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2" name="Freeform 867"/>
              <p:cNvSpPr>
                <a:spLocks/>
              </p:cNvSpPr>
              <p:nvPr/>
            </p:nvSpPr>
            <p:spPr bwMode="auto">
              <a:xfrm>
                <a:off x="1558" y="2095"/>
                <a:ext cx="20" cy="33"/>
              </a:xfrm>
              <a:custGeom>
                <a:avLst/>
                <a:gdLst>
                  <a:gd name="T0" fmla="*/ 30 w 31"/>
                  <a:gd name="T1" fmla="*/ 17 h 49"/>
                  <a:gd name="T2" fmla="*/ 16 w 31"/>
                  <a:gd name="T3" fmla="*/ 6 h 49"/>
                  <a:gd name="T4" fmla="*/ 19 w 31"/>
                  <a:gd name="T5" fmla="*/ 8 h 49"/>
                  <a:gd name="T6" fmla="*/ 24 w 31"/>
                  <a:gd name="T7" fmla="*/ 5 h 49"/>
                  <a:gd name="T8" fmla="*/ 17 w 31"/>
                  <a:gd name="T9" fmla="*/ 1 h 49"/>
                  <a:gd name="T10" fmla="*/ 17 w 31"/>
                  <a:gd name="T11" fmla="*/ 1 h 49"/>
                  <a:gd name="T12" fmla="*/ 13 w 31"/>
                  <a:gd name="T13" fmla="*/ 3 h 49"/>
                  <a:gd name="T14" fmla="*/ 27 w 31"/>
                  <a:gd name="T15" fmla="*/ 44 h 49"/>
                  <a:gd name="T16" fmla="*/ 21 w 31"/>
                  <a:gd name="T17" fmla="*/ 38 h 49"/>
                  <a:gd name="T18" fmla="*/ 25 w 31"/>
                  <a:gd name="T19" fmla="*/ 36 h 49"/>
                  <a:gd name="T20" fmla="*/ 16 w 31"/>
                  <a:gd name="T21" fmla="*/ 24 h 49"/>
                  <a:gd name="T22" fmla="*/ 30 w 31"/>
                  <a:gd name="T23" fmla="*/ 1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" h="49">
                    <a:moveTo>
                      <a:pt x="30" y="17"/>
                    </a:moveTo>
                    <a:cubicBezTo>
                      <a:pt x="31" y="11"/>
                      <a:pt x="16" y="13"/>
                      <a:pt x="16" y="6"/>
                    </a:cubicBezTo>
                    <a:cubicBezTo>
                      <a:pt x="16" y="4"/>
                      <a:pt x="19" y="8"/>
                      <a:pt x="19" y="8"/>
                    </a:cubicBezTo>
                    <a:cubicBezTo>
                      <a:pt x="31" y="14"/>
                      <a:pt x="24" y="6"/>
                      <a:pt x="24" y="5"/>
                    </a:cubicBezTo>
                    <a:cubicBezTo>
                      <a:pt x="23" y="3"/>
                      <a:pt x="19" y="3"/>
                      <a:pt x="17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4" y="0"/>
                      <a:pt x="16" y="2"/>
                      <a:pt x="13" y="3"/>
                    </a:cubicBezTo>
                    <a:cubicBezTo>
                      <a:pt x="13" y="3"/>
                      <a:pt x="0" y="49"/>
                      <a:pt x="27" y="44"/>
                    </a:cubicBezTo>
                    <a:cubicBezTo>
                      <a:pt x="31" y="44"/>
                      <a:pt x="24" y="37"/>
                      <a:pt x="21" y="38"/>
                    </a:cubicBezTo>
                    <a:cubicBezTo>
                      <a:pt x="19" y="38"/>
                      <a:pt x="24" y="37"/>
                      <a:pt x="25" y="36"/>
                    </a:cubicBezTo>
                    <a:cubicBezTo>
                      <a:pt x="28" y="32"/>
                      <a:pt x="14" y="28"/>
                      <a:pt x="16" y="24"/>
                    </a:cubicBezTo>
                    <a:cubicBezTo>
                      <a:pt x="18" y="22"/>
                      <a:pt x="28" y="26"/>
                      <a:pt x="30" y="1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3" name="Freeform 868"/>
              <p:cNvSpPr>
                <a:spLocks/>
              </p:cNvSpPr>
              <p:nvPr/>
            </p:nvSpPr>
            <p:spPr bwMode="auto">
              <a:xfrm>
                <a:off x="1718" y="2366"/>
                <a:ext cx="28" cy="36"/>
              </a:xfrm>
              <a:custGeom>
                <a:avLst/>
                <a:gdLst>
                  <a:gd name="T0" fmla="*/ 40 w 43"/>
                  <a:gd name="T1" fmla="*/ 2 h 55"/>
                  <a:gd name="T2" fmla="*/ 33 w 43"/>
                  <a:gd name="T3" fmla="*/ 3 h 55"/>
                  <a:gd name="T4" fmla="*/ 1 w 43"/>
                  <a:gd name="T5" fmla="*/ 49 h 55"/>
                  <a:gd name="T6" fmla="*/ 11 w 43"/>
                  <a:gd name="T7" fmla="*/ 48 h 55"/>
                  <a:gd name="T8" fmla="*/ 41 w 43"/>
                  <a:gd name="T9" fmla="*/ 21 h 55"/>
                  <a:gd name="T10" fmla="*/ 40 w 43"/>
                  <a:gd name="T11" fmla="*/ 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" h="55">
                    <a:moveTo>
                      <a:pt x="40" y="2"/>
                    </a:moveTo>
                    <a:cubicBezTo>
                      <a:pt x="39" y="0"/>
                      <a:pt x="35" y="3"/>
                      <a:pt x="33" y="3"/>
                    </a:cubicBezTo>
                    <a:cubicBezTo>
                      <a:pt x="21" y="6"/>
                      <a:pt x="0" y="40"/>
                      <a:pt x="1" y="49"/>
                    </a:cubicBezTo>
                    <a:cubicBezTo>
                      <a:pt x="1" y="52"/>
                      <a:pt x="9" y="45"/>
                      <a:pt x="11" y="48"/>
                    </a:cubicBezTo>
                    <a:cubicBezTo>
                      <a:pt x="16" y="55"/>
                      <a:pt x="39" y="29"/>
                      <a:pt x="41" y="21"/>
                    </a:cubicBezTo>
                    <a:cubicBezTo>
                      <a:pt x="43" y="17"/>
                      <a:pt x="40" y="10"/>
                      <a:pt x="40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4" name="Freeform 869"/>
              <p:cNvSpPr>
                <a:spLocks/>
              </p:cNvSpPr>
              <p:nvPr/>
            </p:nvSpPr>
            <p:spPr bwMode="auto">
              <a:xfrm>
                <a:off x="1842" y="28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5" name="Freeform 870"/>
              <p:cNvSpPr>
                <a:spLocks/>
              </p:cNvSpPr>
              <p:nvPr/>
            </p:nvSpPr>
            <p:spPr bwMode="auto">
              <a:xfrm>
                <a:off x="1566" y="2085"/>
                <a:ext cx="17" cy="17"/>
              </a:xfrm>
              <a:custGeom>
                <a:avLst/>
                <a:gdLst>
                  <a:gd name="T0" fmla="*/ 18 w 26"/>
                  <a:gd name="T1" fmla="*/ 9 h 26"/>
                  <a:gd name="T2" fmla="*/ 23 w 26"/>
                  <a:gd name="T3" fmla="*/ 7 h 26"/>
                  <a:gd name="T4" fmla="*/ 11 w 26"/>
                  <a:gd name="T5" fmla="*/ 3 h 26"/>
                  <a:gd name="T6" fmla="*/ 11 w 26"/>
                  <a:gd name="T7" fmla="*/ 3 h 26"/>
                  <a:gd name="T8" fmla="*/ 23 w 26"/>
                  <a:gd name="T9" fmla="*/ 13 h 26"/>
                  <a:gd name="T10" fmla="*/ 18 w 26"/>
                  <a:gd name="T11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6">
                    <a:moveTo>
                      <a:pt x="18" y="9"/>
                    </a:moveTo>
                    <a:cubicBezTo>
                      <a:pt x="18" y="8"/>
                      <a:pt x="23" y="8"/>
                      <a:pt x="23" y="7"/>
                    </a:cubicBezTo>
                    <a:cubicBezTo>
                      <a:pt x="24" y="5"/>
                      <a:pt x="13" y="5"/>
                      <a:pt x="11" y="3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0" y="0"/>
                      <a:pt x="12" y="26"/>
                      <a:pt x="23" y="13"/>
                    </a:cubicBezTo>
                    <a:cubicBezTo>
                      <a:pt x="26" y="10"/>
                      <a:pt x="17" y="12"/>
                      <a:pt x="18" y="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6" name="Freeform 871"/>
              <p:cNvSpPr>
                <a:spLocks/>
              </p:cNvSpPr>
              <p:nvPr/>
            </p:nvSpPr>
            <p:spPr bwMode="auto">
              <a:xfrm>
                <a:off x="1679" y="2250"/>
                <a:ext cx="28" cy="29"/>
              </a:xfrm>
              <a:custGeom>
                <a:avLst/>
                <a:gdLst>
                  <a:gd name="T0" fmla="*/ 21 w 43"/>
                  <a:gd name="T1" fmla="*/ 40 h 45"/>
                  <a:gd name="T2" fmla="*/ 18 w 43"/>
                  <a:gd name="T3" fmla="*/ 0 h 45"/>
                  <a:gd name="T4" fmla="*/ 18 w 43"/>
                  <a:gd name="T5" fmla="*/ 0 h 45"/>
                  <a:gd name="T6" fmla="*/ 21 w 43"/>
                  <a:gd name="T7" fmla="*/ 4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45">
                    <a:moveTo>
                      <a:pt x="21" y="40"/>
                    </a:moveTo>
                    <a:cubicBezTo>
                      <a:pt x="43" y="45"/>
                      <a:pt x="34" y="4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1"/>
                      <a:pt x="5" y="36"/>
                      <a:pt x="21" y="4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7" name="Freeform 872"/>
              <p:cNvSpPr>
                <a:spLocks/>
              </p:cNvSpPr>
              <p:nvPr/>
            </p:nvSpPr>
            <p:spPr bwMode="auto">
              <a:xfrm>
                <a:off x="1612" y="2037"/>
                <a:ext cx="1" cy="0"/>
              </a:xfrm>
              <a:custGeom>
                <a:avLst/>
                <a:gdLst>
                  <a:gd name="T0" fmla="*/ 0 w 2"/>
                  <a:gd name="T1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2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8" name="Freeform 873"/>
              <p:cNvSpPr>
                <a:spLocks noEditPoints="1"/>
              </p:cNvSpPr>
              <p:nvPr/>
            </p:nvSpPr>
            <p:spPr bwMode="auto">
              <a:xfrm>
                <a:off x="3290" y="2543"/>
                <a:ext cx="1059" cy="682"/>
              </a:xfrm>
              <a:custGeom>
                <a:avLst/>
                <a:gdLst>
                  <a:gd name="T0" fmla="*/ 1495 w 1616"/>
                  <a:gd name="T1" fmla="*/ 598 h 1041"/>
                  <a:gd name="T2" fmla="*/ 1585 w 1616"/>
                  <a:gd name="T3" fmla="*/ 576 h 1041"/>
                  <a:gd name="T4" fmla="*/ 1604 w 1616"/>
                  <a:gd name="T5" fmla="*/ 468 h 1041"/>
                  <a:gd name="T6" fmla="*/ 1581 w 1616"/>
                  <a:gd name="T7" fmla="*/ 379 h 1041"/>
                  <a:gd name="T8" fmla="*/ 1447 w 1616"/>
                  <a:gd name="T9" fmla="*/ 312 h 1041"/>
                  <a:gd name="T10" fmla="*/ 1278 w 1616"/>
                  <a:gd name="T11" fmla="*/ 279 h 1041"/>
                  <a:gd name="T12" fmla="*/ 1178 w 1616"/>
                  <a:gd name="T13" fmla="*/ 193 h 1041"/>
                  <a:gd name="T14" fmla="*/ 1096 w 1616"/>
                  <a:gd name="T15" fmla="*/ 154 h 1041"/>
                  <a:gd name="T16" fmla="*/ 1073 w 1616"/>
                  <a:gd name="T17" fmla="*/ 99 h 1041"/>
                  <a:gd name="T18" fmla="*/ 967 w 1616"/>
                  <a:gd name="T19" fmla="*/ 23 h 1041"/>
                  <a:gd name="T20" fmla="*/ 795 w 1616"/>
                  <a:gd name="T21" fmla="*/ 45 h 1041"/>
                  <a:gd name="T22" fmla="*/ 677 w 1616"/>
                  <a:gd name="T23" fmla="*/ 123 h 1041"/>
                  <a:gd name="T24" fmla="*/ 560 w 1616"/>
                  <a:gd name="T25" fmla="*/ 118 h 1041"/>
                  <a:gd name="T26" fmla="*/ 462 w 1616"/>
                  <a:gd name="T27" fmla="*/ 110 h 1041"/>
                  <a:gd name="T28" fmla="*/ 142 w 1616"/>
                  <a:gd name="T29" fmla="*/ 103 h 1041"/>
                  <a:gd name="T30" fmla="*/ 167 w 1616"/>
                  <a:gd name="T31" fmla="*/ 216 h 1041"/>
                  <a:gd name="T32" fmla="*/ 79 w 1616"/>
                  <a:gd name="T33" fmla="*/ 342 h 1041"/>
                  <a:gd name="T34" fmla="*/ 67 w 1616"/>
                  <a:gd name="T35" fmla="*/ 447 h 1041"/>
                  <a:gd name="T36" fmla="*/ 67 w 1616"/>
                  <a:gd name="T37" fmla="*/ 570 h 1041"/>
                  <a:gd name="T38" fmla="*/ 159 w 1616"/>
                  <a:gd name="T39" fmla="*/ 589 h 1041"/>
                  <a:gd name="T40" fmla="*/ 364 w 1616"/>
                  <a:gd name="T41" fmla="*/ 583 h 1041"/>
                  <a:gd name="T42" fmla="*/ 419 w 1616"/>
                  <a:gd name="T43" fmla="*/ 531 h 1041"/>
                  <a:gd name="T44" fmla="*/ 535 w 1616"/>
                  <a:gd name="T45" fmla="*/ 550 h 1041"/>
                  <a:gd name="T46" fmla="*/ 615 w 1616"/>
                  <a:gd name="T47" fmla="*/ 589 h 1041"/>
                  <a:gd name="T48" fmla="*/ 671 w 1616"/>
                  <a:gd name="T49" fmla="*/ 698 h 1041"/>
                  <a:gd name="T50" fmla="*/ 717 w 1616"/>
                  <a:gd name="T51" fmla="*/ 783 h 1041"/>
                  <a:gd name="T52" fmla="*/ 637 w 1616"/>
                  <a:gd name="T53" fmla="*/ 790 h 1041"/>
                  <a:gd name="T54" fmla="*/ 550 w 1616"/>
                  <a:gd name="T55" fmla="*/ 898 h 1041"/>
                  <a:gd name="T56" fmla="*/ 676 w 1616"/>
                  <a:gd name="T57" fmla="*/ 935 h 1041"/>
                  <a:gd name="T58" fmla="*/ 679 w 1616"/>
                  <a:gd name="T59" fmla="*/ 891 h 1041"/>
                  <a:gd name="T60" fmla="*/ 699 w 1616"/>
                  <a:gd name="T61" fmla="*/ 860 h 1041"/>
                  <a:gd name="T62" fmla="*/ 718 w 1616"/>
                  <a:gd name="T63" fmla="*/ 859 h 1041"/>
                  <a:gd name="T64" fmla="*/ 776 w 1616"/>
                  <a:gd name="T65" fmla="*/ 766 h 1041"/>
                  <a:gd name="T66" fmla="*/ 875 w 1616"/>
                  <a:gd name="T67" fmla="*/ 754 h 1041"/>
                  <a:gd name="T68" fmla="*/ 860 w 1616"/>
                  <a:gd name="T69" fmla="*/ 677 h 1041"/>
                  <a:gd name="T70" fmla="*/ 885 w 1616"/>
                  <a:gd name="T71" fmla="*/ 755 h 1041"/>
                  <a:gd name="T72" fmla="*/ 850 w 1616"/>
                  <a:gd name="T73" fmla="*/ 768 h 1041"/>
                  <a:gd name="T74" fmla="*/ 863 w 1616"/>
                  <a:gd name="T75" fmla="*/ 797 h 1041"/>
                  <a:gd name="T76" fmla="*/ 983 w 1616"/>
                  <a:gd name="T77" fmla="*/ 820 h 1041"/>
                  <a:gd name="T78" fmla="*/ 1031 w 1616"/>
                  <a:gd name="T79" fmla="*/ 825 h 1041"/>
                  <a:gd name="T80" fmla="*/ 994 w 1616"/>
                  <a:gd name="T81" fmla="*/ 869 h 1041"/>
                  <a:gd name="T82" fmla="*/ 996 w 1616"/>
                  <a:gd name="T83" fmla="*/ 943 h 1041"/>
                  <a:gd name="T84" fmla="*/ 1026 w 1616"/>
                  <a:gd name="T85" fmla="*/ 1028 h 1041"/>
                  <a:gd name="T86" fmla="*/ 1164 w 1616"/>
                  <a:gd name="T87" fmla="*/ 977 h 1041"/>
                  <a:gd name="T88" fmla="*/ 1279 w 1616"/>
                  <a:gd name="T89" fmla="*/ 928 h 1041"/>
                  <a:gd name="T90" fmla="*/ 1135 w 1616"/>
                  <a:gd name="T91" fmla="*/ 813 h 1041"/>
                  <a:gd name="T92" fmla="*/ 1232 w 1616"/>
                  <a:gd name="T93" fmla="*/ 754 h 1041"/>
                  <a:gd name="T94" fmla="*/ 1352 w 1616"/>
                  <a:gd name="T95" fmla="*/ 718 h 1041"/>
                  <a:gd name="T96" fmla="*/ 1447 w 1616"/>
                  <a:gd name="T97" fmla="*/ 675 h 1041"/>
                  <a:gd name="T98" fmla="*/ 733 w 1616"/>
                  <a:gd name="T99" fmla="*/ 792 h 1041"/>
                  <a:gd name="T100" fmla="*/ 758 w 1616"/>
                  <a:gd name="T101" fmla="*/ 745 h 1041"/>
                  <a:gd name="T102" fmla="*/ 815 w 1616"/>
                  <a:gd name="T103" fmla="*/ 742 h 1041"/>
                  <a:gd name="T104" fmla="*/ 1162 w 1616"/>
                  <a:gd name="T105" fmla="*/ 896 h 1041"/>
                  <a:gd name="T106" fmla="*/ 1136 w 1616"/>
                  <a:gd name="T107" fmla="*/ 872 h 1041"/>
                  <a:gd name="T108" fmla="*/ 1104 w 1616"/>
                  <a:gd name="T109" fmla="*/ 853 h 1041"/>
                  <a:gd name="T110" fmla="*/ 1083 w 1616"/>
                  <a:gd name="T111" fmla="*/ 835 h 1041"/>
                  <a:gd name="T112" fmla="*/ 1061 w 1616"/>
                  <a:gd name="T113" fmla="*/ 825 h 1041"/>
                  <a:gd name="T114" fmla="*/ 1075 w 1616"/>
                  <a:gd name="T115" fmla="*/ 810 h 1041"/>
                  <a:gd name="T116" fmla="*/ 1112 w 1616"/>
                  <a:gd name="T117" fmla="*/ 817 h 1041"/>
                  <a:gd name="T118" fmla="*/ 1118 w 1616"/>
                  <a:gd name="T119" fmla="*/ 815 h 10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16" h="1041">
                    <a:moveTo>
                      <a:pt x="1447" y="675"/>
                    </a:moveTo>
                    <a:cubicBezTo>
                      <a:pt x="1448" y="674"/>
                      <a:pt x="1448" y="671"/>
                      <a:pt x="1447" y="671"/>
                    </a:cubicBezTo>
                    <a:cubicBezTo>
                      <a:pt x="1444" y="669"/>
                      <a:pt x="1436" y="672"/>
                      <a:pt x="1437" y="668"/>
                    </a:cubicBezTo>
                    <a:cubicBezTo>
                      <a:pt x="1438" y="663"/>
                      <a:pt x="1444" y="637"/>
                      <a:pt x="1448" y="634"/>
                    </a:cubicBezTo>
                    <a:cubicBezTo>
                      <a:pt x="1459" y="627"/>
                      <a:pt x="1478" y="630"/>
                      <a:pt x="1487" y="621"/>
                    </a:cubicBezTo>
                    <a:cubicBezTo>
                      <a:pt x="1492" y="617"/>
                      <a:pt x="1486" y="602"/>
                      <a:pt x="1495" y="598"/>
                    </a:cubicBezTo>
                    <a:cubicBezTo>
                      <a:pt x="1497" y="597"/>
                      <a:pt x="1500" y="598"/>
                      <a:pt x="1503" y="598"/>
                    </a:cubicBezTo>
                    <a:cubicBezTo>
                      <a:pt x="1509" y="598"/>
                      <a:pt x="1515" y="598"/>
                      <a:pt x="1522" y="599"/>
                    </a:cubicBezTo>
                    <a:cubicBezTo>
                      <a:pt x="1539" y="600"/>
                      <a:pt x="1555" y="600"/>
                      <a:pt x="1572" y="600"/>
                    </a:cubicBezTo>
                    <a:cubicBezTo>
                      <a:pt x="1574" y="600"/>
                      <a:pt x="1576" y="601"/>
                      <a:pt x="1578" y="600"/>
                    </a:cubicBezTo>
                    <a:cubicBezTo>
                      <a:pt x="1583" y="594"/>
                      <a:pt x="1576" y="581"/>
                      <a:pt x="1578" y="578"/>
                    </a:cubicBezTo>
                    <a:cubicBezTo>
                      <a:pt x="1579" y="576"/>
                      <a:pt x="1584" y="578"/>
                      <a:pt x="1585" y="576"/>
                    </a:cubicBezTo>
                    <a:cubicBezTo>
                      <a:pt x="1588" y="570"/>
                      <a:pt x="1585" y="560"/>
                      <a:pt x="1591" y="553"/>
                    </a:cubicBezTo>
                    <a:cubicBezTo>
                      <a:pt x="1593" y="550"/>
                      <a:pt x="1600" y="549"/>
                      <a:pt x="1599" y="544"/>
                    </a:cubicBezTo>
                    <a:cubicBezTo>
                      <a:pt x="1598" y="539"/>
                      <a:pt x="1584" y="543"/>
                      <a:pt x="1584" y="542"/>
                    </a:cubicBezTo>
                    <a:cubicBezTo>
                      <a:pt x="1584" y="531"/>
                      <a:pt x="1591" y="523"/>
                      <a:pt x="1584" y="509"/>
                    </a:cubicBezTo>
                    <a:cubicBezTo>
                      <a:pt x="1580" y="503"/>
                      <a:pt x="1565" y="509"/>
                      <a:pt x="1566" y="501"/>
                    </a:cubicBezTo>
                    <a:cubicBezTo>
                      <a:pt x="1571" y="464"/>
                      <a:pt x="1598" y="488"/>
                      <a:pt x="1604" y="468"/>
                    </a:cubicBezTo>
                    <a:cubicBezTo>
                      <a:pt x="1605" y="466"/>
                      <a:pt x="1600" y="466"/>
                      <a:pt x="1597" y="466"/>
                    </a:cubicBezTo>
                    <a:cubicBezTo>
                      <a:pt x="1588" y="465"/>
                      <a:pt x="1574" y="466"/>
                      <a:pt x="1570" y="455"/>
                    </a:cubicBezTo>
                    <a:cubicBezTo>
                      <a:pt x="1568" y="448"/>
                      <a:pt x="1606" y="436"/>
                      <a:pt x="1612" y="419"/>
                    </a:cubicBezTo>
                    <a:cubicBezTo>
                      <a:pt x="1616" y="406"/>
                      <a:pt x="1604" y="401"/>
                      <a:pt x="1602" y="390"/>
                    </a:cubicBezTo>
                    <a:cubicBezTo>
                      <a:pt x="1599" y="382"/>
                      <a:pt x="1616" y="378"/>
                      <a:pt x="1609" y="373"/>
                    </a:cubicBezTo>
                    <a:cubicBezTo>
                      <a:pt x="1597" y="364"/>
                      <a:pt x="1592" y="381"/>
                      <a:pt x="1581" y="379"/>
                    </a:cubicBezTo>
                    <a:cubicBezTo>
                      <a:pt x="1563" y="377"/>
                      <a:pt x="1568" y="361"/>
                      <a:pt x="1558" y="355"/>
                    </a:cubicBezTo>
                    <a:cubicBezTo>
                      <a:pt x="1539" y="344"/>
                      <a:pt x="1549" y="366"/>
                      <a:pt x="1526" y="338"/>
                    </a:cubicBezTo>
                    <a:cubicBezTo>
                      <a:pt x="1521" y="333"/>
                      <a:pt x="1511" y="347"/>
                      <a:pt x="1503" y="347"/>
                    </a:cubicBezTo>
                    <a:cubicBezTo>
                      <a:pt x="1492" y="346"/>
                      <a:pt x="1487" y="325"/>
                      <a:pt x="1480" y="323"/>
                    </a:cubicBezTo>
                    <a:cubicBezTo>
                      <a:pt x="1474" y="321"/>
                      <a:pt x="1469" y="328"/>
                      <a:pt x="1463" y="327"/>
                    </a:cubicBezTo>
                    <a:cubicBezTo>
                      <a:pt x="1457" y="326"/>
                      <a:pt x="1453" y="314"/>
                      <a:pt x="1447" y="312"/>
                    </a:cubicBezTo>
                    <a:cubicBezTo>
                      <a:pt x="1429" y="305"/>
                      <a:pt x="1439" y="345"/>
                      <a:pt x="1420" y="334"/>
                    </a:cubicBezTo>
                    <a:cubicBezTo>
                      <a:pt x="1420" y="334"/>
                      <a:pt x="1411" y="316"/>
                      <a:pt x="1411" y="316"/>
                    </a:cubicBezTo>
                    <a:cubicBezTo>
                      <a:pt x="1403" y="308"/>
                      <a:pt x="1387" y="307"/>
                      <a:pt x="1383" y="292"/>
                    </a:cubicBezTo>
                    <a:cubicBezTo>
                      <a:pt x="1381" y="283"/>
                      <a:pt x="1379" y="271"/>
                      <a:pt x="1371" y="264"/>
                    </a:cubicBezTo>
                    <a:cubicBezTo>
                      <a:pt x="1365" y="258"/>
                      <a:pt x="1304" y="289"/>
                      <a:pt x="1297" y="292"/>
                    </a:cubicBezTo>
                    <a:cubicBezTo>
                      <a:pt x="1287" y="297"/>
                      <a:pt x="1285" y="280"/>
                      <a:pt x="1278" y="279"/>
                    </a:cubicBezTo>
                    <a:cubicBezTo>
                      <a:pt x="1269" y="278"/>
                      <a:pt x="1271" y="288"/>
                      <a:pt x="1264" y="281"/>
                    </a:cubicBezTo>
                    <a:cubicBezTo>
                      <a:pt x="1261" y="278"/>
                      <a:pt x="1261" y="271"/>
                      <a:pt x="1257" y="268"/>
                    </a:cubicBezTo>
                    <a:cubicBezTo>
                      <a:pt x="1237" y="255"/>
                      <a:pt x="1220" y="282"/>
                      <a:pt x="1203" y="270"/>
                    </a:cubicBezTo>
                    <a:cubicBezTo>
                      <a:pt x="1188" y="259"/>
                      <a:pt x="1187" y="242"/>
                      <a:pt x="1194" y="231"/>
                    </a:cubicBezTo>
                    <a:cubicBezTo>
                      <a:pt x="1197" y="226"/>
                      <a:pt x="1188" y="218"/>
                      <a:pt x="1187" y="215"/>
                    </a:cubicBezTo>
                    <a:cubicBezTo>
                      <a:pt x="1186" y="213"/>
                      <a:pt x="1178" y="194"/>
                      <a:pt x="1178" y="193"/>
                    </a:cubicBezTo>
                    <a:cubicBezTo>
                      <a:pt x="1178" y="190"/>
                      <a:pt x="1186" y="188"/>
                      <a:pt x="1184" y="185"/>
                    </a:cubicBezTo>
                    <a:cubicBezTo>
                      <a:pt x="1180" y="179"/>
                      <a:pt x="1173" y="185"/>
                      <a:pt x="1168" y="182"/>
                    </a:cubicBezTo>
                    <a:cubicBezTo>
                      <a:pt x="1161" y="180"/>
                      <a:pt x="1165" y="167"/>
                      <a:pt x="1162" y="163"/>
                    </a:cubicBezTo>
                    <a:cubicBezTo>
                      <a:pt x="1161" y="161"/>
                      <a:pt x="1159" y="161"/>
                      <a:pt x="1157" y="160"/>
                    </a:cubicBezTo>
                    <a:cubicBezTo>
                      <a:pt x="1147" y="160"/>
                      <a:pt x="1130" y="169"/>
                      <a:pt x="1122" y="165"/>
                    </a:cubicBezTo>
                    <a:cubicBezTo>
                      <a:pt x="1116" y="162"/>
                      <a:pt x="1108" y="151"/>
                      <a:pt x="1096" y="154"/>
                    </a:cubicBezTo>
                    <a:cubicBezTo>
                      <a:pt x="1094" y="154"/>
                      <a:pt x="1083" y="165"/>
                      <a:pt x="1081" y="154"/>
                    </a:cubicBezTo>
                    <a:cubicBezTo>
                      <a:pt x="1081" y="151"/>
                      <a:pt x="1086" y="152"/>
                      <a:pt x="1087" y="149"/>
                    </a:cubicBezTo>
                    <a:cubicBezTo>
                      <a:pt x="1089" y="147"/>
                      <a:pt x="1090" y="143"/>
                      <a:pt x="1089" y="141"/>
                    </a:cubicBezTo>
                    <a:cubicBezTo>
                      <a:pt x="1088" y="137"/>
                      <a:pt x="1081" y="137"/>
                      <a:pt x="1080" y="134"/>
                    </a:cubicBezTo>
                    <a:cubicBezTo>
                      <a:pt x="1080" y="133"/>
                      <a:pt x="1085" y="121"/>
                      <a:pt x="1083" y="116"/>
                    </a:cubicBezTo>
                    <a:cubicBezTo>
                      <a:pt x="1081" y="112"/>
                      <a:pt x="1067" y="105"/>
                      <a:pt x="1073" y="99"/>
                    </a:cubicBezTo>
                    <a:cubicBezTo>
                      <a:pt x="1080" y="89"/>
                      <a:pt x="1120" y="95"/>
                      <a:pt x="1091" y="72"/>
                    </a:cubicBezTo>
                    <a:cubicBezTo>
                      <a:pt x="1087" y="69"/>
                      <a:pt x="1075" y="64"/>
                      <a:pt x="1073" y="61"/>
                    </a:cubicBezTo>
                    <a:cubicBezTo>
                      <a:pt x="1068" y="56"/>
                      <a:pt x="1069" y="19"/>
                      <a:pt x="1047" y="7"/>
                    </a:cubicBezTo>
                    <a:cubicBezTo>
                      <a:pt x="1042" y="5"/>
                      <a:pt x="1025" y="20"/>
                      <a:pt x="1021" y="16"/>
                    </a:cubicBezTo>
                    <a:cubicBezTo>
                      <a:pt x="1013" y="11"/>
                      <a:pt x="1007" y="0"/>
                      <a:pt x="991" y="5"/>
                    </a:cubicBezTo>
                    <a:cubicBezTo>
                      <a:pt x="982" y="8"/>
                      <a:pt x="976" y="21"/>
                      <a:pt x="967" y="23"/>
                    </a:cubicBezTo>
                    <a:cubicBezTo>
                      <a:pt x="953" y="27"/>
                      <a:pt x="934" y="11"/>
                      <a:pt x="920" y="12"/>
                    </a:cubicBezTo>
                    <a:cubicBezTo>
                      <a:pt x="912" y="13"/>
                      <a:pt x="916" y="32"/>
                      <a:pt x="914" y="36"/>
                    </a:cubicBezTo>
                    <a:cubicBezTo>
                      <a:pt x="902" y="55"/>
                      <a:pt x="874" y="52"/>
                      <a:pt x="865" y="43"/>
                    </a:cubicBezTo>
                    <a:cubicBezTo>
                      <a:pt x="854" y="42"/>
                      <a:pt x="837" y="38"/>
                      <a:pt x="827" y="41"/>
                    </a:cubicBezTo>
                    <a:cubicBezTo>
                      <a:pt x="823" y="42"/>
                      <a:pt x="821" y="48"/>
                      <a:pt x="817" y="50"/>
                    </a:cubicBezTo>
                    <a:cubicBezTo>
                      <a:pt x="811" y="52"/>
                      <a:pt x="801" y="43"/>
                      <a:pt x="795" y="45"/>
                    </a:cubicBezTo>
                    <a:cubicBezTo>
                      <a:pt x="777" y="50"/>
                      <a:pt x="796" y="48"/>
                      <a:pt x="793" y="54"/>
                    </a:cubicBezTo>
                    <a:cubicBezTo>
                      <a:pt x="790" y="62"/>
                      <a:pt x="770" y="69"/>
                      <a:pt x="765" y="79"/>
                    </a:cubicBezTo>
                    <a:cubicBezTo>
                      <a:pt x="743" y="117"/>
                      <a:pt x="772" y="152"/>
                      <a:pt x="755" y="156"/>
                    </a:cubicBezTo>
                    <a:cubicBezTo>
                      <a:pt x="742" y="159"/>
                      <a:pt x="732" y="129"/>
                      <a:pt x="722" y="125"/>
                    </a:cubicBezTo>
                    <a:cubicBezTo>
                      <a:pt x="709" y="121"/>
                      <a:pt x="701" y="132"/>
                      <a:pt x="692" y="132"/>
                    </a:cubicBezTo>
                    <a:cubicBezTo>
                      <a:pt x="686" y="131"/>
                      <a:pt x="683" y="123"/>
                      <a:pt x="677" y="123"/>
                    </a:cubicBezTo>
                    <a:cubicBezTo>
                      <a:pt x="662" y="122"/>
                      <a:pt x="661" y="141"/>
                      <a:pt x="648" y="141"/>
                    </a:cubicBezTo>
                    <a:cubicBezTo>
                      <a:pt x="639" y="141"/>
                      <a:pt x="640" y="110"/>
                      <a:pt x="631" y="105"/>
                    </a:cubicBezTo>
                    <a:cubicBezTo>
                      <a:pt x="625" y="102"/>
                      <a:pt x="606" y="112"/>
                      <a:pt x="602" y="116"/>
                    </a:cubicBezTo>
                    <a:cubicBezTo>
                      <a:pt x="597" y="121"/>
                      <a:pt x="600" y="137"/>
                      <a:pt x="594" y="134"/>
                    </a:cubicBezTo>
                    <a:cubicBezTo>
                      <a:pt x="582" y="128"/>
                      <a:pt x="590" y="122"/>
                      <a:pt x="582" y="114"/>
                    </a:cubicBezTo>
                    <a:cubicBezTo>
                      <a:pt x="574" y="105"/>
                      <a:pt x="565" y="120"/>
                      <a:pt x="560" y="118"/>
                    </a:cubicBezTo>
                    <a:cubicBezTo>
                      <a:pt x="552" y="117"/>
                      <a:pt x="554" y="103"/>
                      <a:pt x="551" y="101"/>
                    </a:cubicBezTo>
                    <a:cubicBezTo>
                      <a:pt x="550" y="100"/>
                      <a:pt x="548" y="102"/>
                      <a:pt x="547" y="103"/>
                    </a:cubicBezTo>
                    <a:cubicBezTo>
                      <a:pt x="521" y="124"/>
                      <a:pt x="535" y="105"/>
                      <a:pt x="515" y="107"/>
                    </a:cubicBezTo>
                    <a:cubicBezTo>
                      <a:pt x="506" y="108"/>
                      <a:pt x="515" y="124"/>
                      <a:pt x="505" y="127"/>
                    </a:cubicBezTo>
                    <a:cubicBezTo>
                      <a:pt x="492" y="132"/>
                      <a:pt x="503" y="110"/>
                      <a:pt x="502" y="110"/>
                    </a:cubicBezTo>
                    <a:cubicBezTo>
                      <a:pt x="496" y="107"/>
                      <a:pt x="463" y="112"/>
                      <a:pt x="462" y="110"/>
                    </a:cubicBezTo>
                    <a:cubicBezTo>
                      <a:pt x="461" y="109"/>
                      <a:pt x="459" y="94"/>
                      <a:pt x="456" y="90"/>
                    </a:cubicBezTo>
                    <a:cubicBezTo>
                      <a:pt x="451" y="83"/>
                      <a:pt x="438" y="90"/>
                      <a:pt x="432" y="90"/>
                    </a:cubicBezTo>
                    <a:cubicBezTo>
                      <a:pt x="409" y="87"/>
                      <a:pt x="377" y="78"/>
                      <a:pt x="358" y="67"/>
                    </a:cubicBezTo>
                    <a:cubicBezTo>
                      <a:pt x="346" y="61"/>
                      <a:pt x="216" y="67"/>
                      <a:pt x="206" y="72"/>
                    </a:cubicBezTo>
                    <a:cubicBezTo>
                      <a:pt x="201" y="74"/>
                      <a:pt x="176" y="117"/>
                      <a:pt x="166" y="112"/>
                    </a:cubicBezTo>
                    <a:cubicBezTo>
                      <a:pt x="159" y="108"/>
                      <a:pt x="155" y="100"/>
                      <a:pt x="142" y="103"/>
                    </a:cubicBezTo>
                    <a:cubicBezTo>
                      <a:pt x="125" y="107"/>
                      <a:pt x="149" y="119"/>
                      <a:pt x="136" y="119"/>
                    </a:cubicBezTo>
                    <a:cubicBezTo>
                      <a:pt x="138" y="123"/>
                      <a:pt x="140" y="126"/>
                      <a:pt x="141" y="132"/>
                    </a:cubicBezTo>
                    <a:cubicBezTo>
                      <a:pt x="142" y="138"/>
                      <a:pt x="137" y="144"/>
                      <a:pt x="138" y="149"/>
                    </a:cubicBezTo>
                    <a:cubicBezTo>
                      <a:pt x="143" y="171"/>
                      <a:pt x="171" y="192"/>
                      <a:pt x="184" y="209"/>
                    </a:cubicBezTo>
                    <a:cubicBezTo>
                      <a:pt x="185" y="209"/>
                      <a:pt x="185" y="210"/>
                      <a:pt x="184" y="210"/>
                    </a:cubicBezTo>
                    <a:cubicBezTo>
                      <a:pt x="183" y="213"/>
                      <a:pt x="171" y="212"/>
                      <a:pt x="167" y="216"/>
                    </a:cubicBezTo>
                    <a:cubicBezTo>
                      <a:pt x="167" y="216"/>
                      <a:pt x="166" y="217"/>
                      <a:pt x="166" y="218"/>
                    </a:cubicBezTo>
                    <a:cubicBezTo>
                      <a:pt x="165" y="227"/>
                      <a:pt x="184" y="236"/>
                      <a:pt x="183" y="248"/>
                    </a:cubicBezTo>
                    <a:cubicBezTo>
                      <a:pt x="182" y="254"/>
                      <a:pt x="180" y="258"/>
                      <a:pt x="178" y="261"/>
                    </a:cubicBezTo>
                    <a:cubicBezTo>
                      <a:pt x="170" y="270"/>
                      <a:pt x="154" y="263"/>
                      <a:pt x="144" y="270"/>
                    </a:cubicBezTo>
                    <a:cubicBezTo>
                      <a:pt x="129" y="281"/>
                      <a:pt x="114" y="297"/>
                      <a:pt x="101" y="314"/>
                    </a:cubicBezTo>
                    <a:cubicBezTo>
                      <a:pt x="93" y="324"/>
                      <a:pt x="85" y="334"/>
                      <a:pt x="79" y="342"/>
                    </a:cubicBezTo>
                    <a:cubicBezTo>
                      <a:pt x="36" y="397"/>
                      <a:pt x="62" y="369"/>
                      <a:pt x="61" y="414"/>
                    </a:cubicBezTo>
                    <a:cubicBezTo>
                      <a:pt x="61" y="420"/>
                      <a:pt x="54" y="424"/>
                      <a:pt x="55" y="429"/>
                    </a:cubicBezTo>
                    <a:cubicBezTo>
                      <a:pt x="56" y="434"/>
                      <a:pt x="76" y="440"/>
                      <a:pt x="71" y="451"/>
                    </a:cubicBezTo>
                    <a:cubicBezTo>
                      <a:pt x="71" y="451"/>
                      <a:pt x="71" y="451"/>
                      <a:pt x="71" y="451"/>
                    </a:cubicBezTo>
                    <a:cubicBezTo>
                      <a:pt x="71" y="451"/>
                      <a:pt x="71" y="451"/>
                      <a:pt x="71" y="451"/>
                    </a:cubicBezTo>
                    <a:cubicBezTo>
                      <a:pt x="70" y="453"/>
                      <a:pt x="69" y="448"/>
                      <a:pt x="67" y="447"/>
                    </a:cubicBezTo>
                    <a:cubicBezTo>
                      <a:pt x="60" y="444"/>
                      <a:pt x="48" y="443"/>
                      <a:pt x="41" y="440"/>
                    </a:cubicBezTo>
                    <a:cubicBezTo>
                      <a:pt x="41" y="450"/>
                      <a:pt x="31" y="462"/>
                      <a:pt x="28" y="473"/>
                    </a:cubicBezTo>
                    <a:cubicBezTo>
                      <a:pt x="22" y="492"/>
                      <a:pt x="12" y="492"/>
                      <a:pt x="6" y="505"/>
                    </a:cubicBezTo>
                    <a:cubicBezTo>
                      <a:pt x="0" y="517"/>
                      <a:pt x="2" y="523"/>
                      <a:pt x="1" y="526"/>
                    </a:cubicBezTo>
                    <a:cubicBezTo>
                      <a:pt x="22" y="526"/>
                      <a:pt x="40" y="565"/>
                      <a:pt x="47" y="568"/>
                    </a:cubicBezTo>
                    <a:cubicBezTo>
                      <a:pt x="56" y="571"/>
                      <a:pt x="57" y="561"/>
                      <a:pt x="67" y="570"/>
                    </a:cubicBezTo>
                    <a:cubicBezTo>
                      <a:pt x="78" y="580"/>
                      <a:pt x="62" y="575"/>
                      <a:pt x="73" y="587"/>
                    </a:cubicBezTo>
                    <a:cubicBezTo>
                      <a:pt x="75" y="589"/>
                      <a:pt x="73" y="579"/>
                      <a:pt x="76" y="578"/>
                    </a:cubicBezTo>
                    <a:cubicBezTo>
                      <a:pt x="79" y="578"/>
                      <a:pt x="81" y="583"/>
                      <a:pt x="84" y="583"/>
                    </a:cubicBezTo>
                    <a:cubicBezTo>
                      <a:pt x="92" y="583"/>
                      <a:pt x="88" y="565"/>
                      <a:pt x="96" y="565"/>
                    </a:cubicBezTo>
                    <a:cubicBezTo>
                      <a:pt x="106" y="565"/>
                      <a:pt x="115" y="583"/>
                      <a:pt x="125" y="583"/>
                    </a:cubicBezTo>
                    <a:cubicBezTo>
                      <a:pt x="135" y="583"/>
                      <a:pt x="148" y="589"/>
                      <a:pt x="159" y="589"/>
                    </a:cubicBezTo>
                    <a:cubicBezTo>
                      <a:pt x="162" y="589"/>
                      <a:pt x="165" y="585"/>
                      <a:pt x="169" y="585"/>
                    </a:cubicBezTo>
                    <a:cubicBezTo>
                      <a:pt x="177" y="586"/>
                      <a:pt x="183" y="593"/>
                      <a:pt x="191" y="593"/>
                    </a:cubicBezTo>
                    <a:cubicBezTo>
                      <a:pt x="200" y="594"/>
                      <a:pt x="210" y="586"/>
                      <a:pt x="218" y="587"/>
                    </a:cubicBezTo>
                    <a:cubicBezTo>
                      <a:pt x="234" y="589"/>
                      <a:pt x="240" y="611"/>
                      <a:pt x="251" y="617"/>
                    </a:cubicBezTo>
                    <a:cubicBezTo>
                      <a:pt x="265" y="625"/>
                      <a:pt x="277" y="597"/>
                      <a:pt x="286" y="594"/>
                    </a:cubicBezTo>
                    <a:cubicBezTo>
                      <a:pt x="304" y="588"/>
                      <a:pt x="352" y="589"/>
                      <a:pt x="364" y="583"/>
                    </a:cubicBezTo>
                    <a:cubicBezTo>
                      <a:pt x="373" y="578"/>
                      <a:pt x="371" y="562"/>
                      <a:pt x="377" y="557"/>
                    </a:cubicBezTo>
                    <a:cubicBezTo>
                      <a:pt x="384" y="551"/>
                      <a:pt x="395" y="549"/>
                      <a:pt x="406" y="549"/>
                    </a:cubicBezTo>
                    <a:cubicBezTo>
                      <a:pt x="408" y="546"/>
                      <a:pt x="407" y="535"/>
                      <a:pt x="411" y="535"/>
                    </a:cubicBezTo>
                    <a:cubicBezTo>
                      <a:pt x="414" y="536"/>
                      <a:pt x="415" y="540"/>
                      <a:pt x="417" y="542"/>
                    </a:cubicBezTo>
                    <a:cubicBezTo>
                      <a:pt x="419" y="543"/>
                      <a:pt x="421" y="543"/>
                      <a:pt x="422" y="542"/>
                    </a:cubicBezTo>
                    <a:cubicBezTo>
                      <a:pt x="424" y="539"/>
                      <a:pt x="417" y="534"/>
                      <a:pt x="419" y="531"/>
                    </a:cubicBezTo>
                    <a:cubicBezTo>
                      <a:pt x="419" y="530"/>
                      <a:pt x="422" y="531"/>
                      <a:pt x="423" y="531"/>
                    </a:cubicBezTo>
                    <a:cubicBezTo>
                      <a:pt x="426" y="531"/>
                      <a:pt x="429" y="531"/>
                      <a:pt x="433" y="532"/>
                    </a:cubicBezTo>
                    <a:cubicBezTo>
                      <a:pt x="441" y="532"/>
                      <a:pt x="452" y="535"/>
                      <a:pt x="460" y="533"/>
                    </a:cubicBezTo>
                    <a:cubicBezTo>
                      <a:pt x="469" y="532"/>
                      <a:pt x="476" y="521"/>
                      <a:pt x="484" y="520"/>
                    </a:cubicBezTo>
                    <a:cubicBezTo>
                      <a:pt x="497" y="519"/>
                      <a:pt x="528" y="529"/>
                      <a:pt x="535" y="542"/>
                    </a:cubicBezTo>
                    <a:cubicBezTo>
                      <a:pt x="536" y="544"/>
                      <a:pt x="533" y="548"/>
                      <a:pt x="535" y="550"/>
                    </a:cubicBezTo>
                    <a:cubicBezTo>
                      <a:pt x="537" y="554"/>
                      <a:pt x="555" y="546"/>
                      <a:pt x="558" y="548"/>
                    </a:cubicBezTo>
                    <a:cubicBezTo>
                      <a:pt x="562" y="550"/>
                      <a:pt x="555" y="557"/>
                      <a:pt x="555" y="561"/>
                    </a:cubicBezTo>
                    <a:cubicBezTo>
                      <a:pt x="555" y="565"/>
                      <a:pt x="565" y="553"/>
                      <a:pt x="567" y="565"/>
                    </a:cubicBezTo>
                    <a:cubicBezTo>
                      <a:pt x="568" y="568"/>
                      <a:pt x="567" y="572"/>
                      <a:pt x="569" y="572"/>
                    </a:cubicBezTo>
                    <a:cubicBezTo>
                      <a:pt x="574" y="572"/>
                      <a:pt x="573" y="561"/>
                      <a:pt x="578" y="559"/>
                    </a:cubicBezTo>
                    <a:cubicBezTo>
                      <a:pt x="600" y="551"/>
                      <a:pt x="603" y="583"/>
                      <a:pt x="615" y="589"/>
                    </a:cubicBezTo>
                    <a:cubicBezTo>
                      <a:pt x="625" y="595"/>
                      <a:pt x="620" y="576"/>
                      <a:pt x="630" y="583"/>
                    </a:cubicBezTo>
                    <a:cubicBezTo>
                      <a:pt x="651" y="596"/>
                      <a:pt x="628" y="623"/>
                      <a:pt x="628" y="641"/>
                    </a:cubicBezTo>
                    <a:cubicBezTo>
                      <a:pt x="628" y="644"/>
                      <a:pt x="648" y="671"/>
                      <a:pt x="654" y="673"/>
                    </a:cubicBezTo>
                    <a:cubicBezTo>
                      <a:pt x="665" y="676"/>
                      <a:pt x="656" y="656"/>
                      <a:pt x="667" y="666"/>
                    </a:cubicBezTo>
                    <a:cubicBezTo>
                      <a:pt x="677" y="676"/>
                      <a:pt x="663" y="689"/>
                      <a:pt x="661" y="694"/>
                    </a:cubicBezTo>
                    <a:cubicBezTo>
                      <a:pt x="657" y="706"/>
                      <a:pt x="668" y="694"/>
                      <a:pt x="671" y="698"/>
                    </a:cubicBezTo>
                    <a:cubicBezTo>
                      <a:pt x="674" y="702"/>
                      <a:pt x="666" y="710"/>
                      <a:pt x="668" y="713"/>
                    </a:cubicBezTo>
                    <a:cubicBezTo>
                      <a:pt x="670" y="716"/>
                      <a:pt x="674" y="716"/>
                      <a:pt x="677" y="718"/>
                    </a:cubicBezTo>
                    <a:cubicBezTo>
                      <a:pt x="679" y="720"/>
                      <a:pt x="682" y="721"/>
                      <a:pt x="685" y="723"/>
                    </a:cubicBezTo>
                    <a:cubicBezTo>
                      <a:pt x="697" y="730"/>
                      <a:pt x="712" y="748"/>
                      <a:pt x="703" y="764"/>
                    </a:cubicBezTo>
                    <a:cubicBezTo>
                      <a:pt x="702" y="766"/>
                      <a:pt x="697" y="764"/>
                      <a:pt x="697" y="766"/>
                    </a:cubicBezTo>
                    <a:cubicBezTo>
                      <a:pt x="697" y="775"/>
                      <a:pt x="719" y="783"/>
                      <a:pt x="717" y="783"/>
                    </a:cubicBezTo>
                    <a:cubicBezTo>
                      <a:pt x="689" y="807"/>
                      <a:pt x="691" y="778"/>
                      <a:pt x="682" y="775"/>
                    </a:cubicBezTo>
                    <a:cubicBezTo>
                      <a:pt x="679" y="774"/>
                      <a:pt x="678" y="791"/>
                      <a:pt x="671" y="790"/>
                    </a:cubicBezTo>
                    <a:cubicBezTo>
                      <a:pt x="663" y="788"/>
                      <a:pt x="663" y="780"/>
                      <a:pt x="661" y="775"/>
                    </a:cubicBezTo>
                    <a:cubicBezTo>
                      <a:pt x="659" y="771"/>
                      <a:pt x="651" y="784"/>
                      <a:pt x="651" y="783"/>
                    </a:cubicBezTo>
                    <a:cubicBezTo>
                      <a:pt x="648" y="783"/>
                      <a:pt x="650" y="777"/>
                      <a:pt x="648" y="777"/>
                    </a:cubicBezTo>
                    <a:cubicBezTo>
                      <a:pt x="642" y="777"/>
                      <a:pt x="642" y="787"/>
                      <a:pt x="637" y="790"/>
                    </a:cubicBezTo>
                    <a:cubicBezTo>
                      <a:pt x="635" y="791"/>
                      <a:pt x="637" y="772"/>
                      <a:pt x="636" y="769"/>
                    </a:cubicBezTo>
                    <a:cubicBezTo>
                      <a:pt x="634" y="763"/>
                      <a:pt x="612" y="777"/>
                      <a:pt x="610" y="781"/>
                    </a:cubicBezTo>
                    <a:cubicBezTo>
                      <a:pt x="607" y="794"/>
                      <a:pt x="619" y="803"/>
                      <a:pt x="619" y="811"/>
                    </a:cubicBezTo>
                    <a:cubicBezTo>
                      <a:pt x="619" y="835"/>
                      <a:pt x="588" y="853"/>
                      <a:pt x="575" y="872"/>
                    </a:cubicBezTo>
                    <a:cubicBezTo>
                      <a:pt x="573" y="875"/>
                      <a:pt x="577" y="900"/>
                      <a:pt x="570" y="900"/>
                    </a:cubicBezTo>
                    <a:cubicBezTo>
                      <a:pt x="565" y="900"/>
                      <a:pt x="554" y="892"/>
                      <a:pt x="550" y="898"/>
                    </a:cubicBezTo>
                    <a:cubicBezTo>
                      <a:pt x="548" y="900"/>
                      <a:pt x="549" y="905"/>
                      <a:pt x="547" y="906"/>
                    </a:cubicBezTo>
                    <a:cubicBezTo>
                      <a:pt x="560" y="911"/>
                      <a:pt x="557" y="932"/>
                      <a:pt x="595" y="936"/>
                    </a:cubicBezTo>
                    <a:cubicBezTo>
                      <a:pt x="605" y="936"/>
                      <a:pt x="588" y="929"/>
                      <a:pt x="597" y="924"/>
                    </a:cubicBezTo>
                    <a:cubicBezTo>
                      <a:pt x="600" y="922"/>
                      <a:pt x="608" y="923"/>
                      <a:pt x="611" y="923"/>
                    </a:cubicBezTo>
                    <a:cubicBezTo>
                      <a:pt x="627" y="923"/>
                      <a:pt x="641" y="905"/>
                      <a:pt x="647" y="909"/>
                    </a:cubicBezTo>
                    <a:cubicBezTo>
                      <a:pt x="663" y="918"/>
                      <a:pt x="676" y="903"/>
                      <a:pt x="676" y="935"/>
                    </a:cubicBezTo>
                    <a:cubicBezTo>
                      <a:pt x="678" y="935"/>
                      <a:pt x="680" y="936"/>
                      <a:pt x="682" y="935"/>
                    </a:cubicBezTo>
                    <a:cubicBezTo>
                      <a:pt x="685" y="933"/>
                      <a:pt x="682" y="927"/>
                      <a:pt x="684" y="924"/>
                    </a:cubicBezTo>
                    <a:cubicBezTo>
                      <a:pt x="686" y="918"/>
                      <a:pt x="681" y="900"/>
                      <a:pt x="680" y="907"/>
                    </a:cubicBezTo>
                    <a:cubicBezTo>
                      <a:pt x="680" y="909"/>
                      <a:pt x="675" y="899"/>
                      <a:pt x="674" y="907"/>
                    </a:cubicBezTo>
                    <a:cubicBezTo>
                      <a:pt x="674" y="909"/>
                      <a:pt x="670" y="904"/>
                      <a:pt x="670" y="903"/>
                    </a:cubicBezTo>
                    <a:cubicBezTo>
                      <a:pt x="670" y="901"/>
                      <a:pt x="681" y="893"/>
                      <a:pt x="679" y="891"/>
                    </a:cubicBezTo>
                    <a:cubicBezTo>
                      <a:pt x="677" y="888"/>
                      <a:pt x="676" y="891"/>
                      <a:pt x="674" y="892"/>
                    </a:cubicBezTo>
                    <a:cubicBezTo>
                      <a:pt x="666" y="896"/>
                      <a:pt x="671" y="862"/>
                      <a:pt x="673" y="859"/>
                    </a:cubicBezTo>
                    <a:cubicBezTo>
                      <a:pt x="675" y="856"/>
                      <a:pt x="682" y="886"/>
                      <a:pt x="682" y="886"/>
                    </a:cubicBezTo>
                    <a:cubicBezTo>
                      <a:pt x="694" y="881"/>
                      <a:pt x="685" y="863"/>
                      <a:pt x="697" y="870"/>
                    </a:cubicBezTo>
                    <a:cubicBezTo>
                      <a:pt x="697" y="870"/>
                      <a:pt x="700" y="873"/>
                      <a:pt x="700" y="871"/>
                    </a:cubicBezTo>
                    <a:cubicBezTo>
                      <a:pt x="700" y="869"/>
                      <a:pt x="695" y="862"/>
                      <a:pt x="699" y="860"/>
                    </a:cubicBezTo>
                    <a:cubicBezTo>
                      <a:pt x="700" y="860"/>
                      <a:pt x="701" y="866"/>
                      <a:pt x="702" y="865"/>
                    </a:cubicBezTo>
                    <a:cubicBezTo>
                      <a:pt x="705" y="862"/>
                      <a:pt x="702" y="859"/>
                      <a:pt x="704" y="856"/>
                    </a:cubicBezTo>
                    <a:cubicBezTo>
                      <a:pt x="704" y="856"/>
                      <a:pt x="704" y="856"/>
                      <a:pt x="704" y="856"/>
                    </a:cubicBezTo>
                    <a:cubicBezTo>
                      <a:pt x="710" y="857"/>
                      <a:pt x="712" y="866"/>
                      <a:pt x="715" y="858"/>
                    </a:cubicBezTo>
                    <a:cubicBezTo>
                      <a:pt x="715" y="857"/>
                      <a:pt x="714" y="851"/>
                      <a:pt x="716" y="850"/>
                    </a:cubicBezTo>
                    <a:cubicBezTo>
                      <a:pt x="718" y="849"/>
                      <a:pt x="718" y="858"/>
                      <a:pt x="718" y="859"/>
                    </a:cubicBezTo>
                    <a:cubicBezTo>
                      <a:pt x="720" y="861"/>
                      <a:pt x="737" y="838"/>
                      <a:pt x="739" y="836"/>
                    </a:cubicBezTo>
                    <a:cubicBezTo>
                      <a:pt x="739" y="836"/>
                      <a:pt x="739" y="836"/>
                      <a:pt x="739" y="836"/>
                    </a:cubicBezTo>
                    <a:cubicBezTo>
                      <a:pt x="748" y="826"/>
                      <a:pt x="760" y="815"/>
                      <a:pt x="765" y="802"/>
                    </a:cubicBezTo>
                    <a:cubicBezTo>
                      <a:pt x="767" y="799"/>
                      <a:pt x="762" y="795"/>
                      <a:pt x="764" y="792"/>
                    </a:cubicBezTo>
                    <a:cubicBezTo>
                      <a:pt x="765" y="791"/>
                      <a:pt x="772" y="793"/>
                      <a:pt x="774" y="788"/>
                    </a:cubicBezTo>
                    <a:cubicBezTo>
                      <a:pt x="777" y="779"/>
                      <a:pt x="770" y="773"/>
                      <a:pt x="776" y="766"/>
                    </a:cubicBezTo>
                    <a:cubicBezTo>
                      <a:pt x="789" y="754"/>
                      <a:pt x="823" y="767"/>
                      <a:pt x="832" y="757"/>
                    </a:cubicBezTo>
                    <a:cubicBezTo>
                      <a:pt x="834" y="755"/>
                      <a:pt x="838" y="748"/>
                      <a:pt x="837" y="746"/>
                    </a:cubicBezTo>
                    <a:cubicBezTo>
                      <a:pt x="836" y="742"/>
                      <a:pt x="831" y="736"/>
                      <a:pt x="834" y="735"/>
                    </a:cubicBezTo>
                    <a:cubicBezTo>
                      <a:pt x="837" y="734"/>
                      <a:pt x="837" y="745"/>
                      <a:pt x="841" y="740"/>
                    </a:cubicBezTo>
                    <a:cubicBezTo>
                      <a:pt x="855" y="723"/>
                      <a:pt x="829" y="762"/>
                      <a:pt x="850" y="754"/>
                    </a:cubicBezTo>
                    <a:cubicBezTo>
                      <a:pt x="859" y="750"/>
                      <a:pt x="865" y="762"/>
                      <a:pt x="875" y="754"/>
                    </a:cubicBezTo>
                    <a:cubicBezTo>
                      <a:pt x="880" y="750"/>
                      <a:pt x="872" y="740"/>
                      <a:pt x="872" y="735"/>
                    </a:cubicBezTo>
                    <a:cubicBezTo>
                      <a:pt x="872" y="728"/>
                      <a:pt x="883" y="728"/>
                      <a:pt x="882" y="719"/>
                    </a:cubicBezTo>
                    <a:cubicBezTo>
                      <a:pt x="881" y="717"/>
                      <a:pt x="880" y="718"/>
                      <a:pt x="879" y="719"/>
                    </a:cubicBezTo>
                    <a:cubicBezTo>
                      <a:pt x="876" y="721"/>
                      <a:pt x="874" y="718"/>
                      <a:pt x="875" y="715"/>
                    </a:cubicBezTo>
                    <a:cubicBezTo>
                      <a:pt x="876" y="710"/>
                      <a:pt x="869" y="701"/>
                      <a:pt x="867" y="688"/>
                    </a:cubicBezTo>
                    <a:cubicBezTo>
                      <a:pt x="866" y="685"/>
                      <a:pt x="854" y="681"/>
                      <a:pt x="860" y="677"/>
                    </a:cubicBezTo>
                    <a:cubicBezTo>
                      <a:pt x="864" y="674"/>
                      <a:pt x="871" y="682"/>
                      <a:pt x="870" y="686"/>
                    </a:cubicBezTo>
                    <a:cubicBezTo>
                      <a:pt x="870" y="688"/>
                      <a:pt x="870" y="689"/>
                      <a:pt x="871" y="691"/>
                    </a:cubicBezTo>
                    <a:cubicBezTo>
                      <a:pt x="873" y="703"/>
                      <a:pt x="884" y="715"/>
                      <a:pt x="885" y="718"/>
                    </a:cubicBezTo>
                    <a:cubicBezTo>
                      <a:pt x="887" y="730"/>
                      <a:pt x="878" y="737"/>
                      <a:pt x="883" y="751"/>
                    </a:cubicBezTo>
                    <a:cubicBezTo>
                      <a:pt x="883" y="752"/>
                      <a:pt x="883" y="753"/>
                      <a:pt x="883" y="753"/>
                    </a:cubicBezTo>
                    <a:cubicBezTo>
                      <a:pt x="884" y="754"/>
                      <a:pt x="884" y="755"/>
                      <a:pt x="885" y="755"/>
                    </a:cubicBezTo>
                    <a:cubicBezTo>
                      <a:pt x="889" y="760"/>
                      <a:pt x="913" y="767"/>
                      <a:pt x="920" y="765"/>
                    </a:cubicBezTo>
                    <a:cubicBezTo>
                      <a:pt x="922" y="764"/>
                      <a:pt x="942" y="754"/>
                      <a:pt x="942" y="755"/>
                    </a:cubicBezTo>
                    <a:cubicBezTo>
                      <a:pt x="942" y="762"/>
                      <a:pt x="931" y="763"/>
                      <a:pt x="928" y="765"/>
                    </a:cubicBezTo>
                    <a:cubicBezTo>
                      <a:pt x="922" y="770"/>
                      <a:pt x="923" y="776"/>
                      <a:pt x="916" y="778"/>
                    </a:cubicBezTo>
                    <a:cubicBezTo>
                      <a:pt x="908" y="781"/>
                      <a:pt x="883" y="772"/>
                      <a:pt x="872" y="771"/>
                    </a:cubicBezTo>
                    <a:cubicBezTo>
                      <a:pt x="864" y="770"/>
                      <a:pt x="860" y="766"/>
                      <a:pt x="850" y="768"/>
                    </a:cubicBezTo>
                    <a:cubicBezTo>
                      <a:pt x="847" y="768"/>
                      <a:pt x="840" y="759"/>
                      <a:pt x="840" y="763"/>
                    </a:cubicBezTo>
                    <a:cubicBezTo>
                      <a:pt x="840" y="764"/>
                      <a:pt x="856" y="782"/>
                      <a:pt x="856" y="782"/>
                    </a:cubicBezTo>
                    <a:cubicBezTo>
                      <a:pt x="856" y="782"/>
                      <a:pt x="856" y="780"/>
                      <a:pt x="856" y="780"/>
                    </a:cubicBezTo>
                    <a:cubicBezTo>
                      <a:pt x="856" y="767"/>
                      <a:pt x="884" y="779"/>
                      <a:pt x="888" y="784"/>
                    </a:cubicBezTo>
                    <a:cubicBezTo>
                      <a:pt x="888" y="785"/>
                      <a:pt x="889" y="786"/>
                      <a:pt x="889" y="787"/>
                    </a:cubicBezTo>
                    <a:cubicBezTo>
                      <a:pt x="889" y="791"/>
                      <a:pt x="861" y="796"/>
                      <a:pt x="863" y="797"/>
                    </a:cubicBezTo>
                    <a:cubicBezTo>
                      <a:pt x="869" y="805"/>
                      <a:pt x="877" y="798"/>
                      <a:pt x="889" y="804"/>
                    </a:cubicBezTo>
                    <a:cubicBezTo>
                      <a:pt x="894" y="806"/>
                      <a:pt x="905" y="810"/>
                      <a:pt x="908" y="811"/>
                    </a:cubicBezTo>
                    <a:cubicBezTo>
                      <a:pt x="910" y="813"/>
                      <a:pt x="905" y="819"/>
                      <a:pt x="908" y="821"/>
                    </a:cubicBezTo>
                    <a:cubicBezTo>
                      <a:pt x="925" y="830"/>
                      <a:pt x="955" y="824"/>
                      <a:pt x="973" y="821"/>
                    </a:cubicBezTo>
                    <a:cubicBezTo>
                      <a:pt x="975" y="821"/>
                      <a:pt x="973" y="816"/>
                      <a:pt x="976" y="816"/>
                    </a:cubicBezTo>
                    <a:cubicBezTo>
                      <a:pt x="979" y="816"/>
                      <a:pt x="981" y="820"/>
                      <a:pt x="983" y="820"/>
                    </a:cubicBezTo>
                    <a:cubicBezTo>
                      <a:pt x="990" y="819"/>
                      <a:pt x="990" y="809"/>
                      <a:pt x="993" y="809"/>
                    </a:cubicBezTo>
                    <a:cubicBezTo>
                      <a:pt x="994" y="809"/>
                      <a:pt x="992" y="820"/>
                      <a:pt x="992" y="820"/>
                    </a:cubicBezTo>
                    <a:cubicBezTo>
                      <a:pt x="994" y="823"/>
                      <a:pt x="998" y="819"/>
                      <a:pt x="1001" y="821"/>
                    </a:cubicBezTo>
                    <a:cubicBezTo>
                      <a:pt x="1004" y="822"/>
                      <a:pt x="1009" y="830"/>
                      <a:pt x="1011" y="831"/>
                    </a:cubicBezTo>
                    <a:cubicBezTo>
                      <a:pt x="1025" y="835"/>
                      <a:pt x="1015" y="817"/>
                      <a:pt x="1025" y="816"/>
                    </a:cubicBezTo>
                    <a:cubicBezTo>
                      <a:pt x="1027" y="816"/>
                      <a:pt x="1031" y="824"/>
                      <a:pt x="1031" y="825"/>
                    </a:cubicBezTo>
                    <a:cubicBezTo>
                      <a:pt x="1031" y="829"/>
                      <a:pt x="1033" y="833"/>
                      <a:pt x="1031" y="835"/>
                    </a:cubicBezTo>
                    <a:cubicBezTo>
                      <a:pt x="1020" y="845"/>
                      <a:pt x="1038" y="840"/>
                      <a:pt x="1042" y="845"/>
                    </a:cubicBezTo>
                    <a:cubicBezTo>
                      <a:pt x="1043" y="847"/>
                      <a:pt x="1036" y="847"/>
                      <a:pt x="1035" y="848"/>
                    </a:cubicBezTo>
                    <a:cubicBezTo>
                      <a:pt x="1034" y="849"/>
                      <a:pt x="1036" y="859"/>
                      <a:pt x="1031" y="854"/>
                    </a:cubicBezTo>
                    <a:cubicBezTo>
                      <a:pt x="1026" y="848"/>
                      <a:pt x="1008" y="861"/>
                      <a:pt x="1002" y="866"/>
                    </a:cubicBezTo>
                    <a:cubicBezTo>
                      <a:pt x="1000" y="867"/>
                      <a:pt x="996" y="869"/>
                      <a:pt x="994" y="869"/>
                    </a:cubicBezTo>
                    <a:cubicBezTo>
                      <a:pt x="993" y="869"/>
                      <a:pt x="992" y="868"/>
                      <a:pt x="992" y="867"/>
                    </a:cubicBezTo>
                    <a:cubicBezTo>
                      <a:pt x="987" y="864"/>
                      <a:pt x="966" y="884"/>
                      <a:pt x="957" y="892"/>
                    </a:cubicBezTo>
                    <a:cubicBezTo>
                      <a:pt x="952" y="898"/>
                      <a:pt x="927" y="898"/>
                      <a:pt x="927" y="913"/>
                    </a:cubicBezTo>
                    <a:cubicBezTo>
                      <a:pt x="927" y="915"/>
                      <a:pt x="929" y="920"/>
                      <a:pt x="930" y="920"/>
                    </a:cubicBezTo>
                    <a:cubicBezTo>
                      <a:pt x="943" y="923"/>
                      <a:pt x="948" y="916"/>
                      <a:pt x="960" y="918"/>
                    </a:cubicBezTo>
                    <a:cubicBezTo>
                      <a:pt x="976" y="920"/>
                      <a:pt x="983" y="939"/>
                      <a:pt x="996" y="943"/>
                    </a:cubicBezTo>
                    <a:cubicBezTo>
                      <a:pt x="1007" y="946"/>
                      <a:pt x="1012" y="938"/>
                      <a:pt x="1023" y="950"/>
                    </a:cubicBezTo>
                    <a:cubicBezTo>
                      <a:pt x="1032" y="961"/>
                      <a:pt x="1023" y="997"/>
                      <a:pt x="1019" y="1007"/>
                    </a:cubicBezTo>
                    <a:cubicBezTo>
                      <a:pt x="1019" y="1008"/>
                      <a:pt x="1019" y="1009"/>
                      <a:pt x="1020" y="1010"/>
                    </a:cubicBezTo>
                    <a:cubicBezTo>
                      <a:pt x="1021" y="1010"/>
                      <a:pt x="1024" y="1010"/>
                      <a:pt x="1024" y="1012"/>
                    </a:cubicBezTo>
                    <a:cubicBezTo>
                      <a:pt x="1023" y="1014"/>
                      <a:pt x="1005" y="1013"/>
                      <a:pt x="1006" y="1016"/>
                    </a:cubicBezTo>
                    <a:cubicBezTo>
                      <a:pt x="1006" y="1025"/>
                      <a:pt x="1022" y="1025"/>
                      <a:pt x="1026" y="1028"/>
                    </a:cubicBezTo>
                    <a:cubicBezTo>
                      <a:pt x="1032" y="1033"/>
                      <a:pt x="1032" y="1041"/>
                      <a:pt x="1043" y="1040"/>
                    </a:cubicBezTo>
                    <a:cubicBezTo>
                      <a:pt x="1060" y="1040"/>
                      <a:pt x="1083" y="1033"/>
                      <a:pt x="1092" y="1020"/>
                    </a:cubicBezTo>
                    <a:cubicBezTo>
                      <a:pt x="1096" y="1014"/>
                      <a:pt x="1097" y="1003"/>
                      <a:pt x="1104" y="998"/>
                    </a:cubicBezTo>
                    <a:cubicBezTo>
                      <a:pt x="1116" y="990"/>
                      <a:pt x="1136" y="984"/>
                      <a:pt x="1148" y="983"/>
                    </a:cubicBezTo>
                    <a:cubicBezTo>
                      <a:pt x="1153" y="983"/>
                      <a:pt x="1155" y="992"/>
                      <a:pt x="1159" y="990"/>
                    </a:cubicBezTo>
                    <a:cubicBezTo>
                      <a:pt x="1163" y="987"/>
                      <a:pt x="1161" y="980"/>
                      <a:pt x="1164" y="977"/>
                    </a:cubicBezTo>
                    <a:cubicBezTo>
                      <a:pt x="1172" y="968"/>
                      <a:pt x="1177" y="972"/>
                      <a:pt x="1184" y="970"/>
                    </a:cubicBezTo>
                    <a:cubicBezTo>
                      <a:pt x="1187" y="970"/>
                      <a:pt x="1188" y="955"/>
                      <a:pt x="1196" y="949"/>
                    </a:cubicBezTo>
                    <a:cubicBezTo>
                      <a:pt x="1197" y="949"/>
                      <a:pt x="1197" y="949"/>
                      <a:pt x="1197" y="948"/>
                    </a:cubicBezTo>
                    <a:cubicBezTo>
                      <a:pt x="1211" y="940"/>
                      <a:pt x="1219" y="962"/>
                      <a:pt x="1227" y="965"/>
                    </a:cubicBezTo>
                    <a:cubicBezTo>
                      <a:pt x="1228" y="965"/>
                      <a:pt x="1277" y="957"/>
                      <a:pt x="1281" y="954"/>
                    </a:cubicBezTo>
                    <a:cubicBezTo>
                      <a:pt x="1287" y="948"/>
                      <a:pt x="1275" y="936"/>
                      <a:pt x="1279" y="928"/>
                    </a:cubicBezTo>
                    <a:cubicBezTo>
                      <a:pt x="1282" y="923"/>
                      <a:pt x="1299" y="920"/>
                      <a:pt x="1297" y="915"/>
                    </a:cubicBezTo>
                    <a:cubicBezTo>
                      <a:pt x="1294" y="906"/>
                      <a:pt x="1260" y="903"/>
                      <a:pt x="1253" y="905"/>
                    </a:cubicBezTo>
                    <a:cubicBezTo>
                      <a:pt x="1246" y="907"/>
                      <a:pt x="1246" y="917"/>
                      <a:pt x="1240" y="918"/>
                    </a:cubicBezTo>
                    <a:cubicBezTo>
                      <a:pt x="1229" y="919"/>
                      <a:pt x="1227" y="904"/>
                      <a:pt x="1225" y="904"/>
                    </a:cubicBezTo>
                    <a:cubicBezTo>
                      <a:pt x="1218" y="905"/>
                      <a:pt x="1210" y="937"/>
                      <a:pt x="1192" y="926"/>
                    </a:cubicBezTo>
                    <a:cubicBezTo>
                      <a:pt x="1172" y="913"/>
                      <a:pt x="1126" y="838"/>
                      <a:pt x="1135" y="813"/>
                    </a:cubicBezTo>
                    <a:cubicBezTo>
                      <a:pt x="1139" y="801"/>
                      <a:pt x="1146" y="810"/>
                      <a:pt x="1155" y="804"/>
                    </a:cubicBezTo>
                    <a:cubicBezTo>
                      <a:pt x="1160" y="801"/>
                      <a:pt x="1173" y="788"/>
                      <a:pt x="1170" y="782"/>
                    </a:cubicBezTo>
                    <a:cubicBezTo>
                      <a:pt x="1169" y="781"/>
                      <a:pt x="1166" y="770"/>
                      <a:pt x="1168" y="772"/>
                    </a:cubicBezTo>
                    <a:cubicBezTo>
                      <a:pt x="1179" y="782"/>
                      <a:pt x="1180" y="794"/>
                      <a:pt x="1177" y="800"/>
                    </a:cubicBezTo>
                    <a:cubicBezTo>
                      <a:pt x="1172" y="812"/>
                      <a:pt x="1144" y="825"/>
                      <a:pt x="1150" y="827"/>
                    </a:cubicBezTo>
                    <a:cubicBezTo>
                      <a:pt x="1165" y="831"/>
                      <a:pt x="1210" y="761"/>
                      <a:pt x="1232" y="754"/>
                    </a:cubicBezTo>
                    <a:cubicBezTo>
                      <a:pt x="1238" y="752"/>
                      <a:pt x="1253" y="750"/>
                      <a:pt x="1258" y="752"/>
                    </a:cubicBezTo>
                    <a:cubicBezTo>
                      <a:pt x="1264" y="753"/>
                      <a:pt x="1262" y="761"/>
                      <a:pt x="1265" y="760"/>
                    </a:cubicBezTo>
                    <a:cubicBezTo>
                      <a:pt x="1278" y="753"/>
                      <a:pt x="1283" y="734"/>
                      <a:pt x="1304" y="738"/>
                    </a:cubicBezTo>
                    <a:cubicBezTo>
                      <a:pt x="1317" y="741"/>
                      <a:pt x="1308" y="757"/>
                      <a:pt x="1309" y="756"/>
                    </a:cubicBezTo>
                    <a:cubicBezTo>
                      <a:pt x="1315" y="754"/>
                      <a:pt x="1314" y="737"/>
                      <a:pt x="1317" y="735"/>
                    </a:cubicBezTo>
                    <a:cubicBezTo>
                      <a:pt x="1323" y="731"/>
                      <a:pt x="1344" y="715"/>
                      <a:pt x="1352" y="718"/>
                    </a:cubicBezTo>
                    <a:cubicBezTo>
                      <a:pt x="1355" y="718"/>
                      <a:pt x="1355" y="726"/>
                      <a:pt x="1358" y="726"/>
                    </a:cubicBezTo>
                    <a:cubicBezTo>
                      <a:pt x="1366" y="725"/>
                      <a:pt x="1370" y="699"/>
                      <a:pt x="1380" y="698"/>
                    </a:cubicBezTo>
                    <a:cubicBezTo>
                      <a:pt x="1390" y="696"/>
                      <a:pt x="1415" y="703"/>
                      <a:pt x="1423" y="698"/>
                    </a:cubicBezTo>
                    <a:cubicBezTo>
                      <a:pt x="1426" y="696"/>
                      <a:pt x="1426" y="708"/>
                      <a:pt x="1429" y="706"/>
                    </a:cubicBezTo>
                    <a:cubicBezTo>
                      <a:pt x="1434" y="704"/>
                      <a:pt x="1438" y="701"/>
                      <a:pt x="1442" y="698"/>
                    </a:cubicBezTo>
                    <a:cubicBezTo>
                      <a:pt x="1439" y="686"/>
                      <a:pt x="1441" y="683"/>
                      <a:pt x="1447" y="675"/>
                    </a:cubicBezTo>
                    <a:close/>
                    <a:moveTo>
                      <a:pt x="744" y="828"/>
                    </a:moveTo>
                    <a:cubicBezTo>
                      <a:pt x="742" y="829"/>
                      <a:pt x="737" y="815"/>
                      <a:pt x="736" y="813"/>
                    </a:cubicBezTo>
                    <a:cubicBezTo>
                      <a:pt x="736" y="813"/>
                      <a:pt x="696" y="785"/>
                      <a:pt x="723" y="788"/>
                    </a:cubicBezTo>
                    <a:cubicBezTo>
                      <a:pt x="723" y="788"/>
                      <a:pt x="723" y="788"/>
                      <a:pt x="723" y="788"/>
                    </a:cubicBezTo>
                    <a:cubicBezTo>
                      <a:pt x="724" y="787"/>
                      <a:pt x="727" y="796"/>
                      <a:pt x="729" y="798"/>
                    </a:cubicBezTo>
                    <a:cubicBezTo>
                      <a:pt x="731" y="803"/>
                      <a:pt x="731" y="787"/>
                      <a:pt x="733" y="792"/>
                    </a:cubicBezTo>
                    <a:cubicBezTo>
                      <a:pt x="736" y="801"/>
                      <a:pt x="754" y="821"/>
                      <a:pt x="744" y="828"/>
                    </a:cubicBezTo>
                    <a:close/>
                    <a:moveTo>
                      <a:pt x="758" y="745"/>
                    </a:moveTo>
                    <a:cubicBezTo>
                      <a:pt x="757" y="742"/>
                      <a:pt x="758" y="736"/>
                      <a:pt x="758" y="736"/>
                    </a:cubicBezTo>
                    <a:cubicBezTo>
                      <a:pt x="758" y="736"/>
                      <a:pt x="758" y="736"/>
                      <a:pt x="758" y="736"/>
                    </a:cubicBezTo>
                    <a:cubicBezTo>
                      <a:pt x="760" y="740"/>
                      <a:pt x="774" y="765"/>
                      <a:pt x="773" y="765"/>
                    </a:cubicBezTo>
                    <a:cubicBezTo>
                      <a:pt x="772" y="766"/>
                      <a:pt x="760" y="753"/>
                      <a:pt x="758" y="745"/>
                    </a:cubicBezTo>
                    <a:close/>
                    <a:moveTo>
                      <a:pt x="780" y="761"/>
                    </a:moveTo>
                    <a:cubicBezTo>
                      <a:pt x="777" y="762"/>
                      <a:pt x="764" y="733"/>
                      <a:pt x="767" y="735"/>
                    </a:cubicBezTo>
                    <a:cubicBezTo>
                      <a:pt x="767" y="735"/>
                      <a:pt x="767" y="735"/>
                      <a:pt x="767" y="735"/>
                    </a:cubicBezTo>
                    <a:cubicBezTo>
                      <a:pt x="767" y="739"/>
                      <a:pt x="785" y="757"/>
                      <a:pt x="780" y="761"/>
                    </a:cubicBezTo>
                    <a:close/>
                    <a:moveTo>
                      <a:pt x="816" y="750"/>
                    </a:moveTo>
                    <a:cubicBezTo>
                      <a:pt x="814" y="752"/>
                      <a:pt x="816" y="744"/>
                      <a:pt x="815" y="742"/>
                    </a:cubicBezTo>
                    <a:cubicBezTo>
                      <a:pt x="812" y="733"/>
                      <a:pt x="798" y="707"/>
                      <a:pt x="803" y="707"/>
                    </a:cubicBezTo>
                    <a:cubicBezTo>
                      <a:pt x="803" y="707"/>
                      <a:pt x="803" y="707"/>
                      <a:pt x="803" y="707"/>
                    </a:cubicBezTo>
                    <a:cubicBezTo>
                      <a:pt x="804" y="717"/>
                      <a:pt x="830" y="740"/>
                      <a:pt x="816" y="750"/>
                    </a:cubicBezTo>
                    <a:close/>
                    <a:moveTo>
                      <a:pt x="1133" y="861"/>
                    </a:moveTo>
                    <a:cubicBezTo>
                      <a:pt x="1135" y="864"/>
                      <a:pt x="1138" y="855"/>
                      <a:pt x="1142" y="859"/>
                    </a:cubicBezTo>
                    <a:cubicBezTo>
                      <a:pt x="1151" y="869"/>
                      <a:pt x="1153" y="885"/>
                      <a:pt x="1162" y="896"/>
                    </a:cubicBezTo>
                    <a:cubicBezTo>
                      <a:pt x="1169" y="904"/>
                      <a:pt x="1173" y="914"/>
                      <a:pt x="1180" y="921"/>
                    </a:cubicBezTo>
                    <a:cubicBezTo>
                      <a:pt x="1182" y="923"/>
                      <a:pt x="1191" y="927"/>
                      <a:pt x="1190" y="930"/>
                    </a:cubicBezTo>
                    <a:cubicBezTo>
                      <a:pt x="1188" y="935"/>
                      <a:pt x="1153" y="918"/>
                      <a:pt x="1151" y="911"/>
                    </a:cubicBezTo>
                    <a:cubicBezTo>
                      <a:pt x="1151" y="909"/>
                      <a:pt x="1158" y="907"/>
                      <a:pt x="1158" y="905"/>
                    </a:cubicBezTo>
                    <a:cubicBezTo>
                      <a:pt x="1161" y="899"/>
                      <a:pt x="1151" y="884"/>
                      <a:pt x="1147" y="880"/>
                    </a:cubicBezTo>
                    <a:cubicBezTo>
                      <a:pt x="1144" y="876"/>
                      <a:pt x="1139" y="868"/>
                      <a:pt x="1136" y="872"/>
                    </a:cubicBezTo>
                    <a:cubicBezTo>
                      <a:pt x="1133" y="874"/>
                      <a:pt x="1123" y="875"/>
                      <a:pt x="1125" y="872"/>
                    </a:cubicBezTo>
                    <a:cubicBezTo>
                      <a:pt x="1125" y="871"/>
                      <a:pt x="1133" y="861"/>
                      <a:pt x="1126" y="861"/>
                    </a:cubicBezTo>
                    <a:cubicBezTo>
                      <a:pt x="1106" y="862"/>
                      <a:pt x="1134" y="852"/>
                      <a:pt x="1127" y="850"/>
                    </a:cubicBezTo>
                    <a:cubicBezTo>
                      <a:pt x="1121" y="849"/>
                      <a:pt x="1109" y="871"/>
                      <a:pt x="1102" y="867"/>
                    </a:cubicBezTo>
                    <a:cubicBezTo>
                      <a:pt x="1101" y="866"/>
                      <a:pt x="1120" y="848"/>
                      <a:pt x="1118" y="845"/>
                    </a:cubicBezTo>
                    <a:cubicBezTo>
                      <a:pt x="1110" y="832"/>
                      <a:pt x="1111" y="855"/>
                      <a:pt x="1104" y="853"/>
                    </a:cubicBezTo>
                    <a:cubicBezTo>
                      <a:pt x="1104" y="853"/>
                      <a:pt x="1101" y="839"/>
                      <a:pt x="1099" y="849"/>
                    </a:cubicBezTo>
                    <a:cubicBezTo>
                      <a:pt x="1098" y="850"/>
                      <a:pt x="1097" y="858"/>
                      <a:pt x="1097" y="854"/>
                    </a:cubicBezTo>
                    <a:cubicBezTo>
                      <a:pt x="1097" y="857"/>
                      <a:pt x="1093" y="853"/>
                      <a:pt x="1093" y="852"/>
                    </a:cubicBezTo>
                    <a:cubicBezTo>
                      <a:pt x="1092" y="845"/>
                      <a:pt x="1098" y="843"/>
                      <a:pt x="1094" y="837"/>
                    </a:cubicBezTo>
                    <a:cubicBezTo>
                      <a:pt x="1094" y="837"/>
                      <a:pt x="1094" y="837"/>
                      <a:pt x="1094" y="837"/>
                    </a:cubicBezTo>
                    <a:cubicBezTo>
                      <a:pt x="1093" y="835"/>
                      <a:pt x="1084" y="834"/>
                      <a:pt x="1083" y="835"/>
                    </a:cubicBezTo>
                    <a:cubicBezTo>
                      <a:pt x="1083" y="836"/>
                      <a:pt x="1082" y="837"/>
                      <a:pt x="1081" y="837"/>
                    </a:cubicBezTo>
                    <a:cubicBezTo>
                      <a:pt x="1077" y="836"/>
                      <a:pt x="1077" y="829"/>
                      <a:pt x="1073" y="831"/>
                    </a:cubicBezTo>
                    <a:cubicBezTo>
                      <a:pt x="1072" y="831"/>
                      <a:pt x="1075" y="834"/>
                      <a:pt x="1075" y="835"/>
                    </a:cubicBezTo>
                    <a:cubicBezTo>
                      <a:pt x="1078" y="838"/>
                      <a:pt x="1084" y="843"/>
                      <a:pt x="1074" y="845"/>
                    </a:cubicBezTo>
                    <a:cubicBezTo>
                      <a:pt x="1073" y="845"/>
                      <a:pt x="1071" y="842"/>
                      <a:pt x="1071" y="840"/>
                    </a:cubicBezTo>
                    <a:cubicBezTo>
                      <a:pt x="1071" y="839"/>
                      <a:pt x="1073" y="830"/>
                      <a:pt x="1061" y="825"/>
                    </a:cubicBezTo>
                    <a:cubicBezTo>
                      <a:pt x="1050" y="819"/>
                      <a:pt x="1064" y="835"/>
                      <a:pt x="1058" y="835"/>
                    </a:cubicBezTo>
                    <a:cubicBezTo>
                      <a:pt x="1055" y="835"/>
                      <a:pt x="1044" y="827"/>
                      <a:pt x="1047" y="822"/>
                    </a:cubicBezTo>
                    <a:cubicBezTo>
                      <a:pt x="1054" y="811"/>
                      <a:pt x="1027" y="827"/>
                      <a:pt x="1031" y="809"/>
                    </a:cubicBezTo>
                    <a:cubicBezTo>
                      <a:pt x="1035" y="795"/>
                      <a:pt x="1072" y="823"/>
                      <a:pt x="1073" y="822"/>
                    </a:cubicBezTo>
                    <a:cubicBezTo>
                      <a:pt x="1073" y="822"/>
                      <a:pt x="1072" y="817"/>
                      <a:pt x="1072" y="817"/>
                    </a:cubicBezTo>
                    <a:cubicBezTo>
                      <a:pt x="1063" y="806"/>
                      <a:pt x="1087" y="823"/>
                      <a:pt x="1075" y="810"/>
                    </a:cubicBezTo>
                    <a:cubicBezTo>
                      <a:pt x="1071" y="806"/>
                      <a:pt x="1075" y="798"/>
                      <a:pt x="1080" y="806"/>
                    </a:cubicBezTo>
                    <a:cubicBezTo>
                      <a:pt x="1081" y="807"/>
                      <a:pt x="1082" y="808"/>
                      <a:pt x="1083" y="809"/>
                    </a:cubicBezTo>
                    <a:cubicBezTo>
                      <a:pt x="1084" y="811"/>
                      <a:pt x="1088" y="825"/>
                      <a:pt x="1088" y="825"/>
                    </a:cubicBezTo>
                    <a:cubicBezTo>
                      <a:pt x="1091" y="826"/>
                      <a:pt x="1088" y="810"/>
                      <a:pt x="1089" y="810"/>
                    </a:cubicBezTo>
                    <a:cubicBezTo>
                      <a:pt x="1090" y="809"/>
                      <a:pt x="1100" y="817"/>
                      <a:pt x="1102" y="819"/>
                    </a:cubicBezTo>
                    <a:cubicBezTo>
                      <a:pt x="1107" y="822"/>
                      <a:pt x="1108" y="807"/>
                      <a:pt x="1112" y="817"/>
                    </a:cubicBezTo>
                    <a:cubicBezTo>
                      <a:pt x="1113" y="820"/>
                      <a:pt x="1109" y="829"/>
                      <a:pt x="1108" y="825"/>
                    </a:cubicBezTo>
                    <a:cubicBezTo>
                      <a:pt x="1108" y="822"/>
                      <a:pt x="1104" y="822"/>
                      <a:pt x="1101" y="824"/>
                    </a:cubicBezTo>
                    <a:cubicBezTo>
                      <a:pt x="1094" y="829"/>
                      <a:pt x="1103" y="837"/>
                      <a:pt x="1103" y="838"/>
                    </a:cubicBezTo>
                    <a:cubicBezTo>
                      <a:pt x="1103" y="839"/>
                      <a:pt x="1101" y="841"/>
                      <a:pt x="1103" y="842"/>
                    </a:cubicBezTo>
                    <a:cubicBezTo>
                      <a:pt x="1105" y="844"/>
                      <a:pt x="1106" y="838"/>
                      <a:pt x="1108" y="838"/>
                    </a:cubicBezTo>
                    <a:cubicBezTo>
                      <a:pt x="1120" y="841"/>
                      <a:pt x="1113" y="818"/>
                      <a:pt x="1118" y="815"/>
                    </a:cubicBezTo>
                    <a:cubicBezTo>
                      <a:pt x="1130" y="809"/>
                      <a:pt x="1132" y="831"/>
                      <a:pt x="1128" y="824"/>
                    </a:cubicBezTo>
                    <a:cubicBezTo>
                      <a:pt x="1127" y="823"/>
                      <a:pt x="1121" y="825"/>
                      <a:pt x="1120" y="826"/>
                    </a:cubicBezTo>
                    <a:cubicBezTo>
                      <a:pt x="1119" y="829"/>
                      <a:pt x="1123" y="832"/>
                      <a:pt x="1126" y="834"/>
                    </a:cubicBezTo>
                    <a:cubicBezTo>
                      <a:pt x="1143" y="843"/>
                      <a:pt x="1127" y="851"/>
                      <a:pt x="1133" y="86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59" name="Freeform 874"/>
              <p:cNvSpPr>
                <a:spLocks/>
              </p:cNvSpPr>
              <p:nvPr/>
            </p:nvSpPr>
            <p:spPr bwMode="auto">
              <a:xfrm>
                <a:off x="3844" y="3056"/>
                <a:ext cx="40" cy="24"/>
              </a:xfrm>
              <a:custGeom>
                <a:avLst/>
                <a:gdLst>
                  <a:gd name="T0" fmla="*/ 59 w 61"/>
                  <a:gd name="T1" fmla="*/ 33 h 36"/>
                  <a:gd name="T2" fmla="*/ 54 w 61"/>
                  <a:gd name="T3" fmla="*/ 30 h 36"/>
                  <a:gd name="T4" fmla="*/ 38 w 61"/>
                  <a:gd name="T5" fmla="*/ 26 h 36"/>
                  <a:gd name="T6" fmla="*/ 2 w 61"/>
                  <a:gd name="T7" fmla="*/ 5 h 36"/>
                  <a:gd name="T8" fmla="*/ 1 w 61"/>
                  <a:gd name="T9" fmla="*/ 5 h 36"/>
                  <a:gd name="T10" fmla="*/ 8 w 61"/>
                  <a:gd name="T11" fmla="*/ 20 h 36"/>
                  <a:gd name="T12" fmla="*/ 59 w 61"/>
                  <a:gd name="T13" fmla="*/ 3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36">
                    <a:moveTo>
                      <a:pt x="59" y="33"/>
                    </a:moveTo>
                    <a:cubicBezTo>
                      <a:pt x="61" y="32"/>
                      <a:pt x="56" y="31"/>
                      <a:pt x="54" y="30"/>
                    </a:cubicBezTo>
                    <a:cubicBezTo>
                      <a:pt x="49" y="28"/>
                      <a:pt x="43" y="27"/>
                      <a:pt x="38" y="26"/>
                    </a:cubicBezTo>
                    <a:cubicBezTo>
                      <a:pt x="16" y="21"/>
                      <a:pt x="8" y="19"/>
                      <a:pt x="2" y="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0"/>
                      <a:pt x="3" y="18"/>
                      <a:pt x="8" y="20"/>
                    </a:cubicBezTo>
                    <a:cubicBezTo>
                      <a:pt x="15" y="23"/>
                      <a:pt x="53" y="36"/>
                      <a:pt x="59" y="3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0" name="Rectangle 875"/>
              <p:cNvSpPr>
                <a:spLocks noChangeArrowheads="1"/>
              </p:cNvSpPr>
              <p:nvPr/>
            </p:nvSpPr>
            <p:spPr bwMode="auto">
              <a:xfrm>
                <a:off x="3751" y="3104"/>
                <a:ext cx="1" cy="1"/>
              </a:xfrm>
              <a:prstGeom prst="rect">
                <a:avLst/>
              </a:prstGeom>
              <a:grpFill/>
              <a:ln w="127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1" name="Freeform 876"/>
              <p:cNvSpPr>
                <a:spLocks/>
              </p:cNvSpPr>
              <p:nvPr/>
            </p:nvSpPr>
            <p:spPr bwMode="auto">
              <a:xfrm>
                <a:off x="3496" y="3556"/>
                <a:ext cx="27" cy="19"/>
              </a:xfrm>
              <a:custGeom>
                <a:avLst/>
                <a:gdLst>
                  <a:gd name="T0" fmla="*/ 5 w 41"/>
                  <a:gd name="T1" fmla="*/ 19 h 29"/>
                  <a:gd name="T2" fmla="*/ 34 w 41"/>
                  <a:gd name="T3" fmla="*/ 21 h 29"/>
                  <a:gd name="T4" fmla="*/ 34 w 41"/>
                  <a:gd name="T5" fmla="*/ 21 h 29"/>
                  <a:gd name="T6" fmla="*/ 5 w 41"/>
                  <a:gd name="T7" fmla="*/ 1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29">
                    <a:moveTo>
                      <a:pt x="5" y="19"/>
                    </a:moveTo>
                    <a:cubicBezTo>
                      <a:pt x="0" y="29"/>
                      <a:pt x="29" y="25"/>
                      <a:pt x="34" y="21"/>
                    </a:cubicBezTo>
                    <a:cubicBezTo>
                      <a:pt x="34" y="21"/>
                      <a:pt x="34" y="21"/>
                      <a:pt x="34" y="21"/>
                    </a:cubicBezTo>
                    <a:cubicBezTo>
                      <a:pt x="41" y="16"/>
                      <a:pt x="13" y="0"/>
                      <a:pt x="5" y="1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2" name="Freeform 877"/>
              <p:cNvSpPr>
                <a:spLocks noEditPoints="1"/>
              </p:cNvSpPr>
              <p:nvPr/>
            </p:nvSpPr>
            <p:spPr bwMode="auto">
              <a:xfrm>
                <a:off x="3522" y="3411"/>
                <a:ext cx="1095" cy="501"/>
              </a:xfrm>
              <a:custGeom>
                <a:avLst/>
                <a:gdLst>
                  <a:gd name="T0" fmla="*/ 1625 w 1670"/>
                  <a:gd name="T1" fmla="*/ 402 h 764"/>
                  <a:gd name="T2" fmla="*/ 1661 w 1670"/>
                  <a:gd name="T3" fmla="*/ 294 h 764"/>
                  <a:gd name="T4" fmla="*/ 1563 w 1670"/>
                  <a:gd name="T5" fmla="*/ 218 h 764"/>
                  <a:gd name="T6" fmla="*/ 1551 w 1670"/>
                  <a:gd name="T7" fmla="*/ 118 h 764"/>
                  <a:gd name="T8" fmla="*/ 1518 w 1670"/>
                  <a:gd name="T9" fmla="*/ 92 h 764"/>
                  <a:gd name="T10" fmla="*/ 1381 w 1670"/>
                  <a:gd name="T11" fmla="*/ 74 h 764"/>
                  <a:gd name="T12" fmla="*/ 1167 w 1670"/>
                  <a:gd name="T13" fmla="*/ 126 h 764"/>
                  <a:gd name="T14" fmla="*/ 1001 w 1670"/>
                  <a:gd name="T15" fmla="*/ 119 h 764"/>
                  <a:gd name="T16" fmla="*/ 887 w 1670"/>
                  <a:gd name="T17" fmla="*/ 49 h 764"/>
                  <a:gd name="T18" fmla="*/ 816 w 1670"/>
                  <a:gd name="T19" fmla="*/ 11 h 764"/>
                  <a:gd name="T20" fmla="*/ 576 w 1670"/>
                  <a:gd name="T21" fmla="*/ 37 h 764"/>
                  <a:gd name="T22" fmla="*/ 337 w 1670"/>
                  <a:gd name="T23" fmla="*/ 118 h 764"/>
                  <a:gd name="T24" fmla="*/ 293 w 1670"/>
                  <a:gd name="T25" fmla="*/ 166 h 764"/>
                  <a:gd name="T26" fmla="*/ 242 w 1670"/>
                  <a:gd name="T27" fmla="*/ 194 h 764"/>
                  <a:gd name="T28" fmla="*/ 165 w 1670"/>
                  <a:gd name="T29" fmla="*/ 212 h 764"/>
                  <a:gd name="T30" fmla="*/ 108 w 1670"/>
                  <a:gd name="T31" fmla="*/ 201 h 764"/>
                  <a:gd name="T32" fmla="*/ 11 w 1670"/>
                  <a:gd name="T33" fmla="*/ 259 h 764"/>
                  <a:gd name="T34" fmla="*/ 78 w 1670"/>
                  <a:gd name="T35" fmla="*/ 316 h 764"/>
                  <a:gd name="T36" fmla="*/ 88 w 1670"/>
                  <a:gd name="T37" fmla="*/ 389 h 764"/>
                  <a:gd name="T38" fmla="*/ 66 w 1670"/>
                  <a:gd name="T39" fmla="*/ 411 h 764"/>
                  <a:gd name="T40" fmla="*/ 75 w 1670"/>
                  <a:gd name="T41" fmla="*/ 448 h 764"/>
                  <a:gd name="T42" fmla="*/ 38 w 1670"/>
                  <a:gd name="T43" fmla="*/ 421 h 764"/>
                  <a:gd name="T44" fmla="*/ 35 w 1670"/>
                  <a:gd name="T45" fmla="*/ 458 h 764"/>
                  <a:gd name="T46" fmla="*/ 16 w 1670"/>
                  <a:gd name="T47" fmla="*/ 466 h 764"/>
                  <a:gd name="T48" fmla="*/ 48 w 1670"/>
                  <a:gd name="T49" fmla="*/ 489 h 764"/>
                  <a:gd name="T50" fmla="*/ 84 w 1670"/>
                  <a:gd name="T51" fmla="*/ 540 h 764"/>
                  <a:gd name="T52" fmla="*/ 126 w 1670"/>
                  <a:gd name="T53" fmla="*/ 587 h 764"/>
                  <a:gd name="T54" fmla="*/ 112 w 1670"/>
                  <a:gd name="T55" fmla="*/ 602 h 764"/>
                  <a:gd name="T56" fmla="*/ 167 w 1670"/>
                  <a:gd name="T57" fmla="*/ 619 h 764"/>
                  <a:gd name="T58" fmla="*/ 170 w 1670"/>
                  <a:gd name="T59" fmla="*/ 646 h 764"/>
                  <a:gd name="T60" fmla="*/ 179 w 1670"/>
                  <a:gd name="T61" fmla="*/ 648 h 764"/>
                  <a:gd name="T62" fmla="*/ 177 w 1670"/>
                  <a:gd name="T63" fmla="*/ 664 h 764"/>
                  <a:gd name="T64" fmla="*/ 206 w 1670"/>
                  <a:gd name="T65" fmla="*/ 647 h 764"/>
                  <a:gd name="T66" fmla="*/ 226 w 1670"/>
                  <a:gd name="T67" fmla="*/ 643 h 764"/>
                  <a:gd name="T68" fmla="*/ 255 w 1670"/>
                  <a:gd name="T69" fmla="*/ 650 h 764"/>
                  <a:gd name="T70" fmla="*/ 276 w 1670"/>
                  <a:gd name="T71" fmla="*/ 700 h 764"/>
                  <a:gd name="T72" fmla="*/ 391 w 1670"/>
                  <a:gd name="T73" fmla="*/ 709 h 764"/>
                  <a:gd name="T74" fmla="*/ 534 w 1670"/>
                  <a:gd name="T75" fmla="*/ 678 h 764"/>
                  <a:gd name="T76" fmla="*/ 680 w 1670"/>
                  <a:gd name="T77" fmla="*/ 724 h 764"/>
                  <a:gd name="T78" fmla="*/ 827 w 1670"/>
                  <a:gd name="T79" fmla="*/ 676 h 764"/>
                  <a:gd name="T80" fmla="*/ 887 w 1670"/>
                  <a:gd name="T81" fmla="*/ 630 h 764"/>
                  <a:gd name="T82" fmla="*/ 900 w 1670"/>
                  <a:gd name="T83" fmla="*/ 762 h 764"/>
                  <a:gd name="T84" fmla="*/ 937 w 1670"/>
                  <a:gd name="T85" fmla="*/ 693 h 764"/>
                  <a:gd name="T86" fmla="*/ 1015 w 1670"/>
                  <a:gd name="T87" fmla="*/ 665 h 764"/>
                  <a:gd name="T88" fmla="*/ 1438 w 1670"/>
                  <a:gd name="T89" fmla="*/ 583 h 764"/>
                  <a:gd name="T90" fmla="*/ 1498 w 1670"/>
                  <a:gd name="T91" fmla="*/ 579 h 764"/>
                  <a:gd name="T92" fmla="*/ 1609 w 1670"/>
                  <a:gd name="T93" fmla="*/ 583 h 764"/>
                  <a:gd name="T94" fmla="*/ 419 w 1670"/>
                  <a:gd name="T95" fmla="*/ 508 h 764"/>
                  <a:gd name="T96" fmla="*/ 433 w 1670"/>
                  <a:gd name="T97" fmla="*/ 485 h 764"/>
                  <a:gd name="T98" fmla="*/ 485 w 1670"/>
                  <a:gd name="T99" fmla="*/ 551 h 764"/>
                  <a:gd name="T100" fmla="*/ 486 w 1670"/>
                  <a:gd name="T101" fmla="*/ 550 h 764"/>
                  <a:gd name="T102" fmla="*/ 630 w 1670"/>
                  <a:gd name="T103" fmla="*/ 414 h 764"/>
                  <a:gd name="T104" fmla="*/ 675 w 1670"/>
                  <a:gd name="T105" fmla="*/ 412 h 764"/>
                  <a:gd name="T106" fmla="*/ 1517 w 1670"/>
                  <a:gd name="T107" fmla="*/ 428 h 764"/>
                  <a:gd name="T108" fmla="*/ 1460 w 1670"/>
                  <a:gd name="T109" fmla="*/ 439 h 764"/>
                  <a:gd name="T110" fmla="*/ 1520 w 1670"/>
                  <a:gd name="T111" fmla="*/ 404 h 764"/>
                  <a:gd name="T112" fmla="*/ 1557 w 1670"/>
                  <a:gd name="T113" fmla="*/ 391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70" h="764">
                    <a:moveTo>
                      <a:pt x="1654" y="535"/>
                    </a:moveTo>
                    <a:cubicBezTo>
                      <a:pt x="1655" y="527"/>
                      <a:pt x="1618" y="514"/>
                      <a:pt x="1618" y="513"/>
                    </a:cubicBezTo>
                    <a:cubicBezTo>
                      <a:pt x="1618" y="496"/>
                      <a:pt x="1641" y="480"/>
                      <a:pt x="1642" y="463"/>
                    </a:cubicBezTo>
                    <a:cubicBezTo>
                      <a:pt x="1643" y="447"/>
                      <a:pt x="1628" y="460"/>
                      <a:pt x="1625" y="449"/>
                    </a:cubicBezTo>
                    <a:cubicBezTo>
                      <a:pt x="1622" y="435"/>
                      <a:pt x="1625" y="416"/>
                      <a:pt x="1625" y="402"/>
                    </a:cubicBezTo>
                    <a:cubicBezTo>
                      <a:pt x="1625" y="393"/>
                      <a:pt x="1614" y="392"/>
                      <a:pt x="1614" y="380"/>
                    </a:cubicBezTo>
                    <a:cubicBezTo>
                      <a:pt x="1614" y="380"/>
                      <a:pt x="1618" y="364"/>
                      <a:pt x="1618" y="364"/>
                    </a:cubicBezTo>
                    <a:cubicBezTo>
                      <a:pt x="1617" y="354"/>
                      <a:pt x="1601" y="344"/>
                      <a:pt x="1602" y="334"/>
                    </a:cubicBezTo>
                    <a:cubicBezTo>
                      <a:pt x="1602" y="324"/>
                      <a:pt x="1629" y="340"/>
                      <a:pt x="1636" y="328"/>
                    </a:cubicBezTo>
                    <a:cubicBezTo>
                      <a:pt x="1646" y="309"/>
                      <a:pt x="1632" y="271"/>
                      <a:pt x="1661" y="294"/>
                    </a:cubicBezTo>
                    <a:cubicBezTo>
                      <a:pt x="1664" y="296"/>
                      <a:pt x="1667" y="299"/>
                      <a:pt x="1668" y="295"/>
                    </a:cubicBezTo>
                    <a:cubicBezTo>
                      <a:pt x="1661" y="286"/>
                      <a:pt x="1655" y="277"/>
                      <a:pt x="1646" y="269"/>
                    </a:cubicBezTo>
                    <a:cubicBezTo>
                      <a:pt x="1623" y="245"/>
                      <a:pt x="1595" y="262"/>
                      <a:pt x="1567" y="244"/>
                    </a:cubicBezTo>
                    <a:cubicBezTo>
                      <a:pt x="1565" y="243"/>
                      <a:pt x="1572" y="241"/>
                      <a:pt x="1573" y="238"/>
                    </a:cubicBezTo>
                    <a:cubicBezTo>
                      <a:pt x="1575" y="234"/>
                      <a:pt x="1563" y="223"/>
                      <a:pt x="1563" y="218"/>
                    </a:cubicBezTo>
                    <a:cubicBezTo>
                      <a:pt x="1562" y="202"/>
                      <a:pt x="1573" y="191"/>
                      <a:pt x="1576" y="175"/>
                    </a:cubicBezTo>
                    <a:cubicBezTo>
                      <a:pt x="1580" y="154"/>
                      <a:pt x="1559" y="144"/>
                      <a:pt x="1551" y="130"/>
                    </a:cubicBezTo>
                    <a:cubicBezTo>
                      <a:pt x="1550" y="128"/>
                      <a:pt x="1551" y="126"/>
                      <a:pt x="1551" y="124"/>
                    </a:cubicBezTo>
                    <a:cubicBezTo>
                      <a:pt x="1551" y="123"/>
                      <a:pt x="1552" y="123"/>
                      <a:pt x="1552" y="122"/>
                    </a:cubicBezTo>
                    <a:cubicBezTo>
                      <a:pt x="1552" y="121"/>
                      <a:pt x="1552" y="119"/>
                      <a:pt x="1551" y="118"/>
                    </a:cubicBezTo>
                    <a:cubicBezTo>
                      <a:pt x="1542" y="104"/>
                      <a:pt x="1538" y="120"/>
                      <a:pt x="1530" y="114"/>
                    </a:cubicBezTo>
                    <a:cubicBezTo>
                      <a:pt x="1528" y="112"/>
                      <a:pt x="1530" y="107"/>
                      <a:pt x="1527" y="106"/>
                    </a:cubicBezTo>
                    <a:cubicBezTo>
                      <a:pt x="1525" y="104"/>
                      <a:pt x="1520" y="108"/>
                      <a:pt x="1520" y="106"/>
                    </a:cubicBezTo>
                    <a:cubicBezTo>
                      <a:pt x="1520" y="102"/>
                      <a:pt x="1526" y="102"/>
                      <a:pt x="1527" y="100"/>
                    </a:cubicBezTo>
                    <a:cubicBezTo>
                      <a:pt x="1529" y="96"/>
                      <a:pt x="1521" y="95"/>
                      <a:pt x="1518" y="92"/>
                    </a:cubicBezTo>
                    <a:cubicBezTo>
                      <a:pt x="1514" y="89"/>
                      <a:pt x="1504" y="76"/>
                      <a:pt x="1499" y="75"/>
                    </a:cubicBezTo>
                    <a:cubicBezTo>
                      <a:pt x="1497" y="74"/>
                      <a:pt x="1484" y="55"/>
                      <a:pt x="1472" y="65"/>
                    </a:cubicBezTo>
                    <a:cubicBezTo>
                      <a:pt x="1472" y="65"/>
                      <a:pt x="1465" y="81"/>
                      <a:pt x="1465" y="81"/>
                    </a:cubicBezTo>
                    <a:cubicBezTo>
                      <a:pt x="1457" y="87"/>
                      <a:pt x="1427" y="70"/>
                      <a:pt x="1416" y="73"/>
                    </a:cubicBezTo>
                    <a:cubicBezTo>
                      <a:pt x="1395" y="78"/>
                      <a:pt x="1413" y="86"/>
                      <a:pt x="1381" y="74"/>
                    </a:cubicBezTo>
                    <a:cubicBezTo>
                      <a:pt x="1375" y="82"/>
                      <a:pt x="1369" y="89"/>
                      <a:pt x="1366" y="90"/>
                    </a:cubicBezTo>
                    <a:cubicBezTo>
                      <a:pt x="1344" y="102"/>
                      <a:pt x="1272" y="145"/>
                      <a:pt x="1254" y="147"/>
                    </a:cubicBezTo>
                    <a:cubicBezTo>
                      <a:pt x="1240" y="148"/>
                      <a:pt x="1196" y="123"/>
                      <a:pt x="1190" y="123"/>
                    </a:cubicBezTo>
                    <a:cubicBezTo>
                      <a:pt x="1187" y="123"/>
                      <a:pt x="1182" y="129"/>
                      <a:pt x="1178" y="130"/>
                    </a:cubicBezTo>
                    <a:cubicBezTo>
                      <a:pt x="1174" y="131"/>
                      <a:pt x="1171" y="125"/>
                      <a:pt x="1167" y="126"/>
                    </a:cubicBezTo>
                    <a:cubicBezTo>
                      <a:pt x="1146" y="135"/>
                      <a:pt x="1117" y="148"/>
                      <a:pt x="1096" y="147"/>
                    </a:cubicBezTo>
                    <a:cubicBezTo>
                      <a:pt x="1088" y="147"/>
                      <a:pt x="1063" y="142"/>
                      <a:pt x="1054" y="138"/>
                    </a:cubicBezTo>
                    <a:cubicBezTo>
                      <a:pt x="1048" y="136"/>
                      <a:pt x="1050" y="123"/>
                      <a:pt x="1044" y="122"/>
                    </a:cubicBezTo>
                    <a:cubicBezTo>
                      <a:pt x="1029" y="118"/>
                      <a:pt x="1036" y="132"/>
                      <a:pt x="1023" y="133"/>
                    </a:cubicBezTo>
                    <a:cubicBezTo>
                      <a:pt x="1017" y="133"/>
                      <a:pt x="1005" y="121"/>
                      <a:pt x="1001" y="119"/>
                    </a:cubicBezTo>
                    <a:cubicBezTo>
                      <a:pt x="995" y="116"/>
                      <a:pt x="986" y="118"/>
                      <a:pt x="980" y="116"/>
                    </a:cubicBezTo>
                    <a:cubicBezTo>
                      <a:pt x="975" y="114"/>
                      <a:pt x="973" y="98"/>
                      <a:pt x="962" y="94"/>
                    </a:cubicBezTo>
                    <a:cubicBezTo>
                      <a:pt x="937" y="83"/>
                      <a:pt x="933" y="113"/>
                      <a:pt x="921" y="105"/>
                    </a:cubicBezTo>
                    <a:cubicBezTo>
                      <a:pt x="898" y="91"/>
                      <a:pt x="902" y="63"/>
                      <a:pt x="887" y="49"/>
                    </a:cubicBezTo>
                    <a:cubicBezTo>
                      <a:pt x="887" y="49"/>
                      <a:pt x="887" y="49"/>
                      <a:pt x="887" y="49"/>
                    </a:cubicBezTo>
                    <a:cubicBezTo>
                      <a:pt x="886" y="47"/>
                      <a:pt x="884" y="48"/>
                      <a:pt x="878" y="57"/>
                    </a:cubicBezTo>
                    <a:cubicBezTo>
                      <a:pt x="876" y="60"/>
                      <a:pt x="884" y="47"/>
                      <a:pt x="881" y="46"/>
                    </a:cubicBezTo>
                    <a:cubicBezTo>
                      <a:pt x="877" y="45"/>
                      <a:pt x="856" y="65"/>
                      <a:pt x="822" y="49"/>
                    </a:cubicBezTo>
                    <a:cubicBezTo>
                      <a:pt x="816" y="46"/>
                      <a:pt x="800" y="22"/>
                      <a:pt x="809" y="14"/>
                    </a:cubicBezTo>
                    <a:cubicBezTo>
                      <a:pt x="811" y="12"/>
                      <a:pt x="816" y="14"/>
                      <a:pt x="816" y="11"/>
                    </a:cubicBezTo>
                    <a:cubicBezTo>
                      <a:pt x="815" y="5"/>
                      <a:pt x="808" y="12"/>
                      <a:pt x="805" y="11"/>
                    </a:cubicBezTo>
                    <a:cubicBezTo>
                      <a:pt x="800" y="10"/>
                      <a:pt x="801" y="5"/>
                      <a:pt x="798" y="2"/>
                    </a:cubicBezTo>
                    <a:cubicBezTo>
                      <a:pt x="796" y="0"/>
                      <a:pt x="780" y="21"/>
                      <a:pt x="763" y="21"/>
                    </a:cubicBezTo>
                    <a:cubicBezTo>
                      <a:pt x="734" y="21"/>
                      <a:pt x="679" y="6"/>
                      <a:pt x="648" y="11"/>
                    </a:cubicBezTo>
                    <a:cubicBezTo>
                      <a:pt x="623" y="15"/>
                      <a:pt x="600" y="33"/>
                      <a:pt x="576" y="37"/>
                    </a:cubicBezTo>
                    <a:cubicBezTo>
                      <a:pt x="564" y="39"/>
                      <a:pt x="503" y="87"/>
                      <a:pt x="476" y="98"/>
                    </a:cubicBezTo>
                    <a:cubicBezTo>
                      <a:pt x="475" y="98"/>
                      <a:pt x="475" y="127"/>
                      <a:pt x="460" y="125"/>
                    </a:cubicBezTo>
                    <a:cubicBezTo>
                      <a:pt x="447" y="124"/>
                      <a:pt x="432" y="131"/>
                      <a:pt x="418" y="126"/>
                    </a:cubicBezTo>
                    <a:cubicBezTo>
                      <a:pt x="409" y="123"/>
                      <a:pt x="383" y="109"/>
                      <a:pt x="375" y="110"/>
                    </a:cubicBezTo>
                    <a:cubicBezTo>
                      <a:pt x="361" y="114"/>
                      <a:pt x="363" y="118"/>
                      <a:pt x="337" y="118"/>
                    </a:cubicBezTo>
                    <a:cubicBezTo>
                      <a:pt x="323" y="118"/>
                      <a:pt x="293" y="102"/>
                      <a:pt x="280" y="107"/>
                    </a:cubicBezTo>
                    <a:cubicBezTo>
                      <a:pt x="271" y="111"/>
                      <a:pt x="265" y="124"/>
                      <a:pt x="264" y="134"/>
                    </a:cubicBezTo>
                    <a:cubicBezTo>
                      <a:pt x="264" y="135"/>
                      <a:pt x="265" y="137"/>
                      <a:pt x="265" y="138"/>
                    </a:cubicBezTo>
                    <a:cubicBezTo>
                      <a:pt x="265" y="142"/>
                      <a:pt x="279" y="149"/>
                      <a:pt x="283" y="151"/>
                    </a:cubicBezTo>
                    <a:cubicBezTo>
                      <a:pt x="290" y="156"/>
                      <a:pt x="284" y="163"/>
                      <a:pt x="293" y="166"/>
                    </a:cubicBezTo>
                    <a:cubicBezTo>
                      <a:pt x="296" y="167"/>
                      <a:pt x="331" y="167"/>
                      <a:pt x="333" y="167"/>
                    </a:cubicBezTo>
                    <a:cubicBezTo>
                      <a:pt x="337" y="166"/>
                      <a:pt x="345" y="164"/>
                      <a:pt x="345" y="168"/>
                    </a:cubicBezTo>
                    <a:cubicBezTo>
                      <a:pt x="345" y="169"/>
                      <a:pt x="345" y="171"/>
                      <a:pt x="344" y="171"/>
                    </a:cubicBezTo>
                    <a:cubicBezTo>
                      <a:pt x="333" y="175"/>
                      <a:pt x="315" y="173"/>
                      <a:pt x="307" y="171"/>
                    </a:cubicBezTo>
                    <a:cubicBezTo>
                      <a:pt x="302" y="169"/>
                      <a:pt x="245" y="188"/>
                      <a:pt x="242" y="194"/>
                    </a:cubicBezTo>
                    <a:cubicBezTo>
                      <a:pt x="238" y="200"/>
                      <a:pt x="277" y="201"/>
                      <a:pt x="274" y="206"/>
                    </a:cubicBezTo>
                    <a:cubicBezTo>
                      <a:pt x="273" y="209"/>
                      <a:pt x="269" y="206"/>
                      <a:pt x="268" y="211"/>
                    </a:cubicBezTo>
                    <a:cubicBezTo>
                      <a:pt x="267" y="214"/>
                      <a:pt x="263" y="216"/>
                      <a:pt x="260" y="215"/>
                    </a:cubicBezTo>
                    <a:cubicBezTo>
                      <a:pt x="225" y="209"/>
                      <a:pt x="208" y="215"/>
                      <a:pt x="172" y="214"/>
                    </a:cubicBezTo>
                    <a:cubicBezTo>
                      <a:pt x="169" y="213"/>
                      <a:pt x="167" y="217"/>
                      <a:pt x="165" y="212"/>
                    </a:cubicBezTo>
                    <a:cubicBezTo>
                      <a:pt x="163" y="207"/>
                      <a:pt x="177" y="206"/>
                      <a:pt x="175" y="200"/>
                    </a:cubicBezTo>
                    <a:cubicBezTo>
                      <a:pt x="173" y="192"/>
                      <a:pt x="146" y="195"/>
                      <a:pt x="144" y="198"/>
                    </a:cubicBezTo>
                    <a:cubicBezTo>
                      <a:pt x="139" y="209"/>
                      <a:pt x="175" y="208"/>
                      <a:pt x="153" y="220"/>
                    </a:cubicBezTo>
                    <a:cubicBezTo>
                      <a:pt x="143" y="225"/>
                      <a:pt x="123" y="220"/>
                      <a:pt x="113" y="214"/>
                    </a:cubicBezTo>
                    <a:cubicBezTo>
                      <a:pt x="112" y="213"/>
                      <a:pt x="110" y="200"/>
                      <a:pt x="108" y="201"/>
                    </a:cubicBezTo>
                    <a:cubicBezTo>
                      <a:pt x="87" y="209"/>
                      <a:pt x="79" y="205"/>
                      <a:pt x="60" y="210"/>
                    </a:cubicBezTo>
                    <a:cubicBezTo>
                      <a:pt x="60" y="211"/>
                      <a:pt x="59" y="211"/>
                      <a:pt x="56" y="213"/>
                    </a:cubicBezTo>
                    <a:cubicBezTo>
                      <a:pt x="53" y="216"/>
                      <a:pt x="32" y="234"/>
                      <a:pt x="31" y="237"/>
                    </a:cubicBezTo>
                    <a:cubicBezTo>
                      <a:pt x="27" y="244"/>
                      <a:pt x="29" y="249"/>
                      <a:pt x="24" y="256"/>
                    </a:cubicBezTo>
                    <a:cubicBezTo>
                      <a:pt x="20" y="260"/>
                      <a:pt x="13" y="257"/>
                      <a:pt x="11" y="259"/>
                    </a:cubicBezTo>
                    <a:cubicBezTo>
                      <a:pt x="11" y="259"/>
                      <a:pt x="11" y="259"/>
                      <a:pt x="11" y="259"/>
                    </a:cubicBezTo>
                    <a:cubicBezTo>
                      <a:pt x="5" y="268"/>
                      <a:pt x="8" y="277"/>
                      <a:pt x="8" y="286"/>
                    </a:cubicBezTo>
                    <a:cubicBezTo>
                      <a:pt x="8" y="289"/>
                      <a:pt x="0" y="323"/>
                      <a:pt x="0" y="323"/>
                    </a:cubicBezTo>
                    <a:cubicBezTo>
                      <a:pt x="10" y="331"/>
                      <a:pt x="76" y="301"/>
                      <a:pt x="79" y="313"/>
                    </a:cubicBezTo>
                    <a:cubicBezTo>
                      <a:pt x="79" y="314"/>
                      <a:pt x="78" y="315"/>
                      <a:pt x="78" y="316"/>
                    </a:cubicBezTo>
                    <a:cubicBezTo>
                      <a:pt x="72" y="328"/>
                      <a:pt x="49" y="345"/>
                      <a:pt x="48" y="347"/>
                    </a:cubicBezTo>
                    <a:cubicBezTo>
                      <a:pt x="48" y="348"/>
                      <a:pt x="57" y="349"/>
                      <a:pt x="58" y="350"/>
                    </a:cubicBezTo>
                    <a:cubicBezTo>
                      <a:pt x="59" y="350"/>
                      <a:pt x="70" y="365"/>
                      <a:pt x="72" y="369"/>
                    </a:cubicBezTo>
                    <a:cubicBezTo>
                      <a:pt x="74" y="375"/>
                      <a:pt x="63" y="376"/>
                      <a:pt x="65" y="385"/>
                    </a:cubicBezTo>
                    <a:cubicBezTo>
                      <a:pt x="68" y="396"/>
                      <a:pt x="85" y="385"/>
                      <a:pt x="88" y="389"/>
                    </a:cubicBezTo>
                    <a:cubicBezTo>
                      <a:pt x="92" y="395"/>
                      <a:pt x="79" y="403"/>
                      <a:pt x="78" y="401"/>
                    </a:cubicBezTo>
                    <a:cubicBezTo>
                      <a:pt x="76" y="399"/>
                      <a:pt x="79" y="410"/>
                      <a:pt x="76" y="409"/>
                    </a:cubicBezTo>
                    <a:cubicBezTo>
                      <a:pt x="74" y="409"/>
                      <a:pt x="75" y="415"/>
                      <a:pt x="72" y="412"/>
                    </a:cubicBezTo>
                    <a:cubicBezTo>
                      <a:pt x="70" y="410"/>
                      <a:pt x="70" y="411"/>
                      <a:pt x="69" y="412"/>
                    </a:cubicBezTo>
                    <a:cubicBezTo>
                      <a:pt x="67" y="413"/>
                      <a:pt x="69" y="408"/>
                      <a:pt x="66" y="411"/>
                    </a:cubicBezTo>
                    <a:cubicBezTo>
                      <a:pt x="65" y="412"/>
                      <a:pt x="60" y="412"/>
                      <a:pt x="59" y="413"/>
                    </a:cubicBezTo>
                    <a:cubicBezTo>
                      <a:pt x="57" y="418"/>
                      <a:pt x="61" y="418"/>
                      <a:pt x="58" y="422"/>
                    </a:cubicBezTo>
                    <a:cubicBezTo>
                      <a:pt x="58" y="423"/>
                      <a:pt x="65" y="431"/>
                      <a:pt x="68" y="428"/>
                    </a:cubicBezTo>
                    <a:cubicBezTo>
                      <a:pt x="71" y="425"/>
                      <a:pt x="75" y="441"/>
                      <a:pt x="71" y="439"/>
                    </a:cubicBezTo>
                    <a:cubicBezTo>
                      <a:pt x="65" y="437"/>
                      <a:pt x="74" y="446"/>
                      <a:pt x="75" y="448"/>
                    </a:cubicBezTo>
                    <a:cubicBezTo>
                      <a:pt x="75" y="448"/>
                      <a:pt x="99" y="445"/>
                      <a:pt x="98" y="447"/>
                    </a:cubicBezTo>
                    <a:cubicBezTo>
                      <a:pt x="96" y="451"/>
                      <a:pt x="72" y="460"/>
                      <a:pt x="65" y="458"/>
                    </a:cubicBezTo>
                    <a:cubicBezTo>
                      <a:pt x="61" y="458"/>
                      <a:pt x="61" y="451"/>
                      <a:pt x="57" y="449"/>
                    </a:cubicBezTo>
                    <a:cubicBezTo>
                      <a:pt x="51" y="447"/>
                      <a:pt x="58" y="466"/>
                      <a:pt x="54" y="464"/>
                    </a:cubicBezTo>
                    <a:cubicBezTo>
                      <a:pt x="41" y="454"/>
                      <a:pt x="52" y="437"/>
                      <a:pt x="38" y="421"/>
                    </a:cubicBezTo>
                    <a:cubicBezTo>
                      <a:pt x="36" y="419"/>
                      <a:pt x="27" y="419"/>
                      <a:pt x="25" y="422"/>
                    </a:cubicBezTo>
                    <a:cubicBezTo>
                      <a:pt x="23" y="427"/>
                      <a:pt x="27" y="441"/>
                      <a:pt x="33" y="445"/>
                    </a:cubicBezTo>
                    <a:cubicBezTo>
                      <a:pt x="34" y="445"/>
                      <a:pt x="40" y="448"/>
                      <a:pt x="39" y="450"/>
                    </a:cubicBezTo>
                    <a:cubicBezTo>
                      <a:pt x="39" y="457"/>
                      <a:pt x="35" y="449"/>
                      <a:pt x="34" y="450"/>
                    </a:cubicBezTo>
                    <a:cubicBezTo>
                      <a:pt x="34" y="450"/>
                      <a:pt x="37" y="456"/>
                      <a:pt x="35" y="458"/>
                    </a:cubicBezTo>
                    <a:cubicBezTo>
                      <a:pt x="34" y="460"/>
                      <a:pt x="28" y="458"/>
                      <a:pt x="28" y="461"/>
                    </a:cubicBezTo>
                    <a:cubicBezTo>
                      <a:pt x="29" y="464"/>
                      <a:pt x="25" y="465"/>
                      <a:pt x="25" y="462"/>
                    </a:cubicBezTo>
                    <a:cubicBezTo>
                      <a:pt x="25" y="460"/>
                      <a:pt x="24" y="455"/>
                      <a:pt x="22" y="456"/>
                    </a:cubicBezTo>
                    <a:cubicBezTo>
                      <a:pt x="21" y="456"/>
                      <a:pt x="17" y="458"/>
                      <a:pt x="20" y="461"/>
                    </a:cubicBezTo>
                    <a:cubicBezTo>
                      <a:pt x="21" y="461"/>
                      <a:pt x="19" y="469"/>
                      <a:pt x="16" y="466"/>
                    </a:cubicBezTo>
                    <a:cubicBezTo>
                      <a:pt x="15" y="466"/>
                      <a:pt x="15" y="466"/>
                      <a:pt x="15" y="467"/>
                    </a:cubicBezTo>
                    <a:cubicBezTo>
                      <a:pt x="14" y="474"/>
                      <a:pt x="27" y="471"/>
                      <a:pt x="28" y="469"/>
                    </a:cubicBezTo>
                    <a:cubicBezTo>
                      <a:pt x="29" y="468"/>
                      <a:pt x="31" y="474"/>
                      <a:pt x="31" y="476"/>
                    </a:cubicBezTo>
                    <a:cubicBezTo>
                      <a:pt x="31" y="474"/>
                      <a:pt x="37" y="478"/>
                      <a:pt x="37" y="479"/>
                    </a:cubicBezTo>
                    <a:cubicBezTo>
                      <a:pt x="39" y="481"/>
                      <a:pt x="45" y="489"/>
                      <a:pt x="48" y="489"/>
                    </a:cubicBezTo>
                    <a:cubicBezTo>
                      <a:pt x="51" y="488"/>
                      <a:pt x="49" y="471"/>
                      <a:pt x="62" y="475"/>
                    </a:cubicBezTo>
                    <a:cubicBezTo>
                      <a:pt x="67" y="476"/>
                      <a:pt x="66" y="493"/>
                      <a:pt x="72" y="497"/>
                    </a:cubicBezTo>
                    <a:cubicBezTo>
                      <a:pt x="72" y="497"/>
                      <a:pt x="72" y="497"/>
                      <a:pt x="72" y="497"/>
                    </a:cubicBezTo>
                    <a:cubicBezTo>
                      <a:pt x="79" y="492"/>
                      <a:pt x="108" y="501"/>
                      <a:pt x="108" y="510"/>
                    </a:cubicBezTo>
                    <a:cubicBezTo>
                      <a:pt x="108" y="543"/>
                      <a:pt x="87" y="532"/>
                      <a:pt x="84" y="540"/>
                    </a:cubicBezTo>
                    <a:cubicBezTo>
                      <a:pt x="82" y="544"/>
                      <a:pt x="100" y="546"/>
                      <a:pt x="102" y="551"/>
                    </a:cubicBezTo>
                    <a:cubicBezTo>
                      <a:pt x="105" y="557"/>
                      <a:pt x="96" y="569"/>
                      <a:pt x="100" y="579"/>
                    </a:cubicBezTo>
                    <a:cubicBezTo>
                      <a:pt x="105" y="589"/>
                      <a:pt x="117" y="570"/>
                      <a:pt x="121" y="572"/>
                    </a:cubicBezTo>
                    <a:cubicBezTo>
                      <a:pt x="122" y="573"/>
                      <a:pt x="114" y="586"/>
                      <a:pt x="121" y="585"/>
                    </a:cubicBezTo>
                    <a:cubicBezTo>
                      <a:pt x="123" y="584"/>
                      <a:pt x="133" y="579"/>
                      <a:pt x="126" y="587"/>
                    </a:cubicBezTo>
                    <a:cubicBezTo>
                      <a:pt x="125" y="587"/>
                      <a:pt x="123" y="590"/>
                      <a:pt x="124" y="591"/>
                    </a:cubicBezTo>
                    <a:cubicBezTo>
                      <a:pt x="127" y="593"/>
                      <a:pt x="130" y="593"/>
                      <a:pt x="132" y="589"/>
                    </a:cubicBezTo>
                    <a:cubicBezTo>
                      <a:pt x="133" y="588"/>
                      <a:pt x="138" y="586"/>
                      <a:pt x="138" y="589"/>
                    </a:cubicBezTo>
                    <a:cubicBezTo>
                      <a:pt x="138" y="592"/>
                      <a:pt x="130" y="611"/>
                      <a:pt x="125" y="611"/>
                    </a:cubicBezTo>
                    <a:cubicBezTo>
                      <a:pt x="120" y="612"/>
                      <a:pt x="116" y="602"/>
                      <a:pt x="112" y="602"/>
                    </a:cubicBezTo>
                    <a:cubicBezTo>
                      <a:pt x="111" y="603"/>
                      <a:pt x="98" y="615"/>
                      <a:pt x="106" y="625"/>
                    </a:cubicBezTo>
                    <a:cubicBezTo>
                      <a:pt x="109" y="629"/>
                      <a:pt x="111" y="624"/>
                      <a:pt x="113" y="622"/>
                    </a:cubicBezTo>
                    <a:cubicBezTo>
                      <a:pt x="113" y="622"/>
                      <a:pt x="113" y="622"/>
                      <a:pt x="113" y="621"/>
                    </a:cubicBezTo>
                    <a:cubicBezTo>
                      <a:pt x="115" y="614"/>
                      <a:pt x="122" y="622"/>
                      <a:pt x="133" y="624"/>
                    </a:cubicBezTo>
                    <a:cubicBezTo>
                      <a:pt x="141" y="626"/>
                      <a:pt x="156" y="616"/>
                      <a:pt x="167" y="619"/>
                    </a:cubicBezTo>
                    <a:cubicBezTo>
                      <a:pt x="170" y="620"/>
                      <a:pt x="201" y="613"/>
                      <a:pt x="202" y="616"/>
                    </a:cubicBezTo>
                    <a:cubicBezTo>
                      <a:pt x="202" y="619"/>
                      <a:pt x="193" y="619"/>
                      <a:pt x="195" y="621"/>
                    </a:cubicBezTo>
                    <a:cubicBezTo>
                      <a:pt x="196" y="622"/>
                      <a:pt x="191" y="623"/>
                      <a:pt x="191" y="624"/>
                    </a:cubicBezTo>
                    <a:cubicBezTo>
                      <a:pt x="194" y="636"/>
                      <a:pt x="179" y="625"/>
                      <a:pt x="176" y="629"/>
                    </a:cubicBezTo>
                    <a:cubicBezTo>
                      <a:pt x="172" y="635"/>
                      <a:pt x="176" y="640"/>
                      <a:pt x="170" y="646"/>
                    </a:cubicBezTo>
                    <a:cubicBezTo>
                      <a:pt x="170" y="646"/>
                      <a:pt x="169" y="645"/>
                      <a:pt x="169" y="645"/>
                    </a:cubicBezTo>
                    <a:cubicBezTo>
                      <a:pt x="168" y="645"/>
                      <a:pt x="167" y="646"/>
                      <a:pt x="165" y="646"/>
                    </a:cubicBezTo>
                    <a:cubicBezTo>
                      <a:pt x="158" y="643"/>
                      <a:pt x="114" y="650"/>
                      <a:pt x="115" y="656"/>
                    </a:cubicBezTo>
                    <a:cubicBezTo>
                      <a:pt x="117" y="671"/>
                      <a:pt x="163" y="645"/>
                      <a:pt x="174" y="650"/>
                    </a:cubicBezTo>
                    <a:cubicBezTo>
                      <a:pt x="175" y="650"/>
                      <a:pt x="178" y="649"/>
                      <a:pt x="179" y="648"/>
                    </a:cubicBezTo>
                    <a:cubicBezTo>
                      <a:pt x="179" y="648"/>
                      <a:pt x="180" y="642"/>
                      <a:pt x="183" y="645"/>
                    </a:cubicBezTo>
                    <a:cubicBezTo>
                      <a:pt x="184" y="646"/>
                      <a:pt x="183" y="649"/>
                      <a:pt x="181" y="650"/>
                    </a:cubicBezTo>
                    <a:cubicBezTo>
                      <a:pt x="179" y="650"/>
                      <a:pt x="181" y="652"/>
                      <a:pt x="182" y="653"/>
                    </a:cubicBezTo>
                    <a:cubicBezTo>
                      <a:pt x="183" y="653"/>
                      <a:pt x="164" y="663"/>
                      <a:pt x="174" y="661"/>
                    </a:cubicBezTo>
                    <a:cubicBezTo>
                      <a:pt x="177" y="660"/>
                      <a:pt x="178" y="662"/>
                      <a:pt x="177" y="664"/>
                    </a:cubicBezTo>
                    <a:cubicBezTo>
                      <a:pt x="178" y="663"/>
                      <a:pt x="167" y="673"/>
                      <a:pt x="171" y="674"/>
                    </a:cubicBezTo>
                    <a:cubicBezTo>
                      <a:pt x="181" y="677"/>
                      <a:pt x="196" y="651"/>
                      <a:pt x="195" y="650"/>
                    </a:cubicBezTo>
                    <a:cubicBezTo>
                      <a:pt x="194" y="648"/>
                      <a:pt x="193" y="645"/>
                      <a:pt x="194" y="643"/>
                    </a:cubicBezTo>
                    <a:cubicBezTo>
                      <a:pt x="194" y="642"/>
                      <a:pt x="194" y="639"/>
                      <a:pt x="196" y="639"/>
                    </a:cubicBezTo>
                    <a:cubicBezTo>
                      <a:pt x="198" y="639"/>
                      <a:pt x="198" y="646"/>
                      <a:pt x="206" y="647"/>
                    </a:cubicBezTo>
                    <a:cubicBezTo>
                      <a:pt x="209" y="647"/>
                      <a:pt x="207" y="642"/>
                      <a:pt x="206" y="640"/>
                    </a:cubicBezTo>
                    <a:cubicBezTo>
                      <a:pt x="206" y="639"/>
                      <a:pt x="210" y="634"/>
                      <a:pt x="213" y="642"/>
                    </a:cubicBezTo>
                    <a:cubicBezTo>
                      <a:pt x="213" y="644"/>
                      <a:pt x="215" y="644"/>
                      <a:pt x="216" y="645"/>
                    </a:cubicBezTo>
                    <a:cubicBezTo>
                      <a:pt x="217" y="646"/>
                      <a:pt x="219" y="647"/>
                      <a:pt x="219" y="647"/>
                    </a:cubicBezTo>
                    <a:cubicBezTo>
                      <a:pt x="221" y="644"/>
                      <a:pt x="223" y="641"/>
                      <a:pt x="226" y="643"/>
                    </a:cubicBezTo>
                    <a:cubicBezTo>
                      <a:pt x="229" y="645"/>
                      <a:pt x="224" y="654"/>
                      <a:pt x="227" y="657"/>
                    </a:cubicBezTo>
                    <a:cubicBezTo>
                      <a:pt x="229" y="658"/>
                      <a:pt x="242" y="657"/>
                      <a:pt x="245" y="663"/>
                    </a:cubicBezTo>
                    <a:cubicBezTo>
                      <a:pt x="246" y="664"/>
                      <a:pt x="245" y="670"/>
                      <a:pt x="247" y="670"/>
                    </a:cubicBezTo>
                    <a:cubicBezTo>
                      <a:pt x="250" y="670"/>
                      <a:pt x="250" y="666"/>
                      <a:pt x="252" y="664"/>
                    </a:cubicBezTo>
                    <a:cubicBezTo>
                      <a:pt x="255" y="661"/>
                      <a:pt x="251" y="653"/>
                      <a:pt x="255" y="650"/>
                    </a:cubicBezTo>
                    <a:cubicBezTo>
                      <a:pt x="256" y="650"/>
                      <a:pt x="260" y="657"/>
                      <a:pt x="261" y="656"/>
                    </a:cubicBezTo>
                    <a:cubicBezTo>
                      <a:pt x="262" y="655"/>
                      <a:pt x="263" y="656"/>
                      <a:pt x="264" y="656"/>
                    </a:cubicBezTo>
                    <a:cubicBezTo>
                      <a:pt x="265" y="657"/>
                      <a:pt x="269" y="660"/>
                      <a:pt x="270" y="661"/>
                    </a:cubicBezTo>
                    <a:cubicBezTo>
                      <a:pt x="272" y="663"/>
                      <a:pt x="273" y="666"/>
                      <a:pt x="270" y="666"/>
                    </a:cubicBezTo>
                    <a:cubicBezTo>
                      <a:pt x="265" y="667"/>
                      <a:pt x="268" y="687"/>
                      <a:pt x="276" y="700"/>
                    </a:cubicBezTo>
                    <a:cubicBezTo>
                      <a:pt x="281" y="709"/>
                      <a:pt x="296" y="708"/>
                      <a:pt x="299" y="709"/>
                    </a:cubicBezTo>
                    <a:cubicBezTo>
                      <a:pt x="307" y="714"/>
                      <a:pt x="316" y="720"/>
                      <a:pt x="317" y="721"/>
                    </a:cubicBezTo>
                    <a:cubicBezTo>
                      <a:pt x="318" y="723"/>
                      <a:pt x="319" y="726"/>
                      <a:pt x="322" y="726"/>
                    </a:cubicBezTo>
                    <a:cubicBezTo>
                      <a:pt x="331" y="726"/>
                      <a:pt x="359" y="709"/>
                      <a:pt x="364" y="706"/>
                    </a:cubicBezTo>
                    <a:cubicBezTo>
                      <a:pt x="382" y="694"/>
                      <a:pt x="380" y="719"/>
                      <a:pt x="391" y="709"/>
                    </a:cubicBezTo>
                    <a:cubicBezTo>
                      <a:pt x="393" y="707"/>
                      <a:pt x="396" y="704"/>
                      <a:pt x="397" y="701"/>
                    </a:cubicBezTo>
                    <a:cubicBezTo>
                      <a:pt x="398" y="699"/>
                      <a:pt x="392" y="697"/>
                      <a:pt x="393" y="693"/>
                    </a:cubicBezTo>
                    <a:cubicBezTo>
                      <a:pt x="393" y="691"/>
                      <a:pt x="406" y="639"/>
                      <a:pt x="409" y="636"/>
                    </a:cubicBezTo>
                    <a:cubicBezTo>
                      <a:pt x="410" y="636"/>
                      <a:pt x="411" y="635"/>
                      <a:pt x="411" y="635"/>
                    </a:cubicBezTo>
                    <a:cubicBezTo>
                      <a:pt x="432" y="631"/>
                      <a:pt x="518" y="664"/>
                      <a:pt x="534" y="678"/>
                    </a:cubicBezTo>
                    <a:cubicBezTo>
                      <a:pt x="549" y="691"/>
                      <a:pt x="572" y="748"/>
                      <a:pt x="601" y="738"/>
                    </a:cubicBezTo>
                    <a:cubicBezTo>
                      <a:pt x="618" y="732"/>
                      <a:pt x="630" y="722"/>
                      <a:pt x="649" y="722"/>
                    </a:cubicBezTo>
                    <a:cubicBezTo>
                      <a:pt x="655" y="722"/>
                      <a:pt x="661" y="727"/>
                      <a:pt x="667" y="725"/>
                    </a:cubicBezTo>
                    <a:cubicBezTo>
                      <a:pt x="671" y="724"/>
                      <a:pt x="670" y="718"/>
                      <a:pt x="675" y="718"/>
                    </a:cubicBezTo>
                    <a:cubicBezTo>
                      <a:pt x="678" y="717"/>
                      <a:pt x="678" y="725"/>
                      <a:pt x="680" y="724"/>
                    </a:cubicBezTo>
                    <a:cubicBezTo>
                      <a:pt x="684" y="724"/>
                      <a:pt x="697" y="689"/>
                      <a:pt x="703" y="710"/>
                    </a:cubicBezTo>
                    <a:cubicBezTo>
                      <a:pt x="703" y="712"/>
                      <a:pt x="701" y="716"/>
                      <a:pt x="703" y="715"/>
                    </a:cubicBezTo>
                    <a:cubicBezTo>
                      <a:pt x="703" y="715"/>
                      <a:pt x="703" y="715"/>
                      <a:pt x="703" y="715"/>
                    </a:cubicBezTo>
                    <a:cubicBezTo>
                      <a:pt x="708" y="712"/>
                      <a:pt x="734" y="662"/>
                      <a:pt x="766" y="644"/>
                    </a:cubicBezTo>
                    <a:cubicBezTo>
                      <a:pt x="782" y="635"/>
                      <a:pt x="812" y="676"/>
                      <a:pt x="827" y="676"/>
                    </a:cubicBezTo>
                    <a:cubicBezTo>
                      <a:pt x="830" y="676"/>
                      <a:pt x="858" y="666"/>
                      <a:pt x="858" y="656"/>
                    </a:cubicBezTo>
                    <a:cubicBezTo>
                      <a:pt x="858" y="655"/>
                      <a:pt x="857" y="655"/>
                      <a:pt x="855" y="655"/>
                    </a:cubicBezTo>
                    <a:cubicBezTo>
                      <a:pt x="852" y="655"/>
                      <a:pt x="850" y="660"/>
                      <a:pt x="848" y="658"/>
                    </a:cubicBezTo>
                    <a:cubicBezTo>
                      <a:pt x="842" y="653"/>
                      <a:pt x="863" y="651"/>
                      <a:pt x="869" y="648"/>
                    </a:cubicBezTo>
                    <a:cubicBezTo>
                      <a:pt x="874" y="645"/>
                      <a:pt x="881" y="629"/>
                      <a:pt x="887" y="630"/>
                    </a:cubicBezTo>
                    <a:cubicBezTo>
                      <a:pt x="902" y="632"/>
                      <a:pt x="909" y="659"/>
                      <a:pt x="903" y="669"/>
                    </a:cubicBezTo>
                    <a:cubicBezTo>
                      <a:pt x="897" y="678"/>
                      <a:pt x="863" y="690"/>
                      <a:pt x="866" y="705"/>
                    </a:cubicBezTo>
                    <a:cubicBezTo>
                      <a:pt x="868" y="715"/>
                      <a:pt x="887" y="729"/>
                      <a:pt x="884" y="741"/>
                    </a:cubicBezTo>
                    <a:cubicBezTo>
                      <a:pt x="883" y="742"/>
                      <a:pt x="882" y="745"/>
                      <a:pt x="880" y="749"/>
                    </a:cubicBezTo>
                    <a:cubicBezTo>
                      <a:pt x="885" y="749"/>
                      <a:pt x="896" y="764"/>
                      <a:pt x="900" y="762"/>
                    </a:cubicBezTo>
                    <a:cubicBezTo>
                      <a:pt x="906" y="759"/>
                      <a:pt x="901" y="749"/>
                      <a:pt x="905" y="744"/>
                    </a:cubicBezTo>
                    <a:cubicBezTo>
                      <a:pt x="908" y="740"/>
                      <a:pt x="915" y="742"/>
                      <a:pt x="918" y="738"/>
                    </a:cubicBezTo>
                    <a:cubicBezTo>
                      <a:pt x="922" y="734"/>
                      <a:pt x="915" y="718"/>
                      <a:pt x="920" y="714"/>
                    </a:cubicBezTo>
                    <a:cubicBezTo>
                      <a:pt x="923" y="711"/>
                      <a:pt x="944" y="718"/>
                      <a:pt x="948" y="712"/>
                    </a:cubicBezTo>
                    <a:cubicBezTo>
                      <a:pt x="951" y="708"/>
                      <a:pt x="939" y="697"/>
                      <a:pt x="937" y="693"/>
                    </a:cubicBezTo>
                    <a:cubicBezTo>
                      <a:pt x="934" y="682"/>
                      <a:pt x="936" y="648"/>
                      <a:pt x="945" y="641"/>
                    </a:cubicBezTo>
                    <a:cubicBezTo>
                      <a:pt x="948" y="638"/>
                      <a:pt x="978" y="652"/>
                      <a:pt x="979" y="655"/>
                    </a:cubicBezTo>
                    <a:cubicBezTo>
                      <a:pt x="979" y="656"/>
                      <a:pt x="970" y="669"/>
                      <a:pt x="982" y="667"/>
                    </a:cubicBezTo>
                    <a:cubicBezTo>
                      <a:pt x="984" y="666"/>
                      <a:pt x="984" y="662"/>
                      <a:pt x="986" y="661"/>
                    </a:cubicBezTo>
                    <a:cubicBezTo>
                      <a:pt x="994" y="657"/>
                      <a:pt x="1007" y="667"/>
                      <a:pt x="1015" y="665"/>
                    </a:cubicBezTo>
                    <a:cubicBezTo>
                      <a:pt x="1039" y="659"/>
                      <a:pt x="1071" y="623"/>
                      <a:pt x="1098" y="633"/>
                    </a:cubicBezTo>
                    <a:cubicBezTo>
                      <a:pt x="1128" y="644"/>
                      <a:pt x="1129" y="663"/>
                      <a:pt x="1171" y="661"/>
                    </a:cubicBezTo>
                    <a:cubicBezTo>
                      <a:pt x="1231" y="657"/>
                      <a:pt x="1260" y="618"/>
                      <a:pt x="1312" y="607"/>
                    </a:cubicBezTo>
                    <a:cubicBezTo>
                      <a:pt x="1335" y="602"/>
                      <a:pt x="1362" y="612"/>
                      <a:pt x="1386" y="608"/>
                    </a:cubicBezTo>
                    <a:cubicBezTo>
                      <a:pt x="1411" y="604"/>
                      <a:pt x="1421" y="599"/>
                      <a:pt x="1438" y="583"/>
                    </a:cubicBezTo>
                    <a:cubicBezTo>
                      <a:pt x="1442" y="579"/>
                      <a:pt x="1449" y="588"/>
                      <a:pt x="1452" y="593"/>
                    </a:cubicBezTo>
                    <a:cubicBezTo>
                      <a:pt x="1454" y="597"/>
                      <a:pt x="1454" y="602"/>
                      <a:pt x="1452" y="609"/>
                    </a:cubicBezTo>
                    <a:cubicBezTo>
                      <a:pt x="1471" y="600"/>
                      <a:pt x="1473" y="594"/>
                      <a:pt x="1486" y="579"/>
                    </a:cubicBezTo>
                    <a:cubicBezTo>
                      <a:pt x="1487" y="577"/>
                      <a:pt x="1488" y="575"/>
                      <a:pt x="1490" y="575"/>
                    </a:cubicBezTo>
                    <a:cubicBezTo>
                      <a:pt x="1493" y="575"/>
                      <a:pt x="1495" y="578"/>
                      <a:pt x="1498" y="579"/>
                    </a:cubicBezTo>
                    <a:cubicBezTo>
                      <a:pt x="1500" y="580"/>
                      <a:pt x="1502" y="583"/>
                      <a:pt x="1505" y="583"/>
                    </a:cubicBezTo>
                    <a:cubicBezTo>
                      <a:pt x="1508" y="583"/>
                      <a:pt x="1511" y="580"/>
                      <a:pt x="1514" y="579"/>
                    </a:cubicBezTo>
                    <a:cubicBezTo>
                      <a:pt x="1517" y="578"/>
                      <a:pt x="1520" y="575"/>
                      <a:pt x="1523" y="575"/>
                    </a:cubicBezTo>
                    <a:cubicBezTo>
                      <a:pt x="1536" y="575"/>
                      <a:pt x="1551" y="589"/>
                      <a:pt x="1564" y="593"/>
                    </a:cubicBezTo>
                    <a:cubicBezTo>
                      <a:pt x="1590" y="600"/>
                      <a:pt x="1592" y="581"/>
                      <a:pt x="1609" y="583"/>
                    </a:cubicBezTo>
                    <a:cubicBezTo>
                      <a:pt x="1636" y="586"/>
                      <a:pt x="1610" y="609"/>
                      <a:pt x="1621" y="623"/>
                    </a:cubicBezTo>
                    <a:cubicBezTo>
                      <a:pt x="1622" y="624"/>
                      <a:pt x="1645" y="608"/>
                      <a:pt x="1651" y="603"/>
                    </a:cubicBezTo>
                    <a:cubicBezTo>
                      <a:pt x="1654" y="600"/>
                      <a:pt x="1670" y="601"/>
                      <a:pt x="1670" y="601"/>
                    </a:cubicBezTo>
                    <a:cubicBezTo>
                      <a:pt x="1665" y="565"/>
                      <a:pt x="1645" y="579"/>
                      <a:pt x="1654" y="535"/>
                    </a:cubicBezTo>
                    <a:close/>
                    <a:moveTo>
                      <a:pt x="419" y="508"/>
                    </a:moveTo>
                    <a:cubicBezTo>
                      <a:pt x="417" y="505"/>
                      <a:pt x="425" y="497"/>
                      <a:pt x="427" y="493"/>
                    </a:cubicBezTo>
                    <a:cubicBezTo>
                      <a:pt x="428" y="487"/>
                      <a:pt x="403" y="474"/>
                      <a:pt x="425" y="468"/>
                    </a:cubicBezTo>
                    <a:cubicBezTo>
                      <a:pt x="426" y="468"/>
                      <a:pt x="429" y="466"/>
                      <a:pt x="430" y="467"/>
                    </a:cubicBezTo>
                    <a:cubicBezTo>
                      <a:pt x="433" y="468"/>
                      <a:pt x="426" y="479"/>
                      <a:pt x="426" y="481"/>
                    </a:cubicBezTo>
                    <a:cubicBezTo>
                      <a:pt x="426" y="486"/>
                      <a:pt x="431" y="482"/>
                      <a:pt x="433" y="485"/>
                    </a:cubicBezTo>
                    <a:cubicBezTo>
                      <a:pt x="436" y="490"/>
                      <a:pt x="434" y="495"/>
                      <a:pt x="436" y="501"/>
                    </a:cubicBezTo>
                    <a:cubicBezTo>
                      <a:pt x="436" y="501"/>
                      <a:pt x="436" y="501"/>
                      <a:pt x="436" y="501"/>
                    </a:cubicBezTo>
                    <a:cubicBezTo>
                      <a:pt x="440" y="515"/>
                      <a:pt x="426" y="524"/>
                      <a:pt x="419" y="508"/>
                    </a:cubicBezTo>
                    <a:close/>
                    <a:moveTo>
                      <a:pt x="486" y="550"/>
                    </a:moveTo>
                    <a:cubicBezTo>
                      <a:pt x="485" y="550"/>
                      <a:pt x="485" y="551"/>
                      <a:pt x="485" y="551"/>
                    </a:cubicBezTo>
                    <a:cubicBezTo>
                      <a:pt x="485" y="550"/>
                      <a:pt x="473" y="507"/>
                      <a:pt x="471" y="506"/>
                    </a:cubicBezTo>
                    <a:cubicBezTo>
                      <a:pt x="474" y="508"/>
                      <a:pt x="477" y="503"/>
                      <a:pt x="478" y="505"/>
                    </a:cubicBezTo>
                    <a:cubicBezTo>
                      <a:pt x="478" y="505"/>
                      <a:pt x="478" y="505"/>
                      <a:pt x="478" y="505"/>
                    </a:cubicBezTo>
                    <a:cubicBezTo>
                      <a:pt x="483" y="509"/>
                      <a:pt x="504" y="538"/>
                      <a:pt x="504" y="539"/>
                    </a:cubicBezTo>
                    <a:cubicBezTo>
                      <a:pt x="505" y="546"/>
                      <a:pt x="493" y="549"/>
                      <a:pt x="486" y="550"/>
                    </a:cubicBezTo>
                    <a:close/>
                    <a:moveTo>
                      <a:pt x="684" y="425"/>
                    </a:moveTo>
                    <a:cubicBezTo>
                      <a:pt x="683" y="428"/>
                      <a:pt x="670" y="425"/>
                      <a:pt x="671" y="431"/>
                    </a:cubicBezTo>
                    <a:cubicBezTo>
                      <a:pt x="672" y="433"/>
                      <a:pt x="665" y="443"/>
                      <a:pt x="665" y="443"/>
                    </a:cubicBezTo>
                    <a:cubicBezTo>
                      <a:pt x="665" y="443"/>
                      <a:pt x="665" y="443"/>
                      <a:pt x="665" y="443"/>
                    </a:cubicBezTo>
                    <a:cubicBezTo>
                      <a:pt x="659" y="435"/>
                      <a:pt x="632" y="422"/>
                      <a:pt x="630" y="414"/>
                    </a:cubicBezTo>
                    <a:cubicBezTo>
                      <a:pt x="626" y="396"/>
                      <a:pt x="644" y="394"/>
                      <a:pt x="648" y="386"/>
                    </a:cubicBezTo>
                    <a:cubicBezTo>
                      <a:pt x="650" y="382"/>
                      <a:pt x="640" y="361"/>
                      <a:pt x="648" y="362"/>
                    </a:cubicBezTo>
                    <a:cubicBezTo>
                      <a:pt x="666" y="365"/>
                      <a:pt x="649" y="413"/>
                      <a:pt x="667" y="411"/>
                    </a:cubicBezTo>
                    <a:cubicBezTo>
                      <a:pt x="673" y="411"/>
                      <a:pt x="665" y="390"/>
                      <a:pt x="669" y="393"/>
                    </a:cubicBezTo>
                    <a:cubicBezTo>
                      <a:pt x="672" y="395"/>
                      <a:pt x="674" y="409"/>
                      <a:pt x="675" y="412"/>
                    </a:cubicBezTo>
                    <a:cubicBezTo>
                      <a:pt x="676" y="417"/>
                      <a:pt x="685" y="420"/>
                      <a:pt x="684" y="425"/>
                    </a:cubicBezTo>
                    <a:close/>
                    <a:moveTo>
                      <a:pt x="1557" y="391"/>
                    </a:moveTo>
                    <a:cubicBezTo>
                      <a:pt x="1554" y="405"/>
                      <a:pt x="1528" y="396"/>
                      <a:pt x="1528" y="413"/>
                    </a:cubicBezTo>
                    <a:cubicBezTo>
                      <a:pt x="1528" y="415"/>
                      <a:pt x="1524" y="424"/>
                      <a:pt x="1522" y="426"/>
                    </a:cubicBezTo>
                    <a:cubicBezTo>
                      <a:pt x="1522" y="426"/>
                      <a:pt x="1516" y="427"/>
                      <a:pt x="1517" y="428"/>
                    </a:cubicBezTo>
                    <a:cubicBezTo>
                      <a:pt x="1519" y="430"/>
                      <a:pt x="1535" y="426"/>
                      <a:pt x="1538" y="435"/>
                    </a:cubicBezTo>
                    <a:cubicBezTo>
                      <a:pt x="1541" y="445"/>
                      <a:pt x="1519" y="469"/>
                      <a:pt x="1511" y="463"/>
                    </a:cubicBezTo>
                    <a:cubicBezTo>
                      <a:pt x="1496" y="453"/>
                      <a:pt x="1501" y="441"/>
                      <a:pt x="1499" y="440"/>
                    </a:cubicBezTo>
                    <a:cubicBezTo>
                      <a:pt x="1495" y="439"/>
                      <a:pt x="1499" y="444"/>
                      <a:pt x="1496" y="445"/>
                    </a:cubicBezTo>
                    <a:cubicBezTo>
                      <a:pt x="1482" y="446"/>
                      <a:pt x="1472" y="445"/>
                      <a:pt x="1460" y="439"/>
                    </a:cubicBezTo>
                    <a:cubicBezTo>
                      <a:pt x="1456" y="437"/>
                      <a:pt x="1452" y="445"/>
                      <a:pt x="1448" y="443"/>
                    </a:cubicBezTo>
                    <a:cubicBezTo>
                      <a:pt x="1448" y="442"/>
                      <a:pt x="1448" y="442"/>
                      <a:pt x="1448" y="442"/>
                    </a:cubicBezTo>
                    <a:cubicBezTo>
                      <a:pt x="1446" y="438"/>
                      <a:pt x="1456" y="433"/>
                      <a:pt x="1458" y="431"/>
                    </a:cubicBezTo>
                    <a:cubicBezTo>
                      <a:pt x="1464" y="426"/>
                      <a:pt x="1458" y="415"/>
                      <a:pt x="1460" y="413"/>
                    </a:cubicBezTo>
                    <a:cubicBezTo>
                      <a:pt x="1477" y="400"/>
                      <a:pt x="1502" y="407"/>
                      <a:pt x="1520" y="404"/>
                    </a:cubicBezTo>
                    <a:cubicBezTo>
                      <a:pt x="1524" y="403"/>
                      <a:pt x="1530" y="394"/>
                      <a:pt x="1525" y="392"/>
                    </a:cubicBezTo>
                    <a:cubicBezTo>
                      <a:pt x="1515" y="390"/>
                      <a:pt x="1527" y="400"/>
                      <a:pt x="1520" y="399"/>
                    </a:cubicBezTo>
                    <a:cubicBezTo>
                      <a:pt x="1518" y="398"/>
                      <a:pt x="1513" y="392"/>
                      <a:pt x="1515" y="389"/>
                    </a:cubicBezTo>
                    <a:cubicBezTo>
                      <a:pt x="1518" y="385"/>
                      <a:pt x="1561" y="380"/>
                      <a:pt x="1568" y="387"/>
                    </a:cubicBezTo>
                    <a:cubicBezTo>
                      <a:pt x="1571" y="390"/>
                      <a:pt x="1558" y="389"/>
                      <a:pt x="1557" y="39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3" name="Freeform 878"/>
              <p:cNvSpPr>
                <a:spLocks/>
              </p:cNvSpPr>
              <p:nvPr/>
            </p:nvSpPr>
            <p:spPr bwMode="auto">
              <a:xfrm>
                <a:off x="3520" y="3410"/>
                <a:ext cx="180" cy="168"/>
              </a:xfrm>
              <a:custGeom>
                <a:avLst/>
                <a:gdLst>
                  <a:gd name="T0" fmla="*/ 137 w 274"/>
                  <a:gd name="T1" fmla="*/ 28 h 256"/>
                  <a:gd name="T2" fmla="*/ 108 w 274"/>
                  <a:gd name="T3" fmla="*/ 3 h 256"/>
                  <a:gd name="T4" fmla="*/ 73 w 274"/>
                  <a:gd name="T5" fmla="*/ 19 h 256"/>
                  <a:gd name="T6" fmla="*/ 53 w 274"/>
                  <a:gd name="T7" fmla="*/ 17 h 256"/>
                  <a:gd name="T8" fmla="*/ 46 w 274"/>
                  <a:gd name="T9" fmla="*/ 36 h 256"/>
                  <a:gd name="T10" fmla="*/ 28 w 274"/>
                  <a:gd name="T11" fmla="*/ 50 h 256"/>
                  <a:gd name="T12" fmla="*/ 52 w 274"/>
                  <a:gd name="T13" fmla="*/ 97 h 256"/>
                  <a:gd name="T14" fmla="*/ 25 w 274"/>
                  <a:gd name="T15" fmla="*/ 116 h 256"/>
                  <a:gd name="T16" fmla="*/ 1 w 274"/>
                  <a:gd name="T17" fmla="*/ 171 h 256"/>
                  <a:gd name="T18" fmla="*/ 5 w 274"/>
                  <a:gd name="T19" fmla="*/ 187 h 256"/>
                  <a:gd name="T20" fmla="*/ 71 w 274"/>
                  <a:gd name="T21" fmla="*/ 188 h 256"/>
                  <a:gd name="T22" fmla="*/ 63 w 274"/>
                  <a:gd name="T23" fmla="*/ 193 h 256"/>
                  <a:gd name="T24" fmla="*/ 16 w 274"/>
                  <a:gd name="T25" fmla="*/ 222 h 256"/>
                  <a:gd name="T26" fmla="*/ 20 w 274"/>
                  <a:gd name="T27" fmla="*/ 237 h 256"/>
                  <a:gd name="T28" fmla="*/ 11 w 274"/>
                  <a:gd name="T29" fmla="*/ 255 h 256"/>
                  <a:gd name="T30" fmla="*/ 14 w 274"/>
                  <a:gd name="T31" fmla="*/ 254 h 256"/>
                  <a:gd name="T32" fmla="*/ 52 w 274"/>
                  <a:gd name="T33" fmla="*/ 213 h 256"/>
                  <a:gd name="T34" fmla="*/ 112 w 274"/>
                  <a:gd name="T35" fmla="*/ 175 h 256"/>
                  <a:gd name="T36" fmla="*/ 131 w 274"/>
                  <a:gd name="T37" fmla="*/ 140 h 256"/>
                  <a:gd name="T38" fmla="*/ 170 w 274"/>
                  <a:gd name="T39" fmla="*/ 142 h 256"/>
                  <a:gd name="T40" fmla="*/ 196 w 274"/>
                  <a:gd name="T41" fmla="*/ 128 h 256"/>
                  <a:gd name="T42" fmla="*/ 223 w 274"/>
                  <a:gd name="T43" fmla="*/ 140 h 256"/>
                  <a:gd name="T44" fmla="*/ 222 w 274"/>
                  <a:gd name="T45" fmla="*/ 129 h 256"/>
                  <a:gd name="T46" fmla="*/ 229 w 274"/>
                  <a:gd name="T47" fmla="*/ 142 h 256"/>
                  <a:gd name="T48" fmla="*/ 262 w 274"/>
                  <a:gd name="T49" fmla="*/ 138 h 256"/>
                  <a:gd name="T50" fmla="*/ 265 w 274"/>
                  <a:gd name="T51" fmla="*/ 126 h 256"/>
                  <a:gd name="T52" fmla="*/ 273 w 274"/>
                  <a:gd name="T53" fmla="*/ 109 h 256"/>
                  <a:gd name="T54" fmla="*/ 257 w 274"/>
                  <a:gd name="T55" fmla="*/ 106 h 256"/>
                  <a:gd name="T56" fmla="*/ 183 w 274"/>
                  <a:gd name="T57" fmla="*/ 61 h 256"/>
                  <a:gd name="T58" fmla="*/ 178 w 274"/>
                  <a:gd name="T59" fmla="*/ 18 h 256"/>
                  <a:gd name="T60" fmla="*/ 137 w 274"/>
                  <a:gd name="T61" fmla="*/ 28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74" h="256">
                    <a:moveTo>
                      <a:pt x="137" y="28"/>
                    </a:moveTo>
                    <a:cubicBezTo>
                      <a:pt x="126" y="25"/>
                      <a:pt x="119" y="5"/>
                      <a:pt x="108" y="3"/>
                    </a:cubicBezTo>
                    <a:cubicBezTo>
                      <a:pt x="95" y="0"/>
                      <a:pt x="85" y="17"/>
                      <a:pt x="73" y="19"/>
                    </a:cubicBezTo>
                    <a:cubicBezTo>
                      <a:pt x="66" y="21"/>
                      <a:pt x="59" y="14"/>
                      <a:pt x="53" y="17"/>
                    </a:cubicBezTo>
                    <a:cubicBezTo>
                      <a:pt x="48" y="21"/>
                      <a:pt x="51" y="31"/>
                      <a:pt x="46" y="36"/>
                    </a:cubicBezTo>
                    <a:cubicBezTo>
                      <a:pt x="40" y="41"/>
                      <a:pt x="22" y="32"/>
                      <a:pt x="28" y="50"/>
                    </a:cubicBezTo>
                    <a:cubicBezTo>
                      <a:pt x="46" y="59"/>
                      <a:pt x="66" y="82"/>
                      <a:pt x="52" y="97"/>
                    </a:cubicBezTo>
                    <a:cubicBezTo>
                      <a:pt x="45" y="105"/>
                      <a:pt x="30" y="104"/>
                      <a:pt x="25" y="116"/>
                    </a:cubicBezTo>
                    <a:cubicBezTo>
                      <a:pt x="20" y="128"/>
                      <a:pt x="30" y="161"/>
                      <a:pt x="1" y="171"/>
                    </a:cubicBezTo>
                    <a:cubicBezTo>
                      <a:pt x="1" y="177"/>
                      <a:pt x="0" y="184"/>
                      <a:pt x="5" y="187"/>
                    </a:cubicBezTo>
                    <a:cubicBezTo>
                      <a:pt x="19" y="196"/>
                      <a:pt x="68" y="171"/>
                      <a:pt x="71" y="188"/>
                    </a:cubicBezTo>
                    <a:cubicBezTo>
                      <a:pt x="71" y="190"/>
                      <a:pt x="65" y="194"/>
                      <a:pt x="63" y="193"/>
                    </a:cubicBezTo>
                    <a:cubicBezTo>
                      <a:pt x="61" y="193"/>
                      <a:pt x="17" y="215"/>
                      <a:pt x="16" y="222"/>
                    </a:cubicBezTo>
                    <a:cubicBezTo>
                      <a:pt x="15" y="225"/>
                      <a:pt x="24" y="229"/>
                      <a:pt x="20" y="237"/>
                    </a:cubicBezTo>
                    <a:cubicBezTo>
                      <a:pt x="19" y="238"/>
                      <a:pt x="10" y="253"/>
                      <a:pt x="11" y="255"/>
                    </a:cubicBezTo>
                    <a:cubicBezTo>
                      <a:pt x="13" y="256"/>
                      <a:pt x="13" y="255"/>
                      <a:pt x="14" y="254"/>
                    </a:cubicBezTo>
                    <a:cubicBezTo>
                      <a:pt x="27" y="246"/>
                      <a:pt x="18" y="247"/>
                      <a:pt x="52" y="213"/>
                    </a:cubicBezTo>
                    <a:cubicBezTo>
                      <a:pt x="68" y="197"/>
                      <a:pt x="95" y="192"/>
                      <a:pt x="112" y="175"/>
                    </a:cubicBezTo>
                    <a:cubicBezTo>
                      <a:pt x="119" y="169"/>
                      <a:pt x="125" y="144"/>
                      <a:pt x="131" y="140"/>
                    </a:cubicBezTo>
                    <a:cubicBezTo>
                      <a:pt x="146" y="133"/>
                      <a:pt x="158" y="145"/>
                      <a:pt x="170" y="142"/>
                    </a:cubicBezTo>
                    <a:cubicBezTo>
                      <a:pt x="177" y="141"/>
                      <a:pt x="183" y="127"/>
                      <a:pt x="196" y="128"/>
                    </a:cubicBezTo>
                    <a:cubicBezTo>
                      <a:pt x="203" y="129"/>
                      <a:pt x="218" y="141"/>
                      <a:pt x="223" y="140"/>
                    </a:cubicBezTo>
                    <a:cubicBezTo>
                      <a:pt x="227" y="140"/>
                      <a:pt x="219" y="129"/>
                      <a:pt x="222" y="129"/>
                    </a:cubicBezTo>
                    <a:cubicBezTo>
                      <a:pt x="230" y="128"/>
                      <a:pt x="226" y="140"/>
                      <a:pt x="229" y="142"/>
                    </a:cubicBezTo>
                    <a:cubicBezTo>
                      <a:pt x="234" y="147"/>
                      <a:pt x="258" y="142"/>
                      <a:pt x="262" y="138"/>
                    </a:cubicBezTo>
                    <a:cubicBezTo>
                      <a:pt x="263" y="137"/>
                      <a:pt x="263" y="132"/>
                      <a:pt x="265" y="126"/>
                    </a:cubicBezTo>
                    <a:cubicBezTo>
                      <a:pt x="268" y="119"/>
                      <a:pt x="274" y="110"/>
                      <a:pt x="273" y="109"/>
                    </a:cubicBezTo>
                    <a:cubicBezTo>
                      <a:pt x="270" y="106"/>
                      <a:pt x="263" y="108"/>
                      <a:pt x="257" y="106"/>
                    </a:cubicBezTo>
                    <a:cubicBezTo>
                      <a:pt x="232" y="98"/>
                      <a:pt x="198" y="81"/>
                      <a:pt x="183" y="61"/>
                    </a:cubicBezTo>
                    <a:cubicBezTo>
                      <a:pt x="169" y="41"/>
                      <a:pt x="180" y="29"/>
                      <a:pt x="178" y="18"/>
                    </a:cubicBezTo>
                    <a:cubicBezTo>
                      <a:pt x="165" y="16"/>
                      <a:pt x="143" y="29"/>
                      <a:pt x="137" y="2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4" name="Freeform 879"/>
              <p:cNvSpPr>
                <a:spLocks/>
              </p:cNvSpPr>
              <p:nvPr/>
            </p:nvSpPr>
            <p:spPr bwMode="auto">
              <a:xfrm>
                <a:off x="3543" y="3723"/>
                <a:ext cx="0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5" name="Freeform 880"/>
              <p:cNvSpPr>
                <a:spLocks/>
              </p:cNvSpPr>
              <p:nvPr/>
            </p:nvSpPr>
            <p:spPr bwMode="auto">
              <a:xfrm>
                <a:off x="3610" y="3526"/>
                <a:ext cx="15" cy="10"/>
              </a:xfrm>
              <a:custGeom>
                <a:avLst/>
                <a:gdLst>
                  <a:gd name="T0" fmla="*/ 21 w 23"/>
                  <a:gd name="T1" fmla="*/ 6 h 15"/>
                  <a:gd name="T2" fmla="*/ 21 w 23"/>
                  <a:gd name="T3" fmla="*/ 5 h 15"/>
                  <a:gd name="T4" fmla="*/ 3 w 23"/>
                  <a:gd name="T5" fmla="*/ 3 h 15"/>
                  <a:gd name="T6" fmla="*/ 21 w 23"/>
                  <a:gd name="T7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5">
                    <a:moveTo>
                      <a:pt x="21" y="6"/>
                    </a:moveTo>
                    <a:cubicBezTo>
                      <a:pt x="21" y="5"/>
                      <a:pt x="21" y="5"/>
                      <a:pt x="21" y="5"/>
                    </a:cubicBezTo>
                    <a:cubicBezTo>
                      <a:pt x="23" y="0"/>
                      <a:pt x="3" y="0"/>
                      <a:pt x="3" y="3"/>
                    </a:cubicBezTo>
                    <a:cubicBezTo>
                      <a:pt x="0" y="15"/>
                      <a:pt x="16" y="11"/>
                      <a:pt x="21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6" name="Freeform 881"/>
              <p:cNvSpPr>
                <a:spLocks noEditPoints="1"/>
              </p:cNvSpPr>
              <p:nvPr/>
            </p:nvSpPr>
            <p:spPr bwMode="auto">
              <a:xfrm>
                <a:off x="2342" y="2933"/>
                <a:ext cx="275" cy="176"/>
              </a:xfrm>
              <a:custGeom>
                <a:avLst/>
                <a:gdLst>
                  <a:gd name="T0" fmla="*/ 384 w 420"/>
                  <a:gd name="T1" fmla="*/ 131 h 268"/>
                  <a:gd name="T2" fmla="*/ 324 w 420"/>
                  <a:gd name="T3" fmla="*/ 101 h 268"/>
                  <a:gd name="T4" fmla="*/ 322 w 420"/>
                  <a:gd name="T5" fmla="*/ 50 h 268"/>
                  <a:gd name="T6" fmla="*/ 268 w 420"/>
                  <a:gd name="T7" fmla="*/ 31 h 268"/>
                  <a:gd name="T8" fmla="*/ 253 w 420"/>
                  <a:gd name="T9" fmla="*/ 24 h 268"/>
                  <a:gd name="T10" fmla="*/ 235 w 420"/>
                  <a:gd name="T11" fmla="*/ 28 h 268"/>
                  <a:gd name="T12" fmla="*/ 234 w 420"/>
                  <a:gd name="T13" fmla="*/ 39 h 268"/>
                  <a:gd name="T14" fmla="*/ 159 w 420"/>
                  <a:gd name="T15" fmla="*/ 37 h 268"/>
                  <a:gd name="T16" fmla="*/ 100 w 420"/>
                  <a:gd name="T17" fmla="*/ 56 h 268"/>
                  <a:gd name="T18" fmla="*/ 96 w 420"/>
                  <a:gd name="T19" fmla="*/ 76 h 268"/>
                  <a:gd name="T20" fmla="*/ 51 w 420"/>
                  <a:gd name="T21" fmla="*/ 144 h 268"/>
                  <a:gd name="T22" fmla="*/ 8 w 420"/>
                  <a:gd name="T23" fmla="*/ 225 h 268"/>
                  <a:gd name="T24" fmla="*/ 38 w 420"/>
                  <a:gd name="T25" fmla="*/ 207 h 268"/>
                  <a:gd name="T26" fmla="*/ 37 w 420"/>
                  <a:gd name="T27" fmla="*/ 205 h 268"/>
                  <a:gd name="T28" fmla="*/ 35 w 420"/>
                  <a:gd name="T29" fmla="*/ 204 h 268"/>
                  <a:gd name="T30" fmla="*/ 24 w 420"/>
                  <a:gd name="T31" fmla="*/ 212 h 268"/>
                  <a:gd name="T32" fmla="*/ 83 w 420"/>
                  <a:gd name="T33" fmla="*/ 190 h 268"/>
                  <a:gd name="T34" fmla="*/ 84 w 420"/>
                  <a:gd name="T35" fmla="*/ 198 h 268"/>
                  <a:gd name="T36" fmla="*/ 81 w 420"/>
                  <a:gd name="T37" fmla="*/ 210 h 268"/>
                  <a:gd name="T38" fmla="*/ 80 w 420"/>
                  <a:gd name="T39" fmla="*/ 214 h 268"/>
                  <a:gd name="T40" fmla="*/ 80 w 420"/>
                  <a:gd name="T41" fmla="*/ 216 h 268"/>
                  <a:gd name="T42" fmla="*/ 80 w 420"/>
                  <a:gd name="T43" fmla="*/ 220 h 268"/>
                  <a:gd name="T44" fmla="*/ 80 w 420"/>
                  <a:gd name="T45" fmla="*/ 221 h 268"/>
                  <a:gd name="T46" fmla="*/ 88 w 420"/>
                  <a:gd name="T47" fmla="*/ 235 h 268"/>
                  <a:gd name="T48" fmla="*/ 109 w 420"/>
                  <a:gd name="T49" fmla="*/ 256 h 268"/>
                  <a:gd name="T50" fmla="*/ 204 w 420"/>
                  <a:gd name="T51" fmla="*/ 218 h 268"/>
                  <a:gd name="T52" fmla="*/ 229 w 420"/>
                  <a:gd name="T53" fmla="*/ 182 h 268"/>
                  <a:gd name="T54" fmla="*/ 264 w 420"/>
                  <a:gd name="T55" fmla="*/ 219 h 268"/>
                  <a:gd name="T56" fmla="*/ 259 w 420"/>
                  <a:gd name="T57" fmla="*/ 244 h 268"/>
                  <a:gd name="T58" fmla="*/ 281 w 420"/>
                  <a:gd name="T59" fmla="*/ 265 h 268"/>
                  <a:gd name="T60" fmla="*/ 305 w 420"/>
                  <a:gd name="T61" fmla="*/ 201 h 268"/>
                  <a:gd name="T62" fmla="*/ 314 w 420"/>
                  <a:gd name="T63" fmla="*/ 182 h 268"/>
                  <a:gd name="T64" fmla="*/ 363 w 420"/>
                  <a:gd name="T65" fmla="*/ 193 h 268"/>
                  <a:gd name="T66" fmla="*/ 408 w 420"/>
                  <a:gd name="T67" fmla="*/ 174 h 268"/>
                  <a:gd name="T68" fmla="*/ 409 w 420"/>
                  <a:gd name="T69" fmla="*/ 129 h 268"/>
                  <a:gd name="T70" fmla="*/ 100 w 420"/>
                  <a:gd name="T71" fmla="*/ 121 h 268"/>
                  <a:gd name="T72" fmla="*/ 100 w 420"/>
                  <a:gd name="T73" fmla="*/ 120 h 268"/>
                  <a:gd name="T74" fmla="*/ 159 w 420"/>
                  <a:gd name="T75" fmla="*/ 148 h 268"/>
                  <a:gd name="T76" fmla="*/ 234 w 420"/>
                  <a:gd name="T77" fmla="*/ 104 h 268"/>
                  <a:gd name="T78" fmla="*/ 242 w 420"/>
                  <a:gd name="T79" fmla="*/ 127 h 268"/>
                  <a:gd name="T80" fmla="*/ 223 w 420"/>
                  <a:gd name="T81" fmla="*/ 108 h 268"/>
                  <a:gd name="T82" fmla="*/ 242 w 420"/>
                  <a:gd name="T83" fmla="*/ 127 h 268"/>
                  <a:gd name="T84" fmla="*/ 242 w 420"/>
                  <a:gd name="T85" fmla="*/ 79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0" h="268">
                    <a:moveTo>
                      <a:pt x="411" y="123"/>
                    </a:moveTo>
                    <a:cubicBezTo>
                      <a:pt x="410" y="119"/>
                      <a:pt x="407" y="113"/>
                      <a:pt x="403" y="114"/>
                    </a:cubicBezTo>
                    <a:cubicBezTo>
                      <a:pt x="396" y="115"/>
                      <a:pt x="391" y="129"/>
                      <a:pt x="384" y="131"/>
                    </a:cubicBezTo>
                    <a:cubicBezTo>
                      <a:pt x="366" y="137"/>
                      <a:pt x="362" y="117"/>
                      <a:pt x="357" y="112"/>
                    </a:cubicBezTo>
                    <a:cubicBezTo>
                      <a:pt x="351" y="106"/>
                      <a:pt x="327" y="114"/>
                      <a:pt x="321" y="108"/>
                    </a:cubicBezTo>
                    <a:cubicBezTo>
                      <a:pt x="320" y="106"/>
                      <a:pt x="324" y="104"/>
                      <a:pt x="324" y="101"/>
                    </a:cubicBezTo>
                    <a:cubicBezTo>
                      <a:pt x="328" y="73"/>
                      <a:pt x="329" y="85"/>
                      <a:pt x="338" y="65"/>
                    </a:cubicBezTo>
                    <a:cubicBezTo>
                      <a:pt x="340" y="59"/>
                      <a:pt x="335" y="55"/>
                      <a:pt x="333" y="50"/>
                    </a:cubicBezTo>
                    <a:cubicBezTo>
                      <a:pt x="328" y="51"/>
                      <a:pt x="324" y="50"/>
                      <a:pt x="322" y="50"/>
                    </a:cubicBezTo>
                    <a:cubicBezTo>
                      <a:pt x="317" y="45"/>
                      <a:pt x="311" y="39"/>
                      <a:pt x="306" y="34"/>
                    </a:cubicBezTo>
                    <a:cubicBezTo>
                      <a:pt x="304" y="32"/>
                      <a:pt x="302" y="30"/>
                      <a:pt x="300" y="28"/>
                    </a:cubicBezTo>
                    <a:cubicBezTo>
                      <a:pt x="290" y="27"/>
                      <a:pt x="277" y="34"/>
                      <a:pt x="268" y="31"/>
                    </a:cubicBezTo>
                    <a:cubicBezTo>
                      <a:pt x="264" y="29"/>
                      <a:pt x="265" y="19"/>
                      <a:pt x="261" y="20"/>
                    </a:cubicBezTo>
                    <a:cubicBezTo>
                      <a:pt x="258" y="20"/>
                      <a:pt x="262" y="25"/>
                      <a:pt x="261" y="26"/>
                    </a:cubicBezTo>
                    <a:cubicBezTo>
                      <a:pt x="258" y="28"/>
                      <a:pt x="254" y="26"/>
                      <a:pt x="253" y="24"/>
                    </a:cubicBezTo>
                    <a:cubicBezTo>
                      <a:pt x="252" y="22"/>
                      <a:pt x="256" y="18"/>
                      <a:pt x="255" y="16"/>
                    </a:cubicBezTo>
                    <a:cubicBezTo>
                      <a:pt x="246" y="0"/>
                      <a:pt x="221" y="26"/>
                      <a:pt x="226" y="28"/>
                    </a:cubicBezTo>
                    <a:cubicBezTo>
                      <a:pt x="229" y="30"/>
                      <a:pt x="232" y="28"/>
                      <a:pt x="235" y="28"/>
                    </a:cubicBezTo>
                    <a:cubicBezTo>
                      <a:pt x="238" y="28"/>
                      <a:pt x="242" y="27"/>
                      <a:pt x="244" y="28"/>
                    </a:cubicBezTo>
                    <a:cubicBezTo>
                      <a:pt x="248" y="30"/>
                      <a:pt x="237" y="31"/>
                      <a:pt x="234" y="33"/>
                    </a:cubicBezTo>
                    <a:cubicBezTo>
                      <a:pt x="232" y="34"/>
                      <a:pt x="235" y="38"/>
                      <a:pt x="234" y="39"/>
                    </a:cubicBezTo>
                    <a:cubicBezTo>
                      <a:pt x="226" y="47"/>
                      <a:pt x="207" y="35"/>
                      <a:pt x="196" y="39"/>
                    </a:cubicBezTo>
                    <a:cubicBezTo>
                      <a:pt x="191" y="41"/>
                      <a:pt x="157" y="45"/>
                      <a:pt x="155" y="41"/>
                    </a:cubicBezTo>
                    <a:cubicBezTo>
                      <a:pt x="154" y="39"/>
                      <a:pt x="161" y="38"/>
                      <a:pt x="159" y="37"/>
                    </a:cubicBezTo>
                    <a:cubicBezTo>
                      <a:pt x="157" y="36"/>
                      <a:pt x="154" y="40"/>
                      <a:pt x="152" y="39"/>
                    </a:cubicBezTo>
                    <a:cubicBezTo>
                      <a:pt x="115" y="79"/>
                      <a:pt x="116" y="36"/>
                      <a:pt x="99" y="50"/>
                    </a:cubicBezTo>
                    <a:cubicBezTo>
                      <a:pt x="97" y="51"/>
                      <a:pt x="100" y="54"/>
                      <a:pt x="100" y="56"/>
                    </a:cubicBezTo>
                    <a:cubicBezTo>
                      <a:pt x="100" y="62"/>
                      <a:pt x="88" y="64"/>
                      <a:pt x="90" y="69"/>
                    </a:cubicBezTo>
                    <a:cubicBezTo>
                      <a:pt x="90" y="70"/>
                      <a:pt x="106" y="64"/>
                      <a:pt x="106" y="69"/>
                    </a:cubicBezTo>
                    <a:cubicBezTo>
                      <a:pt x="106" y="81"/>
                      <a:pt x="100" y="73"/>
                      <a:pt x="96" y="76"/>
                    </a:cubicBezTo>
                    <a:cubicBezTo>
                      <a:pt x="85" y="82"/>
                      <a:pt x="79" y="101"/>
                      <a:pt x="73" y="110"/>
                    </a:cubicBezTo>
                    <a:cubicBezTo>
                      <a:pt x="69" y="116"/>
                      <a:pt x="52" y="117"/>
                      <a:pt x="50" y="123"/>
                    </a:cubicBezTo>
                    <a:cubicBezTo>
                      <a:pt x="50" y="123"/>
                      <a:pt x="51" y="144"/>
                      <a:pt x="51" y="144"/>
                    </a:cubicBezTo>
                    <a:cubicBezTo>
                      <a:pt x="48" y="152"/>
                      <a:pt x="28" y="158"/>
                      <a:pt x="23" y="165"/>
                    </a:cubicBezTo>
                    <a:cubicBezTo>
                      <a:pt x="13" y="180"/>
                      <a:pt x="28" y="196"/>
                      <a:pt x="21" y="210"/>
                    </a:cubicBezTo>
                    <a:cubicBezTo>
                      <a:pt x="21" y="210"/>
                      <a:pt x="0" y="219"/>
                      <a:pt x="8" y="225"/>
                    </a:cubicBezTo>
                    <a:cubicBezTo>
                      <a:pt x="15" y="229"/>
                      <a:pt x="36" y="217"/>
                      <a:pt x="38" y="210"/>
                    </a:cubicBezTo>
                    <a:cubicBezTo>
                      <a:pt x="38" y="209"/>
                      <a:pt x="38" y="208"/>
                      <a:pt x="38" y="208"/>
                    </a:cubicBezTo>
                    <a:cubicBezTo>
                      <a:pt x="38" y="208"/>
                      <a:pt x="38" y="207"/>
                      <a:pt x="38" y="207"/>
                    </a:cubicBezTo>
                    <a:cubicBezTo>
                      <a:pt x="38" y="207"/>
                      <a:pt x="38" y="206"/>
                      <a:pt x="37" y="206"/>
                    </a:cubicBezTo>
                    <a:cubicBezTo>
                      <a:pt x="37" y="206"/>
                      <a:pt x="37" y="206"/>
                      <a:pt x="37" y="206"/>
                    </a:cubicBezTo>
                    <a:cubicBezTo>
                      <a:pt x="37" y="205"/>
                      <a:pt x="37" y="205"/>
                      <a:pt x="37" y="205"/>
                    </a:cubicBezTo>
                    <a:cubicBezTo>
                      <a:pt x="37" y="205"/>
                      <a:pt x="37" y="205"/>
                      <a:pt x="36" y="205"/>
                    </a:cubicBezTo>
                    <a:cubicBezTo>
                      <a:pt x="36" y="205"/>
                      <a:pt x="36" y="204"/>
                      <a:pt x="36" y="204"/>
                    </a:cubicBezTo>
                    <a:cubicBezTo>
                      <a:pt x="36" y="204"/>
                      <a:pt x="36" y="204"/>
                      <a:pt x="35" y="204"/>
                    </a:cubicBezTo>
                    <a:cubicBezTo>
                      <a:pt x="35" y="204"/>
                      <a:pt x="35" y="204"/>
                      <a:pt x="35" y="204"/>
                    </a:cubicBezTo>
                    <a:cubicBezTo>
                      <a:pt x="34" y="203"/>
                      <a:pt x="32" y="203"/>
                      <a:pt x="32" y="202"/>
                    </a:cubicBezTo>
                    <a:cubicBezTo>
                      <a:pt x="27" y="210"/>
                      <a:pt x="22" y="218"/>
                      <a:pt x="24" y="212"/>
                    </a:cubicBezTo>
                    <a:cubicBezTo>
                      <a:pt x="24" y="212"/>
                      <a:pt x="24" y="212"/>
                      <a:pt x="24" y="212"/>
                    </a:cubicBezTo>
                    <a:cubicBezTo>
                      <a:pt x="30" y="180"/>
                      <a:pt x="86" y="162"/>
                      <a:pt x="94" y="188"/>
                    </a:cubicBezTo>
                    <a:cubicBezTo>
                      <a:pt x="95" y="191"/>
                      <a:pt x="89" y="191"/>
                      <a:pt x="83" y="190"/>
                    </a:cubicBezTo>
                    <a:cubicBezTo>
                      <a:pt x="84" y="190"/>
                      <a:pt x="84" y="191"/>
                      <a:pt x="84" y="192"/>
                    </a:cubicBezTo>
                    <a:cubicBezTo>
                      <a:pt x="84" y="192"/>
                      <a:pt x="84" y="192"/>
                      <a:pt x="84" y="192"/>
                    </a:cubicBezTo>
                    <a:cubicBezTo>
                      <a:pt x="84" y="194"/>
                      <a:pt x="84" y="196"/>
                      <a:pt x="84" y="198"/>
                    </a:cubicBezTo>
                    <a:cubicBezTo>
                      <a:pt x="84" y="198"/>
                      <a:pt x="84" y="198"/>
                      <a:pt x="84" y="198"/>
                    </a:cubicBezTo>
                    <a:cubicBezTo>
                      <a:pt x="84" y="200"/>
                      <a:pt x="83" y="202"/>
                      <a:pt x="83" y="204"/>
                    </a:cubicBezTo>
                    <a:cubicBezTo>
                      <a:pt x="82" y="206"/>
                      <a:pt x="81" y="208"/>
                      <a:pt x="81" y="210"/>
                    </a:cubicBezTo>
                    <a:cubicBezTo>
                      <a:pt x="81" y="211"/>
                      <a:pt x="81" y="211"/>
                      <a:pt x="81" y="211"/>
                    </a:cubicBezTo>
                    <a:cubicBezTo>
                      <a:pt x="81" y="212"/>
                      <a:pt x="81" y="212"/>
                      <a:pt x="81" y="212"/>
                    </a:cubicBezTo>
                    <a:cubicBezTo>
                      <a:pt x="80" y="213"/>
                      <a:pt x="80" y="213"/>
                      <a:pt x="80" y="214"/>
                    </a:cubicBezTo>
                    <a:cubicBezTo>
                      <a:pt x="80" y="214"/>
                      <a:pt x="80" y="214"/>
                      <a:pt x="80" y="215"/>
                    </a:cubicBezTo>
                    <a:cubicBezTo>
                      <a:pt x="80" y="215"/>
                      <a:pt x="80" y="215"/>
                      <a:pt x="80" y="216"/>
                    </a:cubicBezTo>
                    <a:cubicBezTo>
                      <a:pt x="80" y="216"/>
                      <a:pt x="80" y="216"/>
                      <a:pt x="80" y="216"/>
                    </a:cubicBezTo>
                    <a:cubicBezTo>
                      <a:pt x="80" y="217"/>
                      <a:pt x="80" y="217"/>
                      <a:pt x="80" y="218"/>
                    </a:cubicBezTo>
                    <a:cubicBezTo>
                      <a:pt x="80" y="218"/>
                      <a:pt x="80" y="218"/>
                      <a:pt x="80" y="218"/>
                    </a:cubicBezTo>
                    <a:cubicBezTo>
                      <a:pt x="80" y="219"/>
                      <a:pt x="80" y="219"/>
                      <a:pt x="80" y="220"/>
                    </a:cubicBezTo>
                    <a:cubicBezTo>
                      <a:pt x="80" y="220"/>
                      <a:pt x="80" y="220"/>
                      <a:pt x="80" y="220"/>
                    </a:cubicBezTo>
                    <a:cubicBezTo>
                      <a:pt x="80" y="220"/>
                      <a:pt x="80" y="221"/>
                      <a:pt x="80" y="221"/>
                    </a:cubicBezTo>
                    <a:cubicBezTo>
                      <a:pt x="80" y="221"/>
                      <a:pt x="80" y="221"/>
                      <a:pt x="80" y="221"/>
                    </a:cubicBezTo>
                    <a:cubicBezTo>
                      <a:pt x="80" y="222"/>
                      <a:pt x="80" y="222"/>
                      <a:pt x="81" y="222"/>
                    </a:cubicBezTo>
                    <a:cubicBezTo>
                      <a:pt x="82" y="225"/>
                      <a:pt x="88" y="222"/>
                      <a:pt x="90" y="225"/>
                    </a:cubicBezTo>
                    <a:cubicBezTo>
                      <a:pt x="91" y="228"/>
                      <a:pt x="87" y="232"/>
                      <a:pt x="88" y="235"/>
                    </a:cubicBezTo>
                    <a:cubicBezTo>
                      <a:pt x="89" y="237"/>
                      <a:pt x="92" y="232"/>
                      <a:pt x="94" y="233"/>
                    </a:cubicBezTo>
                    <a:cubicBezTo>
                      <a:pt x="100" y="236"/>
                      <a:pt x="100" y="245"/>
                      <a:pt x="103" y="251"/>
                    </a:cubicBezTo>
                    <a:cubicBezTo>
                      <a:pt x="105" y="253"/>
                      <a:pt x="107" y="255"/>
                      <a:pt x="109" y="256"/>
                    </a:cubicBezTo>
                    <a:cubicBezTo>
                      <a:pt x="122" y="262"/>
                      <a:pt x="141" y="245"/>
                      <a:pt x="152" y="244"/>
                    </a:cubicBezTo>
                    <a:cubicBezTo>
                      <a:pt x="158" y="243"/>
                      <a:pt x="172" y="254"/>
                      <a:pt x="176" y="252"/>
                    </a:cubicBezTo>
                    <a:cubicBezTo>
                      <a:pt x="181" y="250"/>
                      <a:pt x="204" y="228"/>
                      <a:pt x="204" y="218"/>
                    </a:cubicBezTo>
                    <a:cubicBezTo>
                      <a:pt x="204" y="218"/>
                      <a:pt x="197" y="208"/>
                      <a:pt x="197" y="208"/>
                    </a:cubicBezTo>
                    <a:cubicBezTo>
                      <a:pt x="198" y="203"/>
                      <a:pt x="214" y="193"/>
                      <a:pt x="218" y="190"/>
                    </a:cubicBezTo>
                    <a:cubicBezTo>
                      <a:pt x="221" y="187"/>
                      <a:pt x="226" y="178"/>
                      <a:pt x="229" y="182"/>
                    </a:cubicBezTo>
                    <a:cubicBezTo>
                      <a:pt x="234" y="188"/>
                      <a:pt x="228" y="204"/>
                      <a:pt x="229" y="210"/>
                    </a:cubicBezTo>
                    <a:cubicBezTo>
                      <a:pt x="232" y="218"/>
                      <a:pt x="244" y="223"/>
                      <a:pt x="254" y="226"/>
                    </a:cubicBezTo>
                    <a:cubicBezTo>
                      <a:pt x="255" y="221"/>
                      <a:pt x="258" y="217"/>
                      <a:pt x="264" y="219"/>
                    </a:cubicBezTo>
                    <a:cubicBezTo>
                      <a:pt x="267" y="220"/>
                      <a:pt x="260" y="225"/>
                      <a:pt x="257" y="227"/>
                    </a:cubicBezTo>
                    <a:cubicBezTo>
                      <a:pt x="259" y="228"/>
                      <a:pt x="261" y="228"/>
                      <a:pt x="262" y="229"/>
                    </a:cubicBezTo>
                    <a:cubicBezTo>
                      <a:pt x="271" y="232"/>
                      <a:pt x="258" y="240"/>
                      <a:pt x="259" y="244"/>
                    </a:cubicBezTo>
                    <a:cubicBezTo>
                      <a:pt x="260" y="245"/>
                      <a:pt x="263" y="245"/>
                      <a:pt x="264" y="246"/>
                    </a:cubicBezTo>
                    <a:cubicBezTo>
                      <a:pt x="266" y="246"/>
                      <a:pt x="268" y="246"/>
                      <a:pt x="269" y="248"/>
                    </a:cubicBezTo>
                    <a:cubicBezTo>
                      <a:pt x="272" y="251"/>
                      <a:pt x="273" y="268"/>
                      <a:pt x="281" y="265"/>
                    </a:cubicBezTo>
                    <a:cubicBezTo>
                      <a:pt x="285" y="263"/>
                      <a:pt x="286" y="258"/>
                      <a:pt x="286" y="254"/>
                    </a:cubicBezTo>
                    <a:cubicBezTo>
                      <a:pt x="286" y="254"/>
                      <a:pt x="278" y="246"/>
                      <a:pt x="278" y="246"/>
                    </a:cubicBezTo>
                    <a:cubicBezTo>
                      <a:pt x="278" y="227"/>
                      <a:pt x="302" y="217"/>
                      <a:pt x="305" y="201"/>
                    </a:cubicBezTo>
                    <a:cubicBezTo>
                      <a:pt x="305" y="201"/>
                      <a:pt x="302" y="180"/>
                      <a:pt x="302" y="180"/>
                    </a:cubicBezTo>
                    <a:cubicBezTo>
                      <a:pt x="304" y="177"/>
                      <a:pt x="308" y="175"/>
                      <a:pt x="311" y="176"/>
                    </a:cubicBezTo>
                    <a:cubicBezTo>
                      <a:pt x="313" y="176"/>
                      <a:pt x="312" y="182"/>
                      <a:pt x="314" y="182"/>
                    </a:cubicBezTo>
                    <a:cubicBezTo>
                      <a:pt x="317" y="182"/>
                      <a:pt x="316" y="176"/>
                      <a:pt x="318" y="176"/>
                    </a:cubicBezTo>
                    <a:cubicBezTo>
                      <a:pt x="324" y="175"/>
                      <a:pt x="315" y="199"/>
                      <a:pt x="333" y="203"/>
                    </a:cubicBezTo>
                    <a:cubicBezTo>
                      <a:pt x="343" y="206"/>
                      <a:pt x="351" y="187"/>
                      <a:pt x="363" y="193"/>
                    </a:cubicBezTo>
                    <a:cubicBezTo>
                      <a:pt x="367" y="194"/>
                      <a:pt x="370" y="213"/>
                      <a:pt x="373" y="214"/>
                    </a:cubicBezTo>
                    <a:cubicBezTo>
                      <a:pt x="396" y="218"/>
                      <a:pt x="367" y="174"/>
                      <a:pt x="376" y="163"/>
                    </a:cubicBezTo>
                    <a:cubicBezTo>
                      <a:pt x="389" y="150"/>
                      <a:pt x="394" y="181"/>
                      <a:pt x="408" y="174"/>
                    </a:cubicBezTo>
                    <a:cubicBezTo>
                      <a:pt x="420" y="167"/>
                      <a:pt x="401" y="159"/>
                      <a:pt x="402" y="154"/>
                    </a:cubicBezTo>
                    <a:cubicBezTo>
                      <a:pt x="403" y="146"/>
                      <a:pt x="407" y="140"/>
                      <a:pt x="409" y="131"/>
                    </a:cubicBezTo>
                    <a:cubicBezTo>
                      <a:pt x="409" y="130"/>
                      <a:pt x="409" y="129"/>
                      <a:pt x="409" y="129"/>
                    </a:cubicBezTo>
                    <a:cubicBezTo>
                      <a:pt x="409" y="127"/>
                      <a:pt x="411" y="125"/>
                      <a:pt x="411" y="123"/>
                    </a:cubicBezTo>
                    <a:close/>
                    <a:moveTo>
                      <a:pt x="100" y="120"/>
                    </a:moveTo>
                    <a:cubicBezTo>
                      <a:pt x="100" y="121"/>
                      <a:pt x="100" y="121"/>
                      <a:pt x="100" y="121"/>
                    </a:cubicBezTo>
                    <a:cubicBezTo>
                      <a:pt x="96" y="123"/>
                      <a:pt x="73" y="147"/>
                      <a:pt x="69" y="141"/>
                    </a:cubicBezTo>
                    <a:cubicBezTo>
                      <a:pt x="67" y="139"/>
                      <a:pt x="96" y="112"/>
                      <a:pt x="101" y="113"/>
                    </a:cubicBezTo>
                    <a:cubicBezTo>
                      <a:pt x="106" y="115"/>
                      <a:pt x="105" y="118"/>
                      <a:pt x="100" y="120"/>
                    </a:cubicBezTo>
                    <a:close/>
                    <a:moveTo>
                      <a:pt x="174" y="157"/>
                    </a:moveTo>
                    <a:cubicBezTo>
                      <a:pt x="171" y="167"/>
                      <a:pt x="151" y="144"/>
                      <a:pt x="159" y="148"/>
                    </a:cubicBezTo>
                    <a:cubicBezTo>
                      <a:pt x="159" y="148"/>
                      <a:pt x="159" y="148"/>
                      <a:pt x="159" y="148"/>
                    </a:cubicBezTo>
                    <a:cubicBezTo>
                      <a:pt x="165" y="150"/>
                      <a:pt x="176" y="151"/>
                      <a:pt x="174" y="157"/>
                    </a:cubicBezTo>
                    <a:close/>
                    <a:moveTo>
                      <a:pt x="231" y="90"/>
                    </a:moveTo>
                    <a:cubicBezTo>
                      <a:pt x="236" y="89"/>
                      <a:pt x="234" y="105"/>
                      <a:pt x="234" y="104"/>
                    </a:cubicBezTo>
                    <a:cubicBezTo>
                      <a:pt x="234" y="104"/>
                      <a:pt x="234" y="104"/>
                      <a:pt x="234" y="104"/>
                    </a:cubicBezTo>
                    <a:cubicBezTo>
                      <a:pt x="233" y="103"/>
                      <a:pt x="228" y="91"/>
                      <a:pt x="231" y="90"/>
                    </a:cubicBezTo>
                    <a:close/>
                    <a:moveTo>
                      <a:pt x="242" y="127"/>
                    </a:moveTo>
                    <a:cubicBezTo>
                      <a:pt x="242" y="126"/>
                      <a:pt x="242" y="126"/>
                      <a:pt x="242" y="126"/>
                    </a:cubicBezTo>
                    <a:cubicBezTo>
                      <a:pt x="241" y="108"/>
                      <a:pt x="212" y="122"/>
                      <a:pt x="217" y="107"/>
                    </a:cubicBezTo>
                    <a:cubicBezTo>
                      <a:pt x="218" y="105"/>
                      <a:pt x="222" y="109"/>
                      <a:pt x="223" y="108"/>
                    </a:cubicBezTo>
                    <a:cubicBezTo>
                      <a:pt x="231" y="100"/>
                      <a:pt x="222" y="110"/>
                      <a:pt x="232" y="113"/>
                    </a:cubicBezTo>
                    <a:cubicBezTo>
                      <a:pt x="235" y="114"/>
                      <a:pt x="241" y="113"/>
                      <a:pt x="243" y="115"/>
                    </a:cubicBezTo>
                    <a:cubicBezTo>
                      <a:pt x="246" y="117"/>
                      <a:pt x="244" y="129"/>
                      <a:pt x="242" y="127"/>
                    </a:cubicBezTo>
                    <a:close/>
                    <a:moveTo>
                      <a:pt x="252" y="87"/>
                    </a:moveTo>
                    <a:cubicBezTo>
                      <a:pt x="252" y="87"/>
                      <a:pt x="252" y="87"/>
                      <a:pt x="252" y="87"/>
                    </a:cubicBezTo>
                    <a:cubicBezTo>
                      <a:pt x="249" y="84"/>
                      <a:pt x="244" y="82"/>
                      <a:pt x="242" y="79"/>
                    </a:cubicBezTo>
                    <a:cubicBezTo>
                      <a:pt x="224" y="55"/>
                      <a:pt x="274" y="93"/>
                      <a:pt x="252" y="8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7" name="Freeform 882"/>
              <p:cNvSpPr>
                <a:spLocks/>
              </p:cNvSpPr>
              <p:nvPr/>
            </p:nvSpPr>
            <p:spPr bwMode="auto">
              <a:xfrm>
                <a:off x="2834" y="2027"/>
                <a:ext cx="10" cy="15"/>
              </a:xfrm>
              <a:custGeom>
                <a:avLst/>
                <a:gdLst>
                  <a:gd name="T0" fmla="*/ 9 w 16"/>
                  <a:gd name="T1" fmla="*/ 10 h 22"/>
                  <a:gd name="T2" fmla="*/ 7 w 16"/>
                  <a:gd name="T3" fmla="*/ 19 h 22"/>
                  <a:gd name="T4" fmla="*/ 7 w 16"/>
                  <a:gd name="T5" fmla="*/ 19 h 22"/>
                  <a:gd name="T6" fmla="*/ 9 w 16"/>
                  <a:gd name="T7" fmla="*/ 1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22">
                    <a:moveTo>
                      <a:pt x="9" y="10"/>
                    </a:moveTo>
                    <a:cubicBezTo>
                      <a:pt x="7" y="14"/>
                      <a:pt x="0" y="22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12" y="15"/>
                      <a:pt x="16" y="0"/>
                      <a:pt x="9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8" name="Freeform 883"/>
              <p:cNvSpPr>
                <a:spLocks/>
              </p:cNvSpPr>
              <p:nvPr/>
            </p:nvSpPr>
            <p:spPr bwMode="auto">
              <a:xfrm>
                <a:off x="3094" y="1831"/>
                <a:ext cx="6" cy="15"/>
              </a:xfrm>
              <a:custGeom>
                <a:avLst/>
                <a:gdLst>
                  <a:gd name="T0" fmla="*/ 6 w 9"/>
                  <a:gd name="T1" fmla="*/ 5 h 22"/>
                  <a:gd name="T2" fmla="*/ 7 w 9"/>
                  <a:gd name="T3" fmla="*/ 5 h 22"/>
                  <a:gd name="T4" fmla="*/ 6 w 9"/>
                  <a:gd name="T5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22">
                    <a:moveTo>
                      <a:pt x="6" y="5"/>
                    </a:moveTo>
                    <a:cubicBezTo>
                      <a:pt x="7" y="5"/>
                      <a:pt x="7" y="5"/>
                      <a:pt x="7" y="5"/>
                    </a:cubicBezTo>
                    <a:cubicBezTo>
                      <a:pt x="0" y="0"/>
                      <a:pt x="9" y="22"/>
                      <a:pt x="6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69" name="Freeform 884"/>
              <p:cNvSpPr>
                <a:spLocks/>
              </p:cNvSpPr>
              <p:nvPr/>
            </p:nvSpPr>
            <p:spPr bwMode="auto">
              <a:xfrm>
                <a:off x="2993" y="1903"/>
                <a:ext cx="18" cy="13"/>
              </a:xfrm>
              <a:custGeom>
                <a:avLst/>
                <a:gdLst>
                  <a:gd name="T0" fmla="*/ 20 w 27"/>
                  <a:gd name="T1" fmla="*/ 6 h 21"/>
                  <a:gd name="T2" fmla="*/ 13 w 27"/>
                  <a:gd name="T3" fmla="*/ 6 h 21"/>
                  <a:gd name="T4" fmla="*/ 25 w 27"/>
                  <a:gd name="T5" fmla="*/ 15 h 21"/>
                  <a:gd name="T6" fmla="*/ 27 w 27"/>
                  <a:gd name="T7" fmla="*/ 13 h 21"/>
                  <a:gd name="T8" fmla="*/ 20 w 27"/>
                  <a:gd name="T9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21">
                    <a:moveTo>
                      <a:pt x="20" y="6"/>
                    </a:moveTo>
                    <a:cubicBezTo>
                      <a:pt x="18" y="6"/>
                      <a:pt x="21" y="8"/>
                      <a:pt x="13" y="6"/>
                    </a:cubicBezTo>
                    <a:cubicBezTo>
                      <a:pt x="0" y="0"/>
                      <a:pt x="12" y="21"/>
                      <a:pt x="25" y="15"/>
                    </a:cubicBezTo>
                    <a:cubicBezTo>
                      <a:pt x="26" y="14"/>
                      <a:pt x="27" y="14"/>
                      <a:pt x="27" y="13"/>
                    </a:cubicBezTo>
                    <a:cubicBezTo>
                      <a:pt x="27" y="10"/>
                      <a:pt x="22" y="7"/>
                      <a:pt x="20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0" name="Freeform 885"/>
              <p:cNvSpPr>
                <a:spLocks noEditPoints="1"/>
              </p:cNvSpPr>
              <p:nvPr/>
            </p:nvSpPr>
            <p:spPr bwMode="auto">
              <a:xfrm>
                <a:off x="2641" y="960"/>
                <a:ext cx="771" cy="1326"/>
              </a:xfrm>
              <a:custGeom>
                <a:avLst/>
                <a:gdLst>
                  <a:gd name="T0" fmla="*/ 820 w 1175"/>
                  <a:gd name="T1" fmla="*/ 0 h 2022"/>
                  <a:gd name="T2" fmla="*/ 606 w 1175"/>
                  <a:gd name="T3" fmla="*/ 174 h 2022"/>
                  <a:gd name="T4" fmla="*/ 448 w 1175"/>
                  <a:gd name="T5" fmla="*/ 340 h 2022"/>
                  <a:gd name="T6" fmla="*/ 401 w 1175"/>
                  <a:gd name="T7" fmla="*/ 781 h 2022"/>
                  <a:gd name="T8" fmla="*/ 319 w 1175"/>
                  <a:gd name="T9" fmla="*/ 809 h 2022"/>
                  <a:gd name="T10" fmla="*/ 84 w 1175"/>
                  <a:gd name="T11" fmla="*/ 888 h 2022"/>
                  <a:gd name="T12" fmla="*/ 134 w 1175"/>
                  <a:gd name="T13" fmla="*/ 1213 h 2022"/>
                  <a:gd name="T14" fmla="*/ 85 w 1175"/>
                  <a:gd name="T15" fmla="*/ 1478 h 2022"/>
                  <a:gd name="T16" fmla="*/ 39 w 1175"/>
                  <a:gd name="T17" fmla="*/ 1587 h 2022"/>
                  <a:gd name="T18" fmla="*/ 78 w 1175"/>
                  <a:gd name="T19" fmla="*/ 1703 h 2022"/>
                  <a:gd name="T20" fmla="*/ 172 w 1175"/>
                  <a:gd name="T21" fmla="*/ 2012 h 2022"/>
                  <a:gd name="T22" fmla="*/ 488 w 1175"/>
                  <a:gd name="T23" fmla="*/ 1752 h 2022"/>
                  <a:gd name="T24" fmla="*/ 520 w 1175"/>
                  <a:gd name="T25" fmla="*/ 1620 h 2022"/>
                  <a:gd name="T26" fmla="*/ 578 w 1175"/>
                  <a:gd name="T27" fmla="*/ 1537 h 2022"/>
                  <a:gd name="T28" fmla="*/ 672 w 1175"/>
                  <a:gd name="T29" fmla="*/ 1448 h 2022"/>
                  <a:gd name="T30" fmla="*/ 463 w 1175"/>
                  <a:gd name="T31" fmla="*/ 1440 h 2022"/>
                  <a:gd name="T32" fmla="*/ 599 w 1175"/>
                  <a:gd name="T33" fmla="*/ 1419 h 2022"/>
                  <a:gd name="T34" fmla="*/ 701 w 1175"/>
                  <a:gd name="T35" fmla="*/ 1362 h 2022"/>
                  <a:gd name="T36" fmla="*/ 565 w 1175"/>
                  <a:gd name="T37" fmla="*/ 1275 h 2022"/>
                  <a:gd name="T38" fmla="*/ 548 w 1175"/>
                  <a:gd name="T39" fmla="*/ 1115 h 2022"/>
                  <a:gd name="T40" fmla="*/ 604 w 1175"/>
                  <a:gd name="T41" fmla="*/ 934 h 2022"/>
                  <a:gd name="T42" fmla="*/ 692 w 1175"/>
                  <a:gd name="T43" fmla="*/ 904 h 2022"/>
                  <a:gd name="T44" fmla="*/ 848 w 1175"/>
                  <a:gd name="T45" fmla="*/ 805 h 2022"/>
                  <a:gd name="T46" fmla="*/ 914 w 1175"/>
                  <a:gd name="T47" fmla="*/ 636 h 2022"/>
                  <a:gd name="T48" fmla="*/ 1018 w 1175"/>
                  <a:gd name="T49" fmla="*/ 546 h 2022"/>
                  <a:gd name="T50" fmla="*/ 1109 w 1175"/>
                  <a:gd name="T51" fmla="*/ 512 h 2022"/>
                  <a:gd name="T52" fmla="*/ 715 w 1175"/>
                  <a:gd name="T53" fmla="*/ 257 h 2022"/>
                  <a:gd name="T54" fmla="*/ 491 w 1175"/>
                  <a:gd name="T55" fmla="*/ 327 h 2022"/>
                  <a:gd name="T56" fmla="*/ 475 w 1175"/>
                  <a:gd name="T57" fmla="*/ 615 h 2022"/>
                  <a:gd name="T58" fmla="*/ 370 w 1175"/>
                  <a:gd name="T59" fmla="*/ 623 h 2022"/>
                  <a:gd name="T60" fmla="*/ 424 w 1175"/>
                  <a:gd name="T61" fmla="*/ 1283 h 2022"/>
                  <a:gd name="T62" fmla="*/ 366 w 1175"/>
                  <a:gd name="T63" fmla="*/ 935 h 2022"/>
                  <a:gd name="T64" fmla="*/ 333 w 1175"/>
                  <a:gd name="T65" fmla="*/ 1253 h 2022"/>
                  <a:gd name="T66" fmla="*/ 306 w 1175"/>
                  <a:gd name="T67" fmla="*/ 1576 h 2022"/>
                  <a:gd name="T68" fmla="*/ 292 w 1175"/>
                  <a:gd name="T69" fmla="*/ 1436 h 2022"/>
                  <a:gd name="T70" fmla="*/ 309 w 1175"/>
                  <a:gd name="T71" fmla="*/ 926 h 2022"/>
                  <a:gd name="T72" fmla="*/ 262 w 1175"/>
                  <a:gd name="T73" fmla="*/ 1249 h 2022"/>
                  <a:gd name="T74" fmla="*/ 192 w 1175"/>
                  <a:gd name="T75" fmla="*/ 1391 h 2022"/>
                  <a:gd name="T76" fmla="*/ 130 w 1175"/>
                  <a:gd name="T77" fmla="*/ 814 h 2022"/>
                  <a:gd name="T78" fmla="*/ 162 w 1175"/>
                  <a:gd name="T79" fmla="*/ 1420 h 2022"/>
                  <a:gd name="T80" fmla="*/ 101 w 1175"/>
                  <a:gd name="T81" fmla="*/ 1454 h 2022"/>
                  <a:gd name="T82" fmla="*/ 252 w 1175"/>
                  <a:gd name="T83" fmla="*/ 1789 h 2022"/>
                  <a:gd name="T84" fmla="*/ 136 w 1175"/>
                  <a:gd name="T85" fmla="*/ 1555 h 2022"/>
                  <a:gd name="T86" fmla="*/ 274 w 1175"/>
                  <a:gd name="T87" fmla="*/ 1461 h 2022"/>
                  <a:gd name="T88" fmla="*/ 302 w 1175"/>
                  <a:gd name="T89" fmla="*/ 1911 h 2022"/>
                  <a:gd name="T90" fmla="*/ 354 w 1175"/>
                  <a:gd name="T91" fmla="*/ 1789 h 2022"/>
                  <a:gd name="T92" fmla="*/ 386 w 1175"/>
                  <a:gd name="T93" fmla="*/ 1650 h 2022"/>
                  <a:gd name="T94" fmla="*/ 440 w 1175"/>
                  <a:gd name="T95" fmla="*/ 1518 h 2022"/>
                  <a:gd name="T96" fmla="*/ 484 w 1175"/>
                  <a:gd name="T97" fmla="*/ 1463 h 2022"/>
                  <a:gd name="T98" fmla="*/ 438 w 1175"/>
                  <a:gd name="T99" fmla="*/ 1074 h 2022"/>
                  <a:gd name="T100" fmla="*/ 515 w 1175"/>
                  <a:gd name="T101" fmla="*/ 1108 h 2022"/>
                  <a:gd name="T102" fmla="*/ 498 w 1175"/>
                  <a:gd name="T103" fmla="*/ 974 h 2022"/>
                  <a:gd name="T104" fmla="*/ 550 w 1175"/>
                  <a:gd name="T105" fmla="*/ 927 h 2022"/>
                  <a:gd name="T106" fmla="*/ 542 w 1175"/>
                  <a:gd name="T107" fmla="*/ 517 h 2022"/>
                  <a:gd name="T108" fmla="*/ 565 w 1175"/>
                  <a:gd name="T109" fmla="*/ 465 h 2022"/>
                  <a:gd name="T110" fmla="*/ 635 w 1175"/>
                  <a:gd name="T111" fmla="*/ 466 h 2022"/>
                  <a:gd name="T112" fmla="*/ 649 w 1175"/>
                  <a:gd name="T113" fmla="*/ 411 h 2022"/>
                  <a:gd name="T114" fmla="*/ 600 w 1175"/>
                  <a:gd name="T115" fmla="*/ 332 h 2022"/>
                  <a:gd name="T116" fmla="*/ 740 w 1175"/>
                  <a:gd name="T117" fmla="*/ 304 h 2022"/>
                  <a:gd name="T118" fmla="*/ 843 w 1175"/>
                  <a:gd name="T119" fmla="*/ 722 h 2022"/>
                  <a:gd name="T120" fmla="*/ 808 w 1175"/>
                  <a:gd name="T121" fmla="*/ 135 h 2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75" h="2022">
                    <a:moveTo>
                      <a:pt x="1149" y="389"/>
                    </a:moveTo>
                    <a:cubicBezTo>
                      <a:pt x="1153" y="381"/>
                      <a:pt x="1147" y="368"/>
                      <a:pt x="1151" y="360"/>
                    </a:cubicBezTo>
                    <a:cubicBezTo>
                      <a:pt x="1151" y="360"/>
                      <a:pt x="1160" y="353"/>
                      <a:pt x="1160" y="353"/>
                    </a:cubicBezTo>
                    <a:cubicBezTo>
                      <a:pt x="1163" y="333"/>
                      <a:pt x="1120" y="316"/>
                      <a:pt x="1121" y="296"/>
                    </a:cubicBezTo>
                    <a:cubicBezTo>
                      <a:pt x="1122" y="287"/>
                      <a:pt x="1149" y="266"/>
                      <a:pt x="1139" y="257"/>
                    </a:cubicBezTo>
                    <a:cubicBezTo>
                      <a:pt x="1130" y="249"/>
                      <a:pt x="1114" y="259"/>
                      <a:pt x="1109" y="249"/>
                    </a:cubicBezTo>
                    <a:cubicBezTo>
                      <a:pt x="1105" y="242"/>
                      <a:pt x="1118" y="237"/>
                      <a:pt x="1120" y="231"/>
                    </a:cubicBezTo>
                    <a:cubicBezTo>
                      <a:pt x="1123" y="218"/>
                      <a:pt x="1106" y="199"/>
                      <a:pt x="1115" y="184"/>
                    </a:cubicBezTo>
                    <a:cubicBezTo>
                      <a:pt x="1118" y="180"/>
                      <a:pt x="1126" y="181"/>
                      <a:pt x="1130" y="177"/>
                    </a:cubicBezTo>
                    <a:cubicBezTo>
                      <a:pt x="1137" y="169"/>
                      <a:pt x="1115" y="163"/>
                      <a:pt x="1108" y="156"/>
                    </a:cubicBezTo>
                    <a:cubicBezTo>
                      <a:pt x="1102" y="148"/>
                      <a:pt x="1101" y="142"/>
                      <a:pt x="1091" y="144"/>
                    </a:cubicBezTo>
                    <a:cubicBezTo>
                      <a:pt x="1088" y="144"/>
                      <a:pt x="1085" y="147"/>
                      <a:pt x="1084" y="145"/>
                    </a:cubicBezTo>
                    <a:cubicBezTo>
                      <a:pt x="1082" y="143"/>
                      <a:pt x="1085" y="132"/>
                      <a:pt x="1081" y="127"/>
                    </a:cubicBezTo>
                    <a:cubicBezTo>
                      <a:pt x="1055" y="96"/>
                      <a:pt x="1015" y="107"/>
                      <a:pt x="986" y="90"/>
                    </a:cubicBezTo>
                    <a:cubicBezTo>
                      <a:pt x="974" y="83"/>
                      <a:pt x="890" y="31"/>
                      <a:pt x="883" y="24"/>
                    </a:cubicBezTo>
                    <a:cubicBezTo>
                      <a:pt x="874" y="15"/>
                      <a:pt x="887" y="23"/>
                      <a:pt x="886" y="17"/>
                    </a:cubicBezTo>
                    <a:cubicBezTo>
                      <a:pt x="885" y="9"/>
                      <a:pt x="867" y="4"/>
                      <a:pt x="859" y="1"/>
                    </a:cubicBezTo>
                    <a:cubicBezTo>
                      <a:pt x="859" y="1"/>
                      <a:pt x="859" y="1"/>
                      <a:pt x="859" y="1"/>
                    </a:cubicBezTo>
                    <a:cubicBezTo>
                      <a:pt x="858" y="1"/>
                      <a:pt x="858" y="1"/>
                      <a:pt x="858" y="1"/>
                    </a:cubicBezTo>
                    <a:cubicBezTo>
                      <a:pt x="854" y="1"/>
                      <a:pt x="841" y="1"/>
                      <a:pt x="832" y="1"/>
                    </a:cubicBezTo>
                    <a:cubicBezTo>
                      <a:pt x="827" y="1"/>
                      <a:pt x="824" y="1"/>
                      <a:pt x="823" y="1"/>
                    </a:cubicBezTo>
                    <a:cubicBezTo>
                      <a:pt x="822" y="1"/>
                      <a:pt x="821" y="1"/>
                      <a:pt x="820" y="0"/>
                    </a:cubicBezTo>
                    <a:cubicBezTo>
                      <a:pt x="818" y="0"/>
                      <a:pt x="817" y="0"/>
                      <a:pt x="816" y="0"/>
                    </a:cubicBezTo>
                    <a:cubicBezTo>
                      <a:pt x="814" y="0"/>
                      <a:pt x="813" y="0"/>
                      <a:pt x="812" y="1"/>
                    </a:cubicBezTo>
                    <a:cubicBezTo>
                      <a:pt x="810" y="2"/>
                      <a:pt x="815" y="4"/>
                      <a:pt x="817" y="5"/>
                    </a:cubicBezTo>
                    <a:cubicBezTo>
                      <a:pt x="817" y="6"/>
                      <a:pt x="818" y="7"/>
                      <a:pt x="819" y="7"/>
                    </a:cubicBezTo>
                    <a:cubicBezTo>
                      <a:pt x="828" y="16"/>
                      <a:pt x="838" y="28"/>
                      <a:pt x="834" y="43"/>
                    </a:cubicBezTo>
                    <a:cubicBezTo>
                      <a:pt x="831" y="55"/>
                      <a:pt x="798" y="76"/>
                      <a:pt x="799" y="80"/>
                    </a:cubicBezTo>
                    <a:cubicBezTo>
                      <a:pt x="799" y="81"/>
                      <a:pt x="800" y="82"/>
                      <a:pt x="802" y="83"/>
                    </a:cubicBezTo>
                    <a:cubicBezTo>
                      <a:pt x="802" y="83"/>
                      <a:pt x="803" y="83"/>
                      <a:pt x="804" y="84"/>
                    </a:cubicBezTo>
                    <a:cubicBezTo>
                      <a:pt x="804" y="84"/>
                      <a:pt x="804" y="84"/>
                      <a:pt x="805" y="84"/>
                    </a:cubicBezTo>
                    <a:cubicBezTo>
                      <a:pt x="805" y="84"/>
                      <a:pt x="806" y="84"/>
                      <a:pt x="806" y="84"/>
                    </a:cubicBezTo>
                    <a:cubicBezTo>
                      <a:pt x="807" y="84"/>
                      <a:pt x="807" y="85"/>
                      <a:pt x="808" y="85"/>
                    </a:cubicBezTo>
                    <a:cubicBezTo>
                      <a:pt x="808" y="85"/>
                      <a:pt x="809" y="85"/>
                      <a:pt x="810" y="85"/>
                    </a:cubicBezTo>
                    <a:cubicBezTo>
                      <a:pt x="818" y="87"/>
                      <a:pt x="826" y="88"/>
                      <a:pt x="819" y="95"/>
                    </a:cubicBezTo>
                    <a:cubicBezTo>
                      <a:pt x="819" y="95"/>
                      <a:pt x="799" y="113"/>
                      <a:pt x="797" y="114"/>
                    </a:cubicBezTo>
                    <a:cubicBezTo>
                      <a:pt x="796" y="114"/>
                      <a:pt x="794" y="114"/>
                      <a:pt x="792" y="114"/>
                    </a:cubicBezTo>
                    <a:cubicBezTo>
                      <a:pt x="768" y="114"/>
                      <a:pt x="698" y="85"/>
                      <a:pt x="658" y="82"/>
                    </a:cubicBezTo>
                    <a:cubicBezTo>
                      <a:pt x="656" y="82"/>
                      <a:pt x="655" y="82"/>
                      <a:pt x="653" y="82"/>
                    </a:cubicBezTo>
                    <a:cubicBezTo>
                      <a:pt x="644" y="82"/>
                      <a:pt x="636" y="83"/>
                      <a:pt x="632" y="88"/>
                    </a:cubicBezTo>
                    <a:cubicBezTo>
                      <a:pt x="621" y="100"/>
                      <a:pt x="654" y="156"/>
                      <a:pt x="614" y="174"/>
                    </a:cubicBezTo>
                    <a:cubicBezTo>
                      <a:pt x="614" y="174"/>
                      <a:pt x="613" y="175"/>
                      <a:pt x="612" y="175"/>
                    </a:cubicBezTo>
                    <a:cubicBezTo>
                      <a:pt x="611" y="175"/>
                      <a:pt x="610" y="175"/>
                      <a:pt x="609" y="175"/>
                    </a:cubicBezTo>
                    <a:cubicBezTo>
                      <a:pt x="608" y="174"/>
                      <a:pt x="607" y="174"/>
                      <a:pt x="606" y="174"/>
                    </a:cubicBezTo>
                    <a:cubicBezTo>
                      <a:pt x="605" y="174"/>
                      <a:pt x="604" y="173"/>
                      <a:pt x="603" y="173"/>
                    </a:cubicBezTo>
                    <a:cubicBezTo>
                      <a:pt x="602" y="172"/>
                      <a:pt x="601" y="172"/>
                      <a:pt x="600" y="171"/>
                    </a:cubicBezTo>
                    <a:cubicBezTo>
                      <a:pt x="587" y="165"/>
                      <a:pt x="572" y="152"/>
                      <a:pt x="562" y="153"/>
                    </a:cubicBezTo>
                    <a:cubicBezTo>
                      <a:pt x="561" y="153"/>
                      <a:pt x="560" y="153"/>
                      <a:pt x="559" y="153"/>
                    </a:cubicBezTo>
                    <a:cubicBezTo>
                      <a:pt x="559" y="153"/>
                      <a:pt x="559" y="153"/>
                      <a:pt x="559" y="153"/>
                    </a:cubicBezTo>
                    <a:cubicBezTo>
                      <a:pt x="561" y="155"/>
                      <a:pt x="564" y="159"/>
                      <a:pt x="565" y="160"/>
                    </a:cubicBezTo>
                    <a:cubicBezTo>
                      <a:pt x="568" y="166"/>
                      <a:pt x="571" y="159"/>
                      <a:pt x="574" y="160"/>
                    </a:cubicBezTo>
                    <a:cubicBezTo>
                      <a:pt x="586" y="166"/>
                      <a:pt x="564" y="170"/>
                      <a:pt x="581" y="172"/>
                    </a:cubicBezTo>
                    <a:cubicBezTo>
                      <a:pt x="588" y="172"/>
                      <a:pt x="594" y="190"/>
                      <a:pt x="588" y="187"/>
                    </a:cubicBezTo>
                    <a:cubicBezTo>
                      <a:pt x="587" y="187"/>
                      <a:pt x="587" y="187"/>
                      <a:pt x="587" y="187"/>
                    </a:cubicBezTo>
                    <a:cubicBezTo>
                      <a:pt x="587" y="186"/>
                      <a:pt x="586" y="186"/>
                      <a:pt x="586" y="185"/>
                    </a:cubicBezTo>
                    <a:cubicBezTo>
                      <a:pt x="585" y="185"/>
                      <a:pt x="584" y="184"/>
                      <a:pt x="584" y="183"/>
                    </a:cubicBezTo>
                    <a:cubicBezTo>
                      <a:pt x="583" y="178"/>
                      <a:pt x="555" y="160"/>
                      <a:pt x="555" y="155"/>
                    </a:cubicBezTo>
                    <a:cubicBezTo>
                      <a:pt x="543" y="161"/>
                      <a:pt x="515" y="177"/>
                      <a:pt x="512" y="182"/>
                    </a:cubicBezTo>
                    <a:cubicBezTo>
                      <a:pt x="500" y="198"/>
                      <a:pt x="498" y="220"/>
                      <a:pt x="485" y="236"/>
                    </a:cubicBezTo>
                    <a:cubicBezTo>
                      <a:pt x="477" y="246"/>
                      <a:pt x="456" y="241"/>
                      <a:pt x="454" y="257"/>
                    </a:cubicBezTo>
                    <a:cubicBezTo>
                      <a:pt x="454" y="258"/>
                      <a:pt x="454" y="260"/>
                      <a:pt x="454" y="261"/>
                    </a:cubicBezTo>
                    <a:cubicBezTo>
                      <a:pt x="455" y="262"/>
                      <a:pt x="455" y="262"/>
                      <a:pt x="455" y="263"/>
                    </a:cubicBezTo>
                    <a:cubicBezTo>
                      <a:pt x="455" y="263"/>
                      <a:pt x="456" y="263"/>
                      <a:pt x="456" y="264"/>
                    </a:cubicBezTo>
                    <a:cubicBezTo>
                      <a:pt x="456" y="265"/>
                      <a:pt x="457" y="265"/>
                      <a:pt x="458" y="266"/>
                    </a:cubicBezTo>
                    <a:cubicBezTo>
                      <a:pt x="468" y="279"/>
                      <a:pt x="495" y="296"/>
                      <a:pt x="478" y="319"/>
                    </a:cubicBezTo>
                    <a:cubicBezTo>
                      <a:pt x="471" y="328"/>
                      <a:pt x="456" y="332"/>
                      <a:pt x="448" y="340"/>
                    </a:cubicBezTo>
                    <a:cubicBezTo>
                      <a:pt x="434" y="352"/>
                      <a:pt x="427" y="371"/>
                      <a:pt x="414" y="384"/>
                    </a:cubicBezTo>
                    <a:cubicBezTo>
                      <a:pt x="413" y="384"/>
                      <a:pt x="413" y="384"/>
                      <a:pt x="413" y="384"/>
                    </a:cubicBezTo>
                    <a:cubicBezTo>
                      <a:pt x="407" y="389"/>
                      <a:pt x="392" y="396"/>
                      <a:pt x="390" y="401"/>
                    </a:cubicBezTo>
                    <a:cubicBezTo>
                      <a:pt x="387" y="410"/>
                      <a:pt x="401" y="423"/>
                      <a:pt x="399" y="432"/>
                    </a:cubicBezTo>
                    <a:cubicBezTo>
                      <a:pt x="394" y="452"/>
                      <a:pt x="314" y="453"/>
                      <a:pt x="313" y="455"/>
                    </a:cubicBezTo>
                    <a:cubicBezTo>
                      <a:pt x="308" y="462"/>
                      <a:pt x="325" y="492"/>
                      <a:pt x="325" y="501"/>
                    </a:cubicBezTo>
                    <a:cubicBezTo>
                      <a:pt x="323" y="513"/>
                      <a:pt x="315" y="525"/>
                      <a:pt x="313" y="537"/>
                    </a:cubicBezTo>
                    <a:cubicBezTo>
                      <a:pt x="312" y="540"/>
                      <a:pt x="313" y="544"/>
                      <a:pt x="313" y="547"/>
                    </a:cubicBezTo>
                    <a:cubicBezTo>
                      <a:pt x="313" y="547"/>
                      <a:pt x="313" y="569"/>
                      <a:pt x="313" y="569"/>
                    </a:cubicBezTo>
                    <a:cubicBezTo>
                      <a:pt x="313" y="573"/>
                      <a:pt x="314" y="576"/>
                      <a:pt x="313" y="580"/>
                    </a:cubicBezTo>
                    <a:cubicBezTo>
                      <a:pt x="313" y="580"/>
                      <a:pt x="301" y="590"/>
                      <a:pt x="301" y="590"/>
                    </a:cubicBezTo>
                    <a:cubicBezTo>
                      <a:pt x="298" y="595"/>
                      <a:pt x="299" y="602"/>
                      <a:pt x="296" y="608"/>
                    </a:cubicBezTo>
                    <a:cubicBezTo>
                      <a:pt x="292" y="618"/>
                      <a:pt x="257" y="658"/>
                      <a:pt x="244" y="680"/>
                    </a:cubicBezTo>
                    <a:cubicBezTo>
                      <a:pt x="247" y="680"/>
                      <a:pt x="251" y="681"/>
                      <a:pt x="253" y="681"/>
                    </a:cubicBezTo>
                    <a:cubicBezTo>
                      <a:pt x="257" y="681"/>
                      <a:pt x="282" y="697"/>
                      <a:pt x="283" y="698"/>
                    </a:cubicBezTo>
                    <a:cubicBezTo>
                      <a:pt x="285" y="701"/>
                      <a:pt x="282" y="704"/>
                      <a:pt x="285" y="706"/>
                    </a:cubicBezTo>
                    <a:cubicBezTo>
                      <a:pt x="304" y="722"/>
                      <a:pt x="330" y="721"/>
                      <a:pt x="355" y="728"/>
                    </a:cubicBezTo>
                    <a:cubicBezTo>
                      <a:pt x="362" y="730"/>
                      <a:pt x="369" y="738"/>
                      <a:pt x="373" y="744"/>
                    </a:cubicBezTo>
                    <a:cubicBezTo>
                      <a:pt x="373" y="745"/>
                      <a:pt x="376" y="750"/>
                      <a:pt x="378" y="749"/>
                    </a:cubicBezTo>
                    <a:cubicBezTo>
                      <a:pt x="389" y="739"/>
                      <a:pt x="360" y="728"/>
                      <a:pt x="361" y="727"/>
                    </a:cubicBezTo>
                    <a:cubicBezTo>
                      <a:pt x="361" y="724"/>
                      <a:pt x="381" y="728"/>
                      <a:pt x="380" y="730"/>
                    </a:cubicBezTo>
                    <a:cubicBezTo>
                      <a:pt x="380" y="733"/>
                      <a:pt x="398" y="780"/>
                      <a:pt x="401" y="781"/>
                    </a:cubicBezTo>
                    <a:cubicBezTo>
                      <a:pt x="404" y="789"/>
                      <a:pt x="403" y="795"/>
                      <a:pt x="410" y="800"/>
                    </a:cubicBezTo>
                    <a:cubicBezTo>
                      <a:pt x="414" y="803"/>
                      <a:pt x="422" y="801"/>
                      <a:pt x="425" y="806"/>
                    </a:cubicBezTo>
                    <a:cubicBezTo>
                      <a:pt x="426" y="807"/>
                      <a:pt x="431" y="817"/>
                      <a:pt x="431" y="817"/>
                    </a:cubicBezTo>
                    <a:cubicBezTo>
                      <a:pt x="430" y="818"/>
                      <a:pt x="424" y="815"/>
                      <a:pt x="423" y="814"/>
                    </a:cubicBezTo>
                    <a:cubicBezTo>
                      <a:pt x="421" y="812"/>
                      <a:pt x="425" y="808"/>
                      <a:pt x="423" y="807"/>
                    </a:cubicBezTo>
                    <a:cubicBezTo>
                      <a:pt x="408" y="800"/>
                      <a:pt x="413" y="813"/>
                      <a:pt x="408" y="814"/>
                    </a:cubicBezTo>
                    <a:cubicBezTo>
                      <a:pt x="406" y="815"/>
                      <a:pt x="406" y="818"/>
                      <a:pt x="404" y="817"/>
                    </a:cubicBezTo>
                    <a:cubicBezTo>
                      <a:pt x="403" y="817"/>
                      <a:pt x="407" y="802"/>
                      <a:pt x="404" y="799"/>
                    </a:cubicBezTo>
                    <a:cubicBezTo>
                      <a:pt x="400" y="795"/>
                      <a:pt x="378" y="792"/>
                      <a:pt x="378" y="786"/>
                    </a:cubicBezTo>
                    <a:cubicBezTo>
                      <a:pt x="378" y="778"/>
                      <a:pt x="384" y="786"/>
                      <a:pt x="387" y="788"/>
                    </a:cubicBezTo>
                    <a:cubicBezTo>
                      <a:pt x="402" y="795"/>
                      <a:pt x="392" y="783"/>
                      <a:pt x="393" y="783"/>
                    </a:cubicBezTo>
                    <a:cubicBezTo>
                      <a:pt x="394" y="783"/>
                      <a:pt x="397" y="788"/>
                      <a:pt x="398" y="787"/>
                    </a:cubicBezTo>
                    <a:cubicBezTo>
                      <a:pt x="403" y="784"/>
                      <a:pt x="385" y="777"/>
                      <a:pt x="385" y="774"/>
                    </a:cubicBezTo>
                    <a:cubicBezTo>
                      <a:pt x="384" y="769"/>
                      <a:pt x="388" y="773"/>
                      <a:pt x="387" y="769"/>
                    </a:cubicBezTo>
                    <a:cubicBezTo>
                      <a:pt x="386" y="760"/>
                      <a:pt x="368" y="744"/>
                      <a:pt x="365" y="740"/>
                    </a:cubicBezTo>
                    <a:cubicBezTo>
                      <a:pt x="352" y="722"/>
                      <a:pt x="317" y="727"/>
                      <a:pt x="299" y="721"/>
                    </a:cubicBezTo>
                    <a:cubicBezTo>
                      <a:pt x="288" y="718"/>
                      <a:pt x="273" y="699"/>
                      <a:pt x="276" y="699"/>
                    </a:cubicBezTo>
                    <a:cubicBezTo>
                      <a:pt x="273" y="698"/>
                      <a:pt x="249" y="687"/>
                      <a:pt x="243" y="683"/>
                    </a:cubicBezTo>
                    <a:cubicBezTo>
                      <a:pt x="240" y="688"/>
                      <a:pt x="239" y="692"/>
                      <a:pt x="240" y="693"/>
                    </a:cubicBezTo>
                    <a:cubicBezTo>
                      <a:pt x="254" y="718"/>
                      <a:pt x="292" y="689"/>
                      <a:pt x="281" y="751"/>
                    </a:cubicBezTo>
                    <a:cubicBezTo>
                      <a:pt x="280" y="759"/>
                      <a:pt x="278" y="764"/>
                      <a:pt x="274" y="768"/>
                    </a:cubicBezTo>
                    <a:cubicBezTo>
                      <a:pt x="298" y="783"/>
                      <a:pt x="346" y="815"/>
                      <a:pt x="319" y="809"/>
                    </a:cubicBezTo>
                    <a:cubicBezTo>
                      <a:pt x="318" y="808"/>
                      <a:pt x="318" y="808"/>
                      <a:pt x="318" y="808"/>
                    </a:cubicBezTo>
                    <a:cubicBezTo>
                      <a:pt x="314" y="798"/>
                      <a:pt x="292" y="781"/>
                      <a:pt x="282" y="784"/>
                    </a:cubicBezTo>
                    <a:cubicBezTo>
                      <a:pt x="281" y="784"/>
                      <a:pt x="277" y="786"/>
                      <a:pt x="276" y="784"/>
                    </a:cubicBezTo>
                    <a:cubicBezTo>
                      <a:pt x="276" y="784"/>
                      <a:pt x="289" y="781"/>
                      <a:pt x="286" y="778"/>
                    </a:cubicBezTo>
                    <a:cubicBezTo>
                      <a:pt x="285" y="777"/>
                      <a:pt x="279" y="774"/>
                      <a:pt x="272" y="769"/>
                    </a:cubicBezTo>
                    <a:cubicBezTo>
                      <a:pt x="268" y="773"/>
                      <a:pt x="262" y="774"/>
                      <a:pt x="257" y="774"/>
                    </a:cubicBezTo>
                    <a:cubicBezTo>
                      <a:pt x="241" y="773"/>
                      <a:pt x="220" y="764"/>
                      <a:pt x="204" y="763"/>
                    </a:cubicBezTo>
                    <a:cubicBezTo>
                      <a:pt x="203" y="763"/>
                      <a:pt x="201" y="763"/>
                      <a:pt x="200" y="763"/>
                    </a:cubicBezTo>
                    <a:cubicBezTo>
                      <a:pt x="194" y="764"/>
                      <a:pt x="184" y="768"/>
                      <a:pt x="172" y="774"/>
                    </a:cubicBezTo>
                    <a:cubicBezTo>
                      <a:pt x="172" y="775"/>
                      <a:pt x="172" y="777"/>
                      <a:pt x="172" y="778"/>
                    </a:cubicBezTo>
                    <a:cubicBezTo>
                      <a:pt x="171" y="779"/>
                      <a:pt x="171" y="779"/>
                      <a:pt x="171" y="779"/>
                    </a:cubicBezTo>
                    <a:cubicBezTo>
                      <a:pt x="171" y="782"/>
                      <a:pt x="170" y="779"/>
                      <a:pt x="169" y="776"/>
                    </a:cubicBezTo>
                    <a:cubicBezTo>
                      <a:pt x="167" y="777"/>
                      <a:pt x="165" y="778"/>
                      <a:pt x="163" y="779"/>
                    </a:cubicBezTo>
                    <a:cubicBezTo>
                      <a:pt x="170" y="781"/>
                      <a:pt x="178" y="793"/>
                      <a:pt x="179" y="794"/>
                    </a:cubicBezTo>
                    <a:cubicBezTo>
                      <a:pt x="180" y="795"/>
                      <a:pt x="180" y="795"/>
                      <a:pt x="180" y="795"/>
                    </a:cubicBezTo>
                    <a:cubicBezTo>
                      <a:pt x="182" y="796"/>
                      <a:pt x="194" y="815"/>
                      <a:pt x="184" y="814"/>
                    </a:cubicBezTo>
                    <a:cubicBezTo>
                      <a:pt x="183" y="814"/>
                      <a:pt x="175" y="798"/>
                      <a:pt x="175" y="797"/>
                    </a:cubicBezTo>
                    <a:cubicBezTo>
                      <a:pt x="173" y="790"/>
                      <a:pt x="155" y="790"/>
                      <a:pt x="155" y="784"/>
                    </a:cubicBezTo>
                    <a:cubicBezTo>
                      <a:pt x="131" y="800"/>
                      <a:pt x="106" y="822"/>
                      <a:pt x="102" y="837"/>
                    </a:cubicBezTo>
                    <a:cubicBezTo>
                      <a:pt x="102" y="838"/>
                      <a:pt x="102" y="839"/>
                      <a:pt x="102" y="840"/>
                    </a:cubicBezTo>
                    <a:cubicBezTo>
                      <a:pt x="101" y="846"/>
                      <a:pt x="109" y="850"/>
                      <a:pt x="108" y="855"/>
                    </a:cubicBezTo>
                    <a:cubicBezTo>
                      <a:pt x="106" y="866"/>
                      <a:pt x="84" y="876"/>
                      <a:pt x="84" y="888"/>
                    </a:cubicBezTo>
                    <a:cubicBezTo>
                      <a:pt x="83" y="900"/>
                      <a:pt x="105" y="913"/>
                      <a:pt x="105" y="925"/>
                    </a:cubicBezTo>
                    <a:cubicBezTo>
                      <a:pt x="105" y="925"/>
                      <a:pt x="97" y="936"/>
                      <a:pt x="94" y="940"/>
                    </a:cubicBezTo>
                    <a:cubicBezTo>
                      <a:pt x="94" y="941"/>
                      <a:pt x="93" y="941"/>
                      <a:pt x="93" y="941"/>
                    </a:cubicBezTo>
                    <a:cubicBezTo>
                      <a:pt x="93" y="941"/>
                      <a:pt x="93" y="942"/>
                      <a:pt x="93" y="942"/>
                    </a:cubicBezTo>
                    <a:cubicBezTo>
                      <a:pt x="93" y="942"/>
                      <a:pt x="93" y="942"/>
                      <a:pt x="93" y="942"/>
                    </a:cubicBezTo>
                    <a:cubicBezTo>
                      <a:pt x="91" y="948"/>
                      <a:pt x="97" y="958"/>
                      <a:pt x="97" y="964"/>
                    </a:cubicBezTo>
                    <a:cubicBezTo>
                      <a:pt x="97" y="971"/>
                      <a:pt x="90" y="980"/>
                      <a:pt x="91" y="986"/>
                    </a:cubicBezTo>
                    <a:cubicBezTo>
                      <a:pt x="95" y="1003"/>
                      <a:pt x="115" y="1017"/>
                      <a:pt x="117" y="1035"/>
                    </a:cubicBezTo>
                    <a:cubicBezTo>
                      <a:pt x="118" y="1056"/>
                      <a:pt x="100" y="1083"/>
                      <a:pt x="99" y="1105"/>
                    </a:cubicBezTo>
                    <a:cubicBezTo>
                      <a:pt x="99" y="1106"/>
                      <a:pt x="99" y="1108"/>
                      <a:pt x="99" y="1109"/>
                    </a:cubicBezTo>
                    <a:cubicBezTo>
                      <a:pt x="100" y="1110"/>
                      <a:pt x="100" y="1112"/>
                      <a:pt x="100" y="1113"/>
                    </a:cubicBezTo>
                    <a:cubicBezTo>
                      <a:pt x="108" y="1141"/>
                      <a:pt x="155" y="1138"/>
                      <a:pt x="166" y="1167"/>
                    </a:cubicBezTo>
                    <a:cubicBezTo>
                      <a:pt x="166" y="1168"/>
                      <a:pt x="163" y="1178"/>
                      <a:pt x="159" y="1188"/>
                    </a:cubicBezTo>
                    <a:cubicBezTo>
                      <a:pt x="158" y="1190"/>
                      <a:pt x="157" y="1191"/>
                      <a:pt x="157" y="1193"/>
                    </a:cubicBezTo>
                    <a:cubicBezTo>
                      <a:pt x="156" y="1194"/>
                      <a:pt x="155" y="1196"/>
                      <a:pt x="155" y="1198"/>
                    </a:cubicBezTo>
                    <a:cubicBezTo>
                      <a:pt x="154" y="1198"/>
                      <a:pt x="154" y="1199"/>
                      <a:pt x="154" y="1200"/>
                    </a:cubicBezTo>
                    <a:cubicBezTo>
                      <a:pt x="153" y="1201"/>
                      <a:pt x="153" y="1202"/>
                      <a:pt x="152" y="1203"/>
                    </a:cubicBezTo>
                    <a:cubicBezTo>
                      <a:pt x="151" y="1205"/>
                      <a:pt x="150" y="1207"/>
                      <a:pt x="149" y="1208"/>
                    </a:cubicBezTo>
                    <a:cubicBezTo>
                      <a:pt x="149" y="1209"/>
                      <a:pt x="148" y="1210"/>
                      <a:pt x="148" y="1210"/>
                    </a:cubicBezTo>
                    <a:cubicBezTo>
                      <a:pt x="147" y="1211"/>
                      <a:pt x="145" y="1212"/>
                      <a:pt x="144" y="1212"/>
                    </a:cubicBezTo>
                    <a:cubicBezTo>
                      <a:pt x="142" y="1212"/>
                      <a:pt x="141" y="1212"/>
                      <a:pt x="139" y="1212"/>
                    </a:cubicBezTo>
                    <a:cubicBezTo>
                      <a:pt x="137" y="1213"/>
                      <a:pt x="136" y="1213"/>
                      <a:pt x="134" y="1213"/>
                    </a:cubicBezTo>
                    <a:cubicBezTo>
                      <a:pt x="134" y="1213"/>
                      <a:pt x="133" y="1213"/>
                      <a:pt x="132" y="1213"/>
                    </a:cubicBezTo>
                    <a:cubicBezTo>
                      <a:pt x="122" y="1213"/>
                      <a:pt x="112" y="1213"/>
                      <a:pt x="111" y="1222"/>
                    </a:cubicBezTo>
                    <a:cubicBezTo>
                      <a:pt x="108" y="1245"/>
                      <a:pt x="143" y="1273"/>
                      <a:pt x="143" y="1297"/>
                    </a:cubicBezTo>
                    <a:cubicBezTo>
                      <a:pt x="143" y="1309"/>
                      <a:pt x="136" y="1311"/>
                      <a:pt x="133" y="1321"/>
                    </a:cubicBezTo>
                    <a:cubicBezTo>
                      <a:pt x="132" y="1324"/>
                      <a:pt x="133" y="1326"/>
                      <a:pt x="133" y="1329"/>
                    </a:cubicBezTo>
                    <a:cubicBezTo>
                      <a:pt x="133" y="1334"/>
                      <a:pt x="133" y="1339"/>
                      <a:pt x="133" y="1345"/>
                    </a:cubicBezTo>
                    <a:cubicBezTo>
                      <a:pt x="133" y="1347"/>
                      <a:pt x="134" y="1350"/>
                      <a:pt x="133" y="1352"/>
                    </a:cubicBezTo>
                    <a:cubicBezTo>
                      <a:pt x="130" y="1358"/>
                      <a:pt x="111" y="1376"/>
                      <a:pt x="105" y="1379"/>
                    </a:cubicBezTo>
                    <a:cubicBezTo>
                      <a:pt x="104" y="1379"/>
                      <a:pt x="102" y="1379"/>
                      <a:pt x="100" y="1379"/>
                    </a:cubicBezTo>
                    <a:cubicBezTo>
                      <a:pt x="98" y="1379"/>
                      <a:pt x="96" y="1379"/>
                      <a:pt x="93" y="1379"/>
                    </a:cubicBezTo>
                    <a:cubicBezTo>
                      <a:pt x="84" y="1379"/>
                      <a:pt x="73" y="1380"/>
                      <a:pt x="73" y="1386"/>
                    </a:cubicBezTo>
                    <a:cubicBezTo>
                      <a:pt x="73" y="1391"/>
                      <a:pt x="80" y="1395"/>
                      <a:pt x="80" y="1400"/>
                    </a:cubicBezTo>
                    <a:cubicBezTo>
                      <a:pt x="82" y="1416"/>
                      <a:pt x="65" y="1410"/>
                      <a:pt x="60" y="1422"/>
                    </a:cubicBezTo>
                    <a:cubicBezTo>
                      <a:pt x="57" y="1429"/>
                      <a:pt x="61" y="1441"/>
                      <a:pt x="64" y="1455"/>
                    </a:cubicBezTo>
                    <a:cubicBezTo>
                      <a:pt x="66" y="1456"/>
                      <a:pt x="71" y="1466"/>
                      <a:pt x="73" y="1463"/>
                    </a:cubicBezTo>
                    <a:cubicBezTo>
                      <a:pt x="75" y="1458"/>
                      <a:pt x="70" y="1439"/>
                      <a:pt x="76" y="1439"/>
                    </a:cubicBezTo>
                    <a:cubicBezTo>
                      <a:pt x="76" y="1439"/>
                      <a:pt x="76" y="1448"/>
                      <a:pt x="80" y="1451"/>
                    </a:cubicBezTo>
                    <a:cubicBezTo>
                      <a:pt x="81" y="1452"/>
                      <a:pt x="93" y="1440"/>
                      <a:pt x="83" y="1456"/>
                    </a:cubicBezTo>
                    <a:cubicBezTo>
                      <a:pt x="81" y="1460"/>
                      <a:pt x="80" y="1463"/>
                      <a:pt x="83" y="1469"/>
                    </a:cubicBezTo>
                    <a:cubicBezTo>
                      <a:pt x="89" y="1483"/>
                      <a:pt x="118" y="1487"/>
                      <a:pt x="107" y="1508"/>
                    </a:cubicBezTo>
                    <a:cubicBezTo>
                      <a:pt x="106" y="1511"/>
                      <a:pt x="104" y="1496"/>
                      <a:pt x="104" y="1495"/>
                    </a:cubicBezTo>
                    <a:cubicBezTo>
                      <a:pt x="102" y="1488"/>
                      <a:pt x="91" y="1481"/>
                      <a:pt x="85" y="1478"/>
                    </a:cubicBezTo>
                    <a:cubicBezTo>
                      <a:pt x="81" y="1476"/>
                      <a:pt x="78" y="1462"/>
                      <a:pt x="77" y="1462"/>
                    </a:cubicBezTo>
                    <a:cubicBezTo>
                      <a:pt x="76" y="1462"/>
                      <a:pt x="74" y="1466"/>
                      <a:pt x="74" y="1467"/>
                    </a:cubicBezTo>
                    <a:cubicBezTo>
                      <a:pt x="74" y="1469"/>
                      <a:pt x="80" y="1507"/>
                      <a:pt x="80" y="1506"/>
                    </a:cubicBezTo>
                    <a:cubicBezTo>
                      <a:pt x="80" y="1507"/>
                      <a:pt x="80" y="1507"/>
                      <a:pt x="80" y="1507"/>
                    </a:cubicBezTo>
                    <a:cubicBezTo>
                      <a:pt x="85" y="1514"/>
                      <a:pt x="81" y="1527"/>
                      <a:pt x="80" y="1513"/>
                    </a:cubicBezTo>
                    <a:cubicBezTo>
                      <a:pt x="79" y="1512"/>
                      <a:pt x="79" y="1510"/>
                      <a:pt x="78" y="1509"/>
                    </a:cubicBezTo>
                    <a:cubicBezTo>
                      <a:pt x="73" y="1506"/>
                      <a:pt x="78" y="1507"/>
                      <a:pt x="76" y="1503"/>
                    </a:cubicBezTo>
                    <a:cubicBezTo>
                      <a:pt x="74" y="1500"/>
                      <a:pt x="76" y="1501"/>
                      <a:pt x="75" y="1497"/>
                    </a:cubicBezTo>
                    <a:cubicBezTo>
                      <a:pt x="75" y="1496"/>
                      <a:pt x="72" y="1494"/>
                      <a:pt x="73" y="1493"/>
                    </a:cubicBezTo>
                    <a:cubicBezTo>
                      <a:pt x="76" y="1488"/>
                      <a:pt x="72" y="1480"/>
                      <a:pt x="68" y="1472"/>
                    </a:cubicBezTo>
                    <a:cubicBezTo>
                      <a:pt x="72" y="1489"/>
                      <a:pt x="72" y="1507"/>
                      <a:pt x="57" y="1519"/>
                    </a:cubicBezTo>
                    <a:cubicBezTo>
                      <a:pt x="53" y="1523"/>
                      <a:pt x="49" y="1524"/>
                      <a:pt x="47" y="1524"/>
                    </a:cubicBezTo>
                    <a:cubicBezTo>
                      <a:pt x="42" y="1524"/>
                      <a:pt x="40" y="1516"/>
                      <a:pt x="39" y="1509"/>
                    </a:cubicBezTo>
                    <a:cubicBezTo>
                      <a:pt x="39" y="1509"/>
                      <a:pt x="39" y="1509"/>
                      <a:pt x="39" y="1509"/>
                    </a:cubicBezTo>
                    <a:cubicBezTo>
                      <a:pt x="35" y="1509"/>
                      <a:pt x="34" y="1493"/>
                      <a:pt x="29" y="1493"/>
                    </a:cubicBezTo>
                    <a:cubicBezTo>
                      <a:pt x="0" y="1493"/>
                      <a:pt x="17" y="1520"/>
                      <a:pt x="21" y="1529"/>
                    </a:cubicBezTo>
                    <a:cubicBezTo>
                      <a:pt x="26" y="1539"/>
                      <a:pt x="14" y="1550"/>
                      <a:pt x="26" y="1567"/>
                    </a:cubicBezTo>
                    <a:cubicBezTo>
                      <a:pt x="26" y="1568"/>
                      <a:pt x="26" y="1568"/>
                      <a:pt x="26" y="1568"/>
                    </a:cubicBezTo>
                    <a:cubicBezTo>
                      <a:pt x="23" y="1577"/>
                      <a:pt x="20" y="1590"/>
                      <a:pt x="20" y="1594"/>
                    </a:cubicBezTo>
                    <a:cubicBezTo>
                      <a:pt x="20" y="1595"/>
                      <a:pt x="20" y="1601"/>
                      <a:pt x="21" y="1601"/>
                    </a:cubicBezTo>
                    <a:cubicBezTo>
                      <a:pt x="24" y="1601"/>
                      <a:pt x="30" y="1596"/>
                      <a:pt x="33" y="1593"/>
                    </a:cubicBezTo>
                    <a:cubicBezTo>
                      <a:pt x="35" y="1591"/>
                      <a:pt x="38" y="1584"/>
                      <a:pt x="39" y="1587"/>
                    </a:cubicBezTo>
                    <a:cubicBezTo>
                      <a:pt x="40" y="1591"/>
                      <a:pt x="36" y="1596"/>
                      <a:pt x="37" y="1595"/>
                    </a:cubicBezTo>
                    <a:cubicBezTo>
                      <a:pt x="38" y="1593"/>
                      <a:pt x="40" y="1601"/>
                      <a:pt x="38" y="1601"/>
                    </a:cubicBezTo>
                    <a:cubicBezTo>
                      <a:pt x="35" y="1601"/>
                      <a:pt x="32" y="1607"/>
                      <a:pt x="39" y="1605"/>
                    </a:cubicBezTo>
                    <a:cubicBezTo>
                      <a:pt x="44" y="1603"/>
                      <a:pt x="34" y="1611"/>
                      <a:pt x="36" y="1612"/>
                    </a:cubicBezTo>
                    <a:cubicBezTo>
                      <a:pt x="36" y="1612"/>
                      <a:pt x="41" y="1609"/>
                      <a:pt x="41" y="1609"/>
                    </a:cubicBezTo>
                    <a:cubicBezTo>
                      <a:pt x="48" y="1603"/>
                      <a:pt x="48" y="1577"/>
                      <a:pt x="51" y="1585"/>
                    </a:cubicBezTo>
                    <a:cubicBezTo>
                      <a:pt x="51" y="1586"/>
                      <a:pt x="51" y="1590"/>
                      <a:pt x="52" y="1591"/>
                    </a:cubicBezTo>
                    <a:cubicBezTo>
                      <a:pt x="54" y="1591"/>
                      <a:pt x="56" y="1585"/>
                      <a:pt x="60" y="1588"/>
                    </a:cubicBezTo>
                    <a:cubicBezTo>
                      <a:pt x="62" y="1589"/>
                      <a:pt x="59" y="1590"/>
                      <a:pt x="59" y="1591"/>
                    </a:cubicBezTo>
                    <a:cubicBezTo>
                      <a:pt x="57" y="1591"/>
                      <a:pt x="41" y="1610"/>
                      <a:pt x="46" y="1613"/>
                    </a:cubicBezTo>
                    <a:cubicBezTo>
                      <a:pt x="51" y="1617"/>
                      <a:pt x="62" y="1600"/>
                      <a:pt x="69" y="1602"/>
                    </a:cubicBezTo>
                    <a:cubicBezTo>
                      <a:pt x="71" y="1603"/>
                      <a:pt x="79" y="1598"/>
                      <a:pt x="79" y="1601"/>
                    </a:cubicBezTo>
                    <a:cubicBezTo>
                      <a:pt x="80" y="1604"/>
                      <a:pt x="73" y="1603"/>
                      <a:pt x="72" y="1606"/>
                    </a:cubicBezTo>
                    <a:cubicBezTo>
                      <a:pt x="71" y="1610"/>
                      <a:pt x="79" y="1617"/>
                      <a:pt x="80" y="1618"/>
                    </a:cubicBezTo>
                    <a:cubicBezTo>
                      <a:pt x="82" y="1624"/>
                      <a:pt x="66" y="1649"/>
                      <a:pt x="66" y="1657"/>
                    </a:cubicBezTo>
                    <a:cubicBezTo>
                      <a:pt x="66" y="1661"/>
                      <a:pt x="72" y="1662"/>
                      <a:pt x="64" y="1664"/>
                    </a:cubicBezTo>
                    <a:cubicBezTo>
                      <a:pt x="61" y="1665"/>
                      <a:pt x="58" y="1669"/>
                      <a:pt x="59" y="1671"/>
                    </a:cubicBezTo>
                    <a:cubicBezTo>
                      <a:pt x="62" y="1676"/>
                      <a:pt x="76" y="1676"/>
                      <a:pt x="73" y="1680"/>
                    </a:cubicBezTo>
                    <a:cubicBezTo>
                      <a:pt x="71" y="1683"/>
                      <a:pt x="62" y="1686"/>
                      <a:pt x="63" y="1691"/>
                    </a:cubicBezTo>
                    <a:cubicBezTo>
                      <a:pt x="63" y="1693"/>
                      <a:pt x="80" y="1687"/>
                      <a:pt x="83" y="1691"/>
                    </a:cubicBezTo>
                    <a:cubicBezTo>
                      <a:pt x="84" y="1693"/>
                      <a:pt x="75" y="1693"/>
                      <a:pt x="74" y="1695"/>
                    </a:cubicBezTo>
                    <a:cubicBezTo>
                      <a:pt x="74" y="1696"/>
                      <a:pt x="77" y="1701"/>
                      <a:pt x="78" y="1703"/>
                    </a:cubicBezTo>
                    <a:cubicBezTo>
                      <a:pt x="78" y="1704"/>
                      <a:pt x="78" y="1704"/>
                      <a:pt x="78" y="1704"/>
                    </a:cubicBezTo>
                    <a:cubicBezTo>
                      <a:pt x="87" y="1713"/>
                      <a:pt x="79" y="1717"/>
                      <a:pt x="81" y="1734"/>
                    </a:cubicBezTo>
                    <a:cubicBezTo>
                      <a:pt x="83" y="1753"/>
                      <a:pt x="94" y="1724"/>
                      <a:pt x="94" y="1724"/>
                    </a:cubicBezTo>
                    <a:cubicBezTo>
                      <a:pt x="95" y="1725"/>
                      <a:pt x="96" y="1726"/>
                      <a:pt x="96" y="1727"/>
                    </a:cubicBezTo>
                    <a:cubicBezTo>
                      <a:pt x="99" y="1737"/>
                      <a:pt x="93" y="1733"/>
                      <a:pt x="94" y="1741"/>
                    </a:cubicBezTo>
                    <a:cubicBezTo>
                      <a:pt x="94" y="1742"/>
                      <a:pt x="95" y="1742"/>
                      <a:pt x="96" y="1742"/>
                    </a:cubicBezTo>
                    <a:cubicBezTo>
                      <a:pt x="99" y="1740"/>
                      <a:pt x="106" y="1755"/>
                      <a:pt x="103" y="1762"/>
                    </a:cubicBezTo>
                    <a:cubicBezTo>
                      <a:pt x="102" y="1763"/>
                      <a:pt x="115" y="1782"/>
                      <a:pt x="119" y="1786"/>
                    </a:cubicBezTo>
                    <a:cubicBezTo>
                      <a:pt x="123" y="1789"/>
                      <a:pt x="118" y="1799"/>
                      <a:pt x="121" y="1800"/>
                    </a:cubicBezTo>
                    <a:cubicBezTo>
                      <a:pt x="141" y="1812"/>
                      <a:pt x="142" y="1821"/>
                      <a:pt x="154" y="1838"/>
                    </a:cubicBezTo>
                    <a:cubicBezTo>
                      <a:pt x="157" y="1842"/>
                      <a:pt x="165" y="1832"/>
                      <a:pt x="169" y="1839"/>
                    </a:cubicBezTo>
                    <a:cubicBezTo>
                      <a:pt x="191" y="1880"/>
                      <a:pt x="148" y="1854"/>
                      <a:pt x="145" y="1870"/>
                    </a:cubicBezTo>
                    <a:cubicBezTo>
                      <a:pt x="144" y="1875"/>
                      <a:pt x="170" y="1886"/>
                      <a:pt x="162" y="1895"/>
                    </a:cubicBezTo>
                    <a:cubicBezTo>
                      <a:pt x="154" y="1905"/>
                      <a:pt x="137" y="1880"/>
                      <a:pt x="130" y="1886"/>
                    </a:cubicBezTo>
                    <a:cubicBezTo>
                      <a:pt x="128" y="1888"/>
                      <a:pt x="135" y="1891"/>
                      <a:pt x="136" y="1893"/>
                    </a:cubicBezTo>
                    <a:cubicBezTo>
                      <a:pt x="142" y="1901"/>
                      <a:pt x="174" y="1956"/>
                      <a:pt x="174" y="1957"/>
                    </a:cubicBezTo>
                    <a:cubicBezTo>
                      <a:pt x="173" y="1967"/>
                      <a:pt x="184" y="1962"/>
                      <a:pt x="185" y="1971"/>
                    </a:cubicBezTo>
                    <a:cubicBezTo>
                      <a:pt x="185" y="1982"/>
                      <a:pt x="161" y="1988"/>
                      <a:pt x="176" y="2000"/>
                    </a:cubicBezTo>
                    <a:cubicBezTo>
                      <a:pt x="177" y="2001"/>
                      <a:pt x="178" y="2002"/>
                      <a:pt x="178" y="2004"/>
                    </a:cubicBezTo>
                    <a:cubicBezTo>
                      <a:pt x="177" y="2006"/>
                      <a:pt x="166" y="2006"/>
                      <a:pt x="166" y="2007"/>
                    </a:cubicBezTo>
                    <a:cubicBezTo>
                      <a:pt x="165" y="2008"/>
                      <a:pt x="164" y="2009"/>
                      <a:pt x="164" y="2011"/>
                    </a:cubicBezTo>
                    <a:cubicBezTo>
                      <a:pt x="164" y="2013"/>
                      <a:pt x="169" y="2011"/>
                      <a:pt x="172" y="2012"/>
                    </a:cubicBezTo>
                    <a:cubicBezTo>
                      <a:pt x="199" y="2022"/>
                      <a:pt x="216" y="2010"/>
                      <a:pt x="243" y="2006"/>
                    </a:cubicBezTo>
                    <a:cubicBezTo>
                      <a:pt x="255" y="2005"/>
                      <a:pt x="277" y="2017"/>
                      <a:pt x="286" y="2011"/>
                    </a:cubicBezTo>
                    <a:cubicBezTo>
                      <a:pt x="323" y="1989"/>
                      <a:pt x="258" y="1969"/>
                      <a:pt x="310" y="1922"/>
                    </a:cubicBezTo>
                    <a:cubicBezTo>
                      <a:pt x="320" y="1914"/>
                      <a:pt x="323" y="1928"/>
                      <a:pt x="332" y="1927"/>
                    </a:cubicBezTo>
                    <a:cubicBezTo>
                      <a:pt x="345" y="1926"/>
                      <a:pt x="322" y="1908"/>
                      <a:pt x="330" y="1905"/>
                    </a:cubicBezTo>
                    <a:cubicBezTo>
                      <a:pt x="345" y="1899"/>
                      <a:pt x="371" y="1911"/>
                      <a:pt x="383" y="1903"/>
                    </a:cubicBezTo>
                    <a:cubicBezTo>
                      <a:pt x="383" y="1903"/>
                      <a:pt x="383" y="1902"/>
                      <a:pt x="384" y="1902"/>
                    </a:cubicBezTo>
                    <a:cubicBezTo>
                      <a:pt x="389" y="1904"/>
                      <a:pt x="381" y="1910"/>
                      <a:pt x="389" y="1909"/>
                    </a:cubicBezTo>
                    <a:cubicBezTo>
                      <a:pt x="394" y="1908"/>
                      <a:pt x="404" y="1897"/>
                      <a:pt x="410" y="1899"/>
                    </a:cubicBezTo>
                    <a:cubicBezTo>
                      <a:pt x="413" y="1900"/>
                      <a:pt x="407" y="1904"/>
                      <a:pt x="410" y="1905"/>
                    </a:cubicBezTo>
                    <a:cubicBezTo>
                      <a:pt x="413" y="1906"/>
                      <a:pt x="426" y="1901"/>
                      <a:pt x="430" y="1905"/>
                    </a:cubicBezTo>
                    <a:cubicBezTo>
                      <a:pt x="431" y="1906"/>
                      <a:pt x="426" y="1920"/>
                      <a:pt x="433" y="1917"/>
                    </a:cubicBezTo>
                    <a:cubicBezTo>
                      <a:pt x="448" y="1911"/>
                      <a:pt x="459" y="1850"/>
                      <a:pt x="469" y="1838"/>
                    </a:cubicBezTo>
                    <a:cubicBezTo>
                      <a:pt x="472" y="1833"/>
                      <a:pt x="477" y="1841"/>
                      <a:pt x="480" y="1835"/>
                    </a:cubicBezTo>
                    <a:cubicBezTo>
                      <a:pt x="482" y="1832"/>
                      <a:pt x="477" y="1825"/>
                      <a:pt x="478" y="1822"/>
                    </a:cubicBezTo>
                    <a:cubicBezTo>
                      <a:pt x="480" y="1818"/>
                      <a:pt x="488" y="1823"/>
                      <a:pt x="489" y="1820"/>
                    </a:cubicBezTo>
                    <a:cubicBezTo>
                      <a:pt x="490" y="1817"/>
                      <a:pt x="488" y="1815"/>
                      <a:pt x="486" y="1816"/>
                    </a:cubicBezTo>
                    <a:cubicBezTo>
                      <a:pt x="481" y="1821"/>
                      <a:pt x="486" y="1807"/>
                      <a:pt x="486" y="1806"/>
                    </a:cubicBezTo>
                    <a:cubicBezTo>
                      <a:pt x="485" y="1798"/>
                      <a:pt x="486" y="1786"/>
                      <a:pt x="486" y="1782"/>
                    </a:cubicBezTo>
                    <a:cubicBezTo>
                      <a:pt x="486" y="1781"/>
                      <a:pt x="498" y="1783"/>
                      <a:pt x="499" y="1782"/>
                    </a:cubicBezTo>
                    <a:cubicBezTo>
                      <a:pt x="502" y="1779"/>
                      <a:pt x="490" y="1769"/>
                      <a:pt x="488" y="1766"/>
                    </a:cubicBezTo>
                    <a:cubicBezTo>
                      <a:pt x="485" y="1763"/>
                      <a:pt x="488" y="1754"/>
                      <a:pt x="488" y="1752"/>
                    </a:cubicBezTo>
                    <a:cubicBezTo>
                      <a:pt x="487" y="1744"/>
                      <a:pt x="510" y="1729"/>
                      <a:pt x="508" y="1721"/>
                    </a:cubicBezTo>
                    <a:cubicBezTo>
                      <a:pt x="506" y="1715"/>
                      <a:pt x="501" y="1713"/>
                      <a:pt x="498" y="1711"/>
                    </a:cubicBezTo>
                    <a:cubicBezTo>
                      <a:pt x="496" y="1710"/>
                      <a:pt x="490" y="1710"/>
                      <a:pt x="492" y="1709"/>
                    </a:cubicBezTo>
                    <a:cubicBezTo>
                      <a:pt x="497" y="1704"/>
                      <a:pt x="498" y="1704"/>
                      <a:pt x="502" y="1697"/>
                    </a:cubicBezTo>
                    <a:cubicBezTo>
                      <a:pt x="503" y="1696"/>
                      <a:pt x="503" y="1695"/>
                      <a:pt x="502" y="1694"/>
                    </a:cubicBezTo>
                    <a:cubicBezTo>
                      <a:pt x="494" y="1689"/>
                      <a:pt x="507" y="1693"/>
                      <a:pt x="510" y="1691"/>
                    </a:cubicBezTo>
                    <a:cubicBezTo>
                      <a:pt x="511" y="1689"/>
                      <a:pt x="504" y="1685"/>
                      <a:pt x="504" y="1685"/>
                    </a:cubicBezTo>
                    <a:cubicBezTo>
                      <a:pt x="504" y="1685"/>
                      <a:pt x="483" y="1664"/>
                      <a:pt x="484" y="1663"/>
                    </a:cubicBezTo>
                    <a:cubicBezTo>
                      <a:pt x="487" y="1661"/>
                      <a:pt x="505" y="1685"/>
                      <a:pt x="508" y="1682"/>
                    </a:cubicBezTo>
                    <a:cubicBezTo>
                      <a:pt x="510" y="1680"/>
                      <a:pt x="495" y="1666"/>
                      <a:pt x="493" y="1664"/>
                    </a:cubicBezTo>
                    <a:cubicBezTo>
                      <a:pt x="491" y="1660"/>
                      <a:pt x="498" y="1665"/>
                      <a:pt x="498" y="1662"/>
                    </a:cubicBezTo>
                    <a:cubicBezTo>
                      <a:pt x="498" y="1660"/>
                      <a:pt x="489" y="1651"/>
                      <a:pt x="491" y="1649"/>
                    </a:cubicBezTo>
                    <a:cubicBezTo>
                      <a:pt x="493" y="1648"/>
                      <a:pt x="501" y="1657"/>
                      <a:pt x="503" y="1659"/>
                    </a:cubicBezTo>
                    <a:cubicBezTo>
                      <a:pt x="505" y="1660"/>
                      <a:pt x="508" y="1661"/>
                      <a:pt x="509" y="1663"/>
                    </a:cubicBezTo>
                    <a:cubicBezTo>
                      <a:pt x="510" y="1664"/>
                      <a:pt x="511" y="1668"/>
                      <a:pt x="513" y="1666"/>
                    </a:cubicBezTo>
                    <a:cubicBezTo>
                      <a:pt x="517" y="1663"/>
                      <a:pt x="513" y="1664"/>
                      <a:pt x="512" y="1661"/>
                    </a:cubicBezTo>
                    <a:cubicBezTo>
                      <a:pt x="511" y="1659"/>
                      <a:pt x="515" y="1655"/>
                      <a:pt x="505" y="1652"/>
                    </a:cubicBezTo>
                    <a:cubicBezTo>
                      <a:pt x="504" y="1651"/>
                      <a:pt x="501" y="1651"/>
                      <a:pt x="501" y="1650"/>
                    </a:cubicBezTo>
                    <a:cubicBezTo>
                      <a:pt x="502" y="1638"/>
                      <a:pt x="510" y="1653"/>
                      <a:pt x="513" y="1647"/>
                    </a:cubicBezTo>
                    <a:cubicBezTo>
                      <a:pt x="515" y="1644"/>
                      <a:pt x="502" y="1620"/>
                      <a:pt x="502" y="1620"/>
                    </a:cubicBezTo>
                    <a:cubicBezTo>
                      <a:pt x="503" y="1619"/>
                      <a:pt x="513" y="1634"/>
                      <a:pt x="518" y="1629"/>
                    </a:cubicBezTo>
                    <a:cubicBezTo>
                      <a:pt x="520" y="1627"/>
                      <a:pt x="522" y="1622"/>
                      <a:pt x="520" y="1620"/>
                    </a:cubicBezTo>
                    <a:cubicBezTo>
                      <a:pt x="512" y="1612"/>
                      <a:pt x="515" y="1603"/>
                      <a:pt x="513" y="1604"/>
                    </a:cubicBezTo>
                    <a:cubicBezTo>
                      <a:pt x="512" y="1604"/>
                      <a:pt x="509" y="1609"/>
                      <a:pt x="508" y="1606"/>
                    </a:cubicBezTo>
                    <a:cubicBezTo>
                      <a:pt x="507" y="1602"/>
                      <a:pt x="504" y="1603"/>
                      <a:pt x="503" y="1599"/>
                    </a:cubicBezTo>
                    <a:cubicBezTo>
                      <a:pt x="501" y="1595"/>
                      <a:pt x="515" y="1602"/>
                      <a:pt x="515" y="1597"/>
                    </a:cubicBezTo>
                    <a:cubicBezTo>
                      <a:pt x="515" y="1591"/>
                      <a:pt x="490" y="1591"/>
                      <a:pt x="483" y="1581"/>
                    </a:cubicBezTo>
                    <a:cubicBezTo>
                      <a:pt x="483" y="1580"/>
                      <a:pt x="496" y="1584"/>
                      <a:pt x="497" y="1584"/>
                    </a:cubicBezTo>
                    <a:cubicBezTo>
                      <a:pt x="506" y="1588"/>
                      <a:pt x="529" y="1585"/>
                      <a:pt x="530" y="1580"/>
                    </a:cubicBezTo>
                    <a:cubicBezTo>
                      <a:pt x="532" y="1571"/>
                      <a:pt x="501" y="1563"/>
                      <a:pt x="486" y="1559"/>
                    </a:cubicBezTo>
                    <a:cubicBezTo>
                      <a:pt x="483" y="1559"/>
                      <a:pt x="485" y="1566"/>
                      <a:pt x="480" y="1565"/>
                    </a:cubicBezTo>
                    <a:cubicBezTo>
                      <a:pt x="480" y="1565"/>
                      <a:pt x="478" y="1560"/>
                      <a:pt x="477" y="1559"/>
                    </a:cubicBezTo>
                    <a:cubicBezTo>
                      <a:pt x="474" y="1555"/>
                      <a:pt x="460" y="1563"/>
                      <a:pt x="463" y="1560"/>
                    </a:cubicBezTo>
                    <a:cubicBezTo>
                      <a:pt x="475" y="1543"/>
                      <a:pt x="517" y="1574"/>
                      <a:pt x="539" y="1558"/>
                    </a:cubicBezTo>
                    <a:cubicBezTo>
                      <a:pt x="541" y="1557"/>
                      <a:pt x="528" y="1553"/>
                      <a:pt x="533" y="1553"/>
                    </a:cubicBezTo>
                    <a:cubicBezTo>
                      <a:pt x="539" y="1552"/>
                      <a:pt x="556" y="1551"/>
                      <a:pt x="543" y="1549"/>
                    </a:cubicBezTo>
                    <a:cubicBezTo>
                      <a:pt x="538" y="1548"/>
                      <a:pt x="548" y="1545"/>
                      <a:pt x="540" y="1545"/>
                    </a:cubicBezTo>
                    <a:cubicBezTo>
                      <a:pt x="540" y="1545"/>
                      <a:pt x="537" y="1543"/>
                      <a:pt x="538" y="1542"/>
                    </a:cubicBezTo>
                    <a:cubicBezTo>
                      <a:pt x="546" y="1540"/>
                      <a:pt x="550" y="1548"/>
                      <a:pt x="559" y="1546"/>
                    </a:cubicBezTo>
                    <a:cubicBezTo>
                      <a:pt x="560" y="1546"/>
                      <a:pt x="560" y="1541"/>
                      <a:pt x="564" y="1542"/>
                    </a:cubicBezTo>
                    <a:cubicBezTo>
                      <a:pt x="567" y="1543"/>
                      <a:pt x="569" y="1544"/>
                      <a:pt x="569" y="1540"/>
                    </a:cubicBezTo>
                    <a:cubicBezTo>
                      <a:pt x="569" y="1538"/>
                      <a:pt x="565" y="1537"/>
                      <a:pt x="566" y="1535"/>
                    </a:cubicBezTo>
                    <a:cubicBezTo>
                      <a:pt x="566" y="1534"/>
                      <a:pt x="569" y="1536"/>
                      <a:pt x="569" y="1536"/>
                    </a:cubicBezTo>
                    <a:cubicBezTo>
                      <a:pt x="570" y="1537"/>
                      <a:pt x="577" y="1537"/>
                      <a:pt x="578" y="1537"/>
                    </a:cubicBezTo>
                    <a:cubicBezTo>
                      <a:pt x="583" y="1536"/>
                      <a:pt x="572" y="1526"/>
                      <a:pt x="575" y="1522"/>
                    </a:cubicBezTo>
                    <a:cubicBezTo>
                      <a:pt x="578" y="1520"/>
                      <a:pt x="585" y="1529"/>
                      <a:pt x="587" y="1529"/>
                    </a:cubicBezTo>
                    <a:cubicBezTo>
                      <a:pt x="590" y="1529"/>
                      <a:pt x="584" y="1522"/>
                      <a:pt x="584" y="1521"/>
                    </a:cubicBezTo>
                    <a:cubicBezTo>
                      <a:pt x="599" y="1521"/>
                      <a:pt x="583" y="1496"/>
                      <a:pt x="595" y="1483"/>
                    </a:cubicBezTo>
                    <a:cubicBezTo>
                      <a:pt x="599" y="1479"/>
                      <a:pt x="593" y="1498"/>
                      <a:pt x="599" y="1500"/>
                    </a:cubicBezTo>
                    <a:cubicBezTo>
                      <a:pt x="601" y="1500"/>
                      <a:pt x="599" y="1490"/>
                      <a:pt x="603" y="1489"/>
                    </a:cubicBezTo>
                    <a:cubicBezTo>
                      <a:pt x="605" y="1489"/>
                      <a:pt x="600" y="1517"/>
                      <a:pt x="602" y="1519"/>
                    </a:cubicBezTo>
                    <a:cubicBezTo>
                      <a:pt x="609" y="1526"/>
                      <a:pt x="607" y="1517"/>
                      <a:pt x="606" y="1515"/>
                    </a:cubicBezTo>
                    <a:cubicBezTo>
                      <a:pt x="606" y="1515"/>
                      <a:pt x="606" y="1515"/>
                      <a:pt x="606" y="1515"/>
                    </a:cubicBezTo>
                    <a:cubicBezTo>
                      <a:pt x="606" y="1515"/>
                      <a:pt x="606" y="1515"/>
                      <a:pt x="606" y="1515"/>
                    </a:cubicBezTo>
                    <a:cubicBezTo>
                      <a:pt x="608" y="1520"/>
                      <a:pt x="612" y="1516"/>
                      <a:pt x="612" y="1520"/>
                    </a:cubicBezTo>
                    <a:cubicBezTo>
                      <a:pt x="613" y="1521"/>
                      <a:pt x="613" y="1528"/>
                      <a:pt x="615" y="1527"/>
                    </a:cubicBezTo>
                    <a:cubicBezTo>
                      <a:pt x="619" y="1526"/>
                      <a:pt x="624" y="1501"/>
                      <a:pt x="629" y="1499"/>
                    </a:cubicBezTo>
                    <a:cubicBezTo>
                      <a:pt x="644" y="1493"/>
                      <a:pt x="663" y="1488"/>
                      <a:pt x="663" y="1484"/>
                    </a:cubicBezTo>
                    <a:cubicBezTo>
                      <a:pt x="663" y="1483"/>
                      <a:pt x="661" y="1482"/>
                      <a:pt x="659" y="1482"/>
                    </a:cubicBezTo>
                    <a:cubicBezTo>
                      <a:pt x="656" y="1482"/>
                      <a:pt x="648" y="1470"/>
                      <a:pt x="658" y="1478"/>
                    </a:cubicBezTo>
                    <a:cubicBezTo>
                      <a:pt x="659" y="1478"/>
                      <a:pt x="662" y="1480"/>
                      <a:pt x="662" y="1479"/>
                    </a:cubicBezTo>
                    <a:cubicBezTo>
                      <a:pt x="666" y="1479"/>
                      <a:pt x="654" y="1471"/>
                      <a:pt x="651" y="1470"/>
                    </a:cubicBezTo>
                    <a:cubicBezTo>
                      <a:pt x="649" y="1469"/>
                      <a:pt x="648" y="1465"/>
                      <a:pt x="649" y="1463"/>
                    </a:cubicBezTo>
                    <a:cubicBezTo>
                      <a:pt x="652" y="1458"/>
                      <a:pt x="666" y="1466"/>
                      <a:pt x="676" y="1464"/>
                    </a:cubicBezTo>
                    <a:cubicBezTo>
                      <a:pt x="678" y="1464"/>
                      <a:pt x="683" y="1464"/>
                      <a:pt x="683" y="1461"/>
                    </a:cubicBezTo>
                    <a:cubicBezTo>
                      <a:pt x="682" y="1460"/>
                      <a:pt x="674" y="1450"/>
                      <a:pt x="672" y="1448"/>
                    </a:cubicBezTo>
                    <a:cubicBezTo>
                      <a:pt x="671" y="1446"/>
                      <a:pt x="664" y="1443"/>
                      <a:pt x="663" y="1446"/>
                    </a:cubicBezTo>
                    <a:cubicBezTo>
                      <a:pt x="661" y="1450"/>
                      <a:pt x="671" y="1459"/>
                      <a:pt x="666" y="1460"/>
                    </a:cubicBezTo>
                    <a:cubicBezTo>
                      <a:pt x="664" y="1461"/>
                      <a:pt x="663" y="1454"/>
                      <a:pt x="656" y="1454"/>
                    </a:cubicBezTo>
                    <a:cubicBezTo>
                      <a:pt x="649" y="1454"/>
                      <a:pt x="648" y="1457"/>
                      <a:pt x="644" y="1462"/>
                    </a:cubicBezTo>
                    <a:cubicBezTo>
                      <a:pt x="642" y="1466"/>
                      <a:pt x="628" y="1463"/>
                      <a:pt x="623" y="1463"/>
                    </a:cubicBezTo>
                    <a:cubicBezTo>
                      <a:pt x="617" y="1464"/>
                      <a:pt x="620" y="1477"/>
                      <a:pt x="613" y="1476"/>
                    </a:cubicBezTo>
                    <a:cubicBezTo>
                      <a:pt x="611" y="1475"/>
                      <a:pt x="593" y="1465"/>
                      <a:pt x="589" y="1467"/>
                    </a:cubicBezTo>
                    <a:cubicBezTo>
                      <a:pt x="586" y="1467"/>
                      <a:pt x="592" y="1475"/>
                      <a:pt x="589" y="1475"/>
                    </a:cubicBezTo>
                    <a:cubicBezTo>
                      <a:pt x="589" y="1475"/>
                      <a:pt x="572" y="1456"/>
                      <a:pt x="567" y="1461"/>
                    </a:cubicBezTo>
                    <a:cubicBezTo>
                      <a:pt x="564" y="1463"/>
                      <a:pt x="572" y="1471"/>
                      <a:pt x="571" y="1472"/>
                    </a:cubicBezTo>
                    <a:cubicBezTo>
                      <a:pt x="570" y="1473"/>
                      <a:pt x="556" y="1472"/>
                      <a:pt x="555" y="1470"/>
                    </a:cubicBezTo>
                    <a:cubicBezTo>
                      <a:pt x="553" y="1469"/>
                      <a:pt x="559" y="1467"/>
                      <a:pt x="558" y="1464"/>
                    </a:cubicBezTo>
                    <a:cubicBezTo>
                      <a:pt x="558" y="1464"/>
                      <a:pt x="557" y="1462"/>
                      <a:pt x="557" y="1462"/>
                    </a:cubicBezTo>
                    <a:cubicBezTo>
                      <a:pt x="559" y="1461"/>
                      <a:pt x="566" y="1462"/>
                      <a:pt x="564" y="1458"/>
                    </a:cubicBezTo>
                    <a:cubicBezTo>
                      <a:pt x="562" y="1455"/>
                      <a:pt x="556" y="1457"/>
                      <a:pt x="553" y="1455"/>
                    </a:cubicBezTo>
                    <a:cubicBezTo>
                      <a:pt x="549" y="1452"/>
                      <a:pt x="543" y="1457"/>
                      <a:pt x="539" y="1456"/>
                    </a:cubicBezTo>
                    <a:cubicBezTo>
                      <a:pt x="531" y="1453"/>
                      <a:pt x="522" y="1425"/>
                      <a:pt x="510" y="1439"/>
                    </a:cubicBezTo>
                    <a:cubicBezTo>
                      <a:pt x="508" y="1441"/>
                      <a:pt x="526" y="1451"/>
                      <a:pt x="526" y="1452"/>
                    </a:cubicBezTo>
                    <a:cubicBezTo>
                      <a:pt x="524" y="1459"/>
                      <a:pt x="505" y="1439"/>
                      <a:pt x="503" y="1439"/>
                    </a:cubicBezTo>
                    <a:cubicBezTo>
                      <a:pt x="502" y="1440"/>
                      <a:pt x="501" y="1441"/>
                      <a:pt x="500" y="1442"/>
                    </a:cubicBezTo>
                    <a:cubicBezTo>
                      <a:pt x="500" y="1442"/>
                      <a:pt x="445" y="1449"/>
                      <a:pt x="448" y="1437"/>
                    </a:cubicBezTo>
                    <a:cubicBezTo>
                      <a:pt x="449" y="1432"/>
                      <a:pt x="458" y="1443"/>
                      <a:pt x="463" y="1440"/>
                    </a:cubicBezTo>
                    <a:cubicBezTo>
                      <a:pt x="471" y="1436"/>
                      <a:pt x="476" y="1442"/>
                      <a:pt x="489" y="1436"/>
                    </a:cubicBezTo>
                    <a:cubicBezTo>
                      <a:pt x="490" y="1436"/>
                      <a:pt x="492" y="1421"/>
                      <a:pt x="495" y="1420"/>
                    </a:cubicBezTo>
                    <a:cubicBezTo>
                      <a:pt x="495" y="1420"/>
                      <a:pt x="496" y="1420"/>
                      <a:pt x="497" y="1420"/>
                    </a:cubicBezTo>
                    <a:cubicBezTo>
                      <a:pt x="501" y="1422"/>
                      <a:pt x="504" y="1430"/>
                      <a:pt x="507" y="1432"/>
                    </a:cubicBezTo>
                    <a:cubicBezTo>
                      <a:pt x="515" y="1435"/>
                      <a:pt x="511" y="1422"/>
                      <a:pt x="535" y="1429"/>
                    </a:cubicBezTo>
                    <a:cubicBezTo>
                      <a:pt x="536" y="1430"/>
                      <a:pt x="541" y="1432"/>
                      <a:pt x="542" y="1430"/>
                    </a:cubicBezTo>
                    <a:cubicBezTo>
                      <a:pt x="543" y="1427"/>
                      <a:pt x="538" y="1420"/>
                      <a:pt x="541" y="1421"/>
                    </a:cubicBezTo>
                    <a:cubicBezTo>
                      <a:pt x="542" y="1421"/>
                      <a:pt x="568" y="1441"/>
                      <a:pt x="568" y="1440"/>
                    </a:cubicBezTo>
                    <a:cubicBezTo>
                      <a:pt x="571" y="1435"/>
                      <a:pt x="572" y="1438"/>
                      <a:pt x="568" y="1422"/>
                    </a:cubicBezTo>
                    <a:cubicBezTo>
                      <a:pt x="568" y="1422"/>
                      <a:pt x="564" y="1413"/>
                      <a:pt x="570" y="1414"/>
                    </a:cubicBezTo>
                    <a:cubicBezTo>
                      <a:pt x="570" y="1414"/>
                      <a:pt x="595" y="1461"/>
                      <a:pt x="606" y="1432"/>
                    </a:cubicBezTo>
                    <a:cubicBezTo>
                      <a:pt x="608" y="1424"/>
                      <a:pt x="587" y="1423"/>
                      <a:pt x="589" y="1408"/>
                    </a:cubicBezTo>
                    <a:cubicBezTo>
                      <a:pt x="589" y="1405"/>
                      <a:pt x="586" y="1401"/>
                      <a:pt x="584" y="1405"/>
                    </a:cubicBezTo>
                    <a:cubicBezTo>
                      <a:pt x="583" y="1407"/>
                      <a:pt x="580" y="1413"/>
                      <a:pt x="582" y="1417"/>
                    </a:cubicBezTo>
                    <a:cubicBezTo>
                      <a:pt x="583" y="1418"/>
                      <a:pt x="584" y="1426"/>
                      <a:pt x="583" y="1426"/>
                    </a:cubicBezTo>
                    <a:cubicBezTo>
                      <a:pt x="581" y="1425"/>
                      <a:pt x="579" y="1418"/>
                      <a:pt x="578" y="1416"/>
                    </a:cubicBezTo>
                    <a:cubicBezTo>
                      <a:pt x="576" y="1411"/>
                      <a:pt x="582" y="1405"/>
                      <a:pt x="578" y="1403"/>
                    </a:cubicBezTo>
                    <a:cubicBezTo>
                      <a:pt x="577" y="1403"/>
                      <a:pt x="567" y="1401"/>
                      <a:pt x="569" y="1400"/>
                    </a:cubicBezTo>
                    <a:cubicBezTo>
                      <a:pt x="573" y="1399"/>
                      <a:pt x="580" y="1403"/>
                      <a:pt x="584" y="1400"/>
                    </a:cubicBezTo>
                    <a:cubicBezTo>
                      <a:pt x="586" y="1398"/>
                      <a:pt x="585" y="1391"/>
                      <a:pt x="589" y="1392"/>
                    </a:cubicBezTo>
                    <a:cubicBezTo>
                      <a:pt x="604" y="1396"/>
                      <a:pt x="591" y="1409"/>
                      <a:pt x="591" y="1411"/>
                    </a:cubicBezTo>
                    <a:cubicBezTo>
                      <a:pt x="592" y="1413"/>
                      <a:pt x="598" y="1419"/>
                      <a:pt x="599" y="1419"/>
                    </a:cubicBezTo>
                    <a:cubicBezTo>
                      <a:pt x="602" y="1419"/>
                      <a:pt x="597" y="1409"/>
                      <a:pt x="600" y="1407"/>
                    </a:cubicBezTo>
                    <a:cubicBezTo>
                      <a:pt x="601" y="1407"/>
                      <a:pt x="600" y="1409"/>
                      <a:pt x="603" y="1414"/>
                    </a:cubicBezTo>
                    <a:cubicBezTo>
                      <a:pt x="604" y="1417"/>
                      <a:pt x="611" y="1427"/>
                      <a:pt x="611" y="1431"/>
                    </a:cubicBezTo>
                    <a:cubicBezTo>
                      <a:pt x="611" y="1435"/>
                      <a:pt x="602" y="1442"/>
                      <a:pt x="603" y="1449"/>
                    </a:cubicBezTo>
                    <a:cubicBezTo>
                      <a:pt x="605" y="1457"/>
                      <a:pt x="634" y="1463"/>
                      <a:pt x="638" y="1459"/>
                    </a:cubicBezTo>
                    <a:cubicBezTo>
                      <a:pt x="638" y="1458"/>
                      <a:pt x="626" y="1451"/>
                      <a:pt x="626" y="1449"/>
                    </a:cubicBezTo>
                    <a:cubicBezTo>
                      <a:pt x="625" y="1447"/>
                      <a:pt x="631" y="1451"/>
                      <a:pt x="633" y="1450"/>
                    </a:cubicBezTo>
                    <a:cubicBezTo>
                      <a:pt x="636" y="1447"/>
                      <a:pt x="646" y="1438"/>
                      <a:pt x="639" y="1448"/>
                    </a:cubicBezTo>
                    <a:cubicBezTo>
                      <a:pt x="638" y="1450"/>
                      <a:pt x="648" y="1450"/>
                      <a:pt x="649" y="1451"/>
                    </a:cubicBezTo>
                    <a:cubicBezTo>
                      <a:pt x="651" y="1451"/>
                      <a:pt x="653" y="1451"/>
                      <a:pt x="654" y="1450"/>
                    </a:cubicBezTo>
                    <a:cubicBezTo>
                      <a:pt x="658" y="1447"/>
                      <a:pt x="646" y="1443"/>
                      <a:pt x="649" y="1439"/>
                    </a:cubicBezTo>
                    <a:cubicBezTo>
                      <a:pt x="650" y="1438"/>
                      <a:pt x="657" y="1441"/>
                      <a:pt x="658" y="1440"/>
                    </a:cubicBezTo>
                    <a:cubicBezTo>
                      <a:pt x="669" y="1436"/>
                      <a:pt x="680" y="1420"/>
                      <a:pt x="683" y="1417"/>
                    </a:cubicBezTo>
                    <a:cubicBezTo>
                      <a:pt x="687" y="1413"/>
                      <a:pt x="695" y="1412"/>
                      <a:pt x="706" y="1400"/>
                    </a:cubicBezTo>
                    <a:cubicBezTo>
                      <a:pt x="709" y="1397"/>
                      <a:pt x="719" y="1406"/>
                      <a:pt x="721" y="1401"/>
                    </a:cubicBezTo>
                    <a:cubicBezTo>
                      <a:pt x="725" y="1390"/>
                      <a:pt x="690" y="1398"/>
                      <a:pt x="690" y="1397"/>
                    </a:cubicBezTo>
                    <a:cubicBezTo>
                      <a:pt x="690" y="1394"/>
                      <a:pt x="701" y="1393"/>
                      <a:pt x="703" y="1390"/>
                    </a:cubicBezTo>
                    <a:cubicBezTo>
                      <a:pt x="706" y="1385"/>
                      <a:pt x="699" y="1378"/>
                      <a:pt x="704" y="1375"/>
                    </a:cubicBezTo>
                    <a:cubicBezTo>
                      <a:pt x="705" y="1374"/>
                      <a:pt x="719" y="1394"/>
                      <a:pt x="720" y="1388"/>
                    </a:cubicBezTo>
                    <a:cubicBezTo>
                      <a:pt x="721" y="1384"/>
                      <a:pt x="720" y="1375"/>
                      <a:pt x="718" y="1381"/>
                    </a:cubicBezTo>
                    <a:cubicBezTo>
                      <a:pt x="717" y="1382"/>
                      <a:pt x="716" y="1381"/>
                      <a:pt x="716" y="1380"/>
                    </a:cubicBezTo>
                    <a:cubicBezTo>
                      <a:pt x="711" y="1374"/>
                      <a:pt x="704" y="1372"/>
                      <a:pt x="701" y="1362"/>
                    </a:cubicBezTo>
                    <a:cubicBezTo>
                      <a:pt x="699" y="1357"/>
                      <a:pt x="702" y="1349"/>
                      <a:pt x="697" y="1347"/>
                    </a:cubicBezTo>
                    <a:cubicBezTo>
                      <a:pt x="689" y="1345"/>
                      <a:pt x="696" y="1361"/>
                      <a:pt x="696" y="1364"/>
                    </a:cubicBezTo>
                    <a:cubicBezTo>
                      <a:pt x="696" y="1365"/>
                      <a:pt x="693" y="1361"/>
                      <a:pt x="692" y="1360"/>
                    </a:cubicBezTo>
                    <a:cubicBezTo>
                      <a:pt x="689" y="1357"/>
                      <a:pt x="691" y="1348"/>
                      <a:pt x="689" y="1347"/>
                    </a:cubicBezTo>
                    <a:cubicBezTo>
                      <a:pt x="675" y="1336"/>
                      <a:pt x="682" y="1353"/>
                      <a:pt x="677" y="1355"/>
                    </a:cubicBezTo>
                    <a:cubicBezTo>
                      <a:pt x="675" y="1355"/>
                      <a:pt x="674" y="1341"/>
                      <a:pt x="674" y="1341"/>
                    </a:cubicBezTo>
                    <a:cubicBezTo>
                      <a:pt x="673" y="1339"/>
                      <a:pt x="671" y="1345"/>
                      <a:pt x="668" y="1342"/>
                    </a:cubicBezTo>
                    <a:cubicBezTo>
                      <a:pt x="660" y="1333"/>
                      <a:pt x="665" y="1336"/>
                      <a:pt x="665" y="1334"/>
                    </a:cubicBezTo>
                    <a:cubicBezTo>
                      <a:pt x="665" y="1333"/>
                      <a:pt x="650" y="1321"/>
                      <a:pt x="653" y="1319"/>
                    </a:cubicBezTo>
                    <a:cubicBezTo>
                      <a:pt x="660" y="1316"/>
                      <a:pt x="665" y="1330"/>
                      <a:pt x="672" y="1332"/>
                    </a:cubicBezTo>
                    <a:cubicBezTo>
                      <a:pt x="673" y="1332"/>
                      <a:pt x="680" y="1333"/>
                      <a:pt x="679" y="1330"/>
                    </a:cubicBezTo>
                    <a:cubicBezTo>
                      <a:pt x="679" y="1329"/>
                      <a:pt x="655" y="1313"/>
                      <a:pt x="653" y="1313"/>
                    </a:cubicBezTo>
                    <a:cubicBezTo>
                      <a:pt x="651" y="1313"/>
                      <a:pt x="647" y="1318"/>
                      <a:pt x="646" y="1317"/>
                    </a:cubicBezTo>
                    <a:cubicBezTo>
                      <a:pt x="645" y="1317"/>
                      <a:pt x="645" y="1317"/>
                      <a:pt x="645" y="1316"/>
                    </a:cubicBezTo>
                    <a:cubicBezTo>
                      <a:pt x="642" y="1311"/>
                      <a:pt x="648" y="1312"/>
                      <a:pt x="648" y="1310"/>
                    </a:cubicBezTo>
                    <a:cubicBezTo>
                      <a:pt x="648" y="1309"/>
                      <a:pt x="641" y="1309"/>
                      <a:pt x="640" y="1308"/>
                    </a:cubicBezTo>
                    <a:cubicBezTo>
                      <a:pt x="630" y="1304"/>
                      <a:pt x="625" y="1288"/>
                      <a:pt x="623" y="1282"/>
                    </a:cubicBezTo>
                    <a:cubicBezTo>
                      <a:pt x="622" y="1281"/>
                      <a:pt x="622" y="1279"/>
                      <a:pt x="620" y="1278"/>
                    </a:cubicBezTo>
                    <a:cubicBezTo>
                      <a:pt x="605" y="1274"/>
                      <a:pt x="600" y="1299"/>
                      <a:pt x="593" y="1291"/>
                    </a:cubicBezTo>
                    <a:cubicBezTo>
                      <a:pt x="592" y="1289"/>
                      <a:pt x="588" y="1283"/>
                      <a:pt x="589" y="1281"/>
                    </a:cubicBezTo>
                    <a:cubicBezTo>
                      <a:pt x="590" y="1279"/>
                      <a:pt x="596" y="1279"/>
                      <a:pt x="593" y="1276"/>
                    </a:cubicBezTo>
                    <a:cubicBezTo>
                      <a:pt x="586" y="1267"/>
                      <a:pt x="568" y="1279"/>
                      <a:pt x="565" y="1275"/>
                    </a:cubicBezTo>
                    <a:cubicBezTo>
                      <a:pt x="564" y="1274"/>
                      <a:pt x="566" y="1267"/>
                      <a:pt x="559" y="1264"/>
                    </a:cubicBezTo>
                    <a:cubicBezTo>
                      <a:pt x="558" y="1264"/>
                      <a:pt x="552" y="1267"/>
                      <a:pt x="552" y="1264"/>
                    </a:cubicBezTo>
                    <a:cubicBezTo>
                      <a:pt x="552" y="1262"/>
                      <a:pt x="565" y="1259"/>
                      <a:pt x="566" y="1254"/>
                    </a:cubicBezTo>
                    <a:cubicBezTo>
                      <a:pt x="566" y="1252"/>
                      <a:pt x="559" y="1255"/>
                      <a:pt x="561" y="1252"/>
                    </a:cubicBezTo>
                    <a:cubicBezTo>
                      <a:pt x="564" y="1241"/>
                      <a:pt x="549" y="1235"/>
                      <a:pt x="549" y="1228"/>
                    </a:cubicBezTo>
                    <a:cubicBezTo>
                      <a:pt x="549" y="1223"/>
                      <a:pt x="559" y="1222"/>
                      <a:pt x="558" y="1217"/>
                    </a:cubicBezTo>
                    <a:cubicBezTo>
                      <a:pt x="558" y="1217"/>
                      <a:pt x="549" y="1218"/>
                      <a:pt x="550" y="1217"/>
                    </a:cubicBezTo>
                    <a:cubicBezTo>
                      <a:pt x="551" y="1216"/>
                      <a:pt x="552" y="1213"/>
                      <a:pt x="552" y="1209"/>
                    </a:cubicBezTo>
                    <a:cubicBezTo>
                      <a:pt x="552" y="1203"/>
                      <a:pt x="551" y="1209"/>
                      <a:pt x="549" y="1204"/>
                    </a:cubicBezTo>
                    <a:cubicBezTo>
                      <a:pt x="548" y="1203"/>
                      <a:pt x="555" y="1186"/>
                      <a:pt x="553" y="1183"/>
                    </a:cubicBezTo>
                    <a:cubicBezTo>
                      <a:pt x="552" y="1182"/>
                      <a:pt x="544" y="1175"/>
                      <a:pt x="544" y="1174"/>
                    </a:cubicBezTo>
                    <a:cubicBezTo>
                      <a:pt x="544" y="1173"/>
                      <a:pt x="554" y="1179"/>
                      <a:pt x="557" y="1179"/>
                    </a:cubicBezTo>
                    <a:cubicBezTo>
                      <a:pt x="560" y="1179"/>
                      <a:pt x="560" y="1175"/>
                      <a:pt x="560" y="1175"/>
                    </a:cubicBezTo>
                    <a:cubicBezTo>
                      <a:pt x="560" y="1174"/>
                      <a:pt x="549" y="1169"/>
                      <a:pt x="548" y="1167"/>
                    </a:cubicBezTo>
                    <a:cubicBezTo>
                      <a:pt x="547" y="1162"/>
                      <a:pt x="560" y="1144"/>
                      <a:pt x="545" y="1141"/>
                    </a:cubicBezTo>
                    <a:cubicBezTo>
                      <a:pt x="539" y="1140"/>
                      <a:pt x="553" y="1139"/>
                      <a:pt x="551" y="1138"/>
                    </a:cubicBezTo>
                    <a:cubicBezTo>
                      <a:pt x="550" y="1138"/>
                      <a:pt x="541" y="1137"/>
                      <a:pt x="541" y="1136"/>
                    </a:cubicBezTo>
                    <a:cubicBezTo>
                      <a:pt x="542" y="1133"/>
                      <a:pt x="548" y="1133"/>
                      <a:pt x="549" y="1133"/>
                    </a:cubicBezTo>
                    <a:cubicBezTo>
                      <a:pt x="549" y="1133"/>
                      <a:pt x="559" y="1135"/>
                      <a:pt x="558" y="1131"/>
                    </a:cubicBezTo>
                    <a:cubicBezTo>
                      <a:pt x="557" y="1129"/>
                      <a:pt x="550" y="1130"/>
                      <a:pt x="549" y="1129"/>
                    </a:cubicBezTo>
                    <a:cubicBezTo>
                      <a:pt x="537" y="1128"/>
                      <a:pt x="570" y="1120"/>
                      <a:pt x="554" y="1117"/>
                    </a:cubicBezTo>
                    <a:cubicBezTo>
                      <a:pt x="554" y="1117"/>
                      <a:pt x="547" y="1117"/>
                      <a:pt x="548" y="1115"/>
                    </a:cubicBezTo>
                    <a:cubicBezTo>
                      <a:pt x="555" y="1106"/>
                      <a:pt x="571" y="1126"/>
                      <a:pt x="577" y="1129"/>
                    </a:cubicBezTo>
                    <a:cubicBezTo>
                      <a:pt x="579" y="1129"/>
                      <a:pt x="579" y="1129"/>
                      <a:pt x="580" y="1128"/>
                    </a:cubicBezTo>
                    <a:cubicBezTo>
                      <a:pt x="588" y="1113"/>
                      <a:pt x="576" y="1118"/>
                      <a:pt x="571" y="1116"/>
                    </a:cubicBezTo>
                    <a:cubicBezTo>
                      <a:pt x="570" y="1115"/>
                      <a:pt x="571" y="1114"/>
                      <a:pt x="571" y="1113"/>
                    </a:cubicBezTo>
                    <a:cubicBezTo>
                      <a:pt x="568" y="1108"/>
                      <a:pt x="564" y="1091"/>
                      <a:pt x="567" y="1082"/>
                    </a:cubicBezTo>
                    <a:cubicBezTo>
                      <a:pt x="568" y="1079"/>
                      <a:pt x="577" y="1076"/>
                      <a:pt x="577" y="1073"/>
                    </a:cubicBezTo>
                    <a:cubicBezTo>
                      <a:pt x="577" y="1073"/>
                      <a:pt x="574" y="1049"/>
                      <a:pt x="581" y="1043"/>
                    </a:cubicBezTo>
                    <a:cubicBezTo>
                      <a:pt x="586" y="1038"/>
                      <a:pt x="581" y="1048"/>
                      <a:pt x="589" y="1044"/>
                    </a:cubicBezTo>
                    <a:cubicBezTo>
                      <a:pt x="591" y="1043"/>
                      <a:pt x="594" y="1041"/>
                      <a:pt x="594" y="1040"/>
                    </a:cubicBezTo>
                    <a:cubicBezTo>
                      <a:pt x="593" y="1037"/>
                      <a:pt x="580" y="1038"/>
                      <a:pt x="577" y="1035"/>
                    </a:cubicBezTo>
                    <a:cubicBezTo>
                      <a:pt x="571" y="1030"/>
                      <a:pt x="563" y="1008"/>
                      <a:pt x="565" y="1003"/>
                    </a:cubicBezTo>
                    <a:cubicBezTo>
                      <a:pt x="572" y="987"/>
                      <a:pt x="584" y="1012"/>
                      <a:pt x="598" y="1011"/>
                    </a:cubicBezTo>
                    <a:cubicBezTo>
                      <a:pt x="600" y="1010"/>
                      <a:pt x="592" y="1007"/>
                      <a:pt x="595" y="1004"/>
                    </a:cubicBezTo>
                    <a:cubicBezTo>
                      <a:pt x="601" y="998"/>
                      <a:pt x="608" y="1005"/>
                      <a:pt x="611" y="1003"/>
                    </a:cubicBezTo>
                    <a:cubicBezTo>
                      <a:pt x="617" y="997"/>
                      <a:pt x="614" y="993"/>
                      <a:pt x="619" y="986"/>
                    </a:cubicBezTo>
                    <a:cubicBezTo>
                      <a:pt x="621" y="983"/>
                      <a:pt x="620" y="988"/>
                      <a:pt x="620" y="988"/>
                    </a:cubicBezTo>
                    <a:cubicBezTo>
                      <a:pt x="621" y="996"/>
                      <a:pt x="622" y="991"/>
                      <a:pt x="626" y="989"/>
                    </a:cubicBezTo>
                    <a:cubicBezTo>
                      <a:pt x="627" y="988"/>
                      <a:pt x="630" y="988"/>
                      <a:pt x="630" y="987"/>
                    </a:cubicBezTo>
                    <a:cubicBezTo>
                      <a:pt x="630" y="979"/>
                      <a:pt x="618" y="982"/>
                      <a:pt x="614" y="977"/>
                    </a:cubicBezTo>
                    <a:cubicBezTo>
                      <a:pt x="612" y="975"/>
                      <a:pt x="623" y="980"/>
                      <a:pt x="624" y="976"/>
                    </a:cubicBezTo>
                    <a:cubicBezTo>
                      <a:pt x="628" y="965"/>
                      <a:pt x="612" y="959"/>
                      <a:pt x="613" y="952"/>
                    </a:cubicBezTo>
                    <a:cubicBezTo>
                      <a:pt x="614" y="948"/>
                      <a:pt x="608" y="935"/>
                      <a:pt x="604" y="934"/>
                    </a:cubicBezTo>
                    <a:cubicBezTo>
                      <a:pt x="603" y="933"/>
                      <a:pt x="597" y="928"/>
                      <a:pt x="598" y="928"/>
                    </a:cubicBezTo>
                    <a:cubicBezTo>
                      <a:pt x="620" y="925"/>
                      <a:pt x="611" y="952"/>
                      <a:pt x="621" y="956"/>
                    </a:cubicBezTo>
                    <a:cubicBezTo>
                      <a:pt x="622" y="957"/>
                      <a:pt x="629" y="950"/>
                      <a:pt x="637" y="954"/>
                    </a:cubicBezTo>
                    <a:cubicBezTo>
                      <a:pt x="639" y="955"/>
                      <a:pt x="633" y="955"/>
                      <a:pt x="631" y="956"/>
                    </a:cubicBezTo>
                    <a:cubicBezTo>
                      <a:pt x="625" y="960"/>
                      <a:pt x="631" y="963"/>
                      <a:pt x="637" y="962"/>
                    </a:cubicBezTo>
                    <a:cubicBezTo>
                      <a:pt x="639" y="961"/>
                      <a:pt x="645" y="951"/>
                      <a:pt x="642" y="959"/>
                    </a:cubicBezTo>
                    <a:cubicBezTo>
                      <a:pt x="640" y="964"/>
                      <a:pt x="653" y="953"/>
                      <a:pt x="650" y="951"/>
                    </a:cubicBezTo>
                    <a:cubicBezTo>
                      <a:pt x="648" y="949"/>
                      <a:pt x="638" y="951"/>
                      <a:pt x="647" y="945"/>
                    </a:cubicBezTo>
                    <a:cubicBezTo>
                      <a:pt x="649" y="942"/>
                      <a:pt x="653" y="952"/>
                      <a:pt x="658" y="952"/>
                    </a:cubicBezTo>
                    <a:cubicBezTo>
                      <a:pt x="660" y="952"/>
                      <a:pt x="668" y="947"/>
                      <a:pt x="667" y="946"/>
                    </a:cubicBezTo>
                    <a:cubicBezTo>
                      <a:pt x="667" y="945"/>
                      <a:pt x="658" y="941"/>
                      <a:pt x="661" y="941"/>
                    </a:cubicBezTo>
                    <a:cubicBezTo>
                      <a:pt x="665" y="940"/>
                      <a:pt x="669" y="946"/>
                      <a:pt x="672" y="939"/>
                    </a:cubicBezTo>
                    <a:cubicBezTo>
                      <a:pt x="672" y="937"/>
                      <a:pt x="659" y="940"/>
                      <a:pt x="659" y="935"/>
                    </a:cubicBezTo>
                    <a:cubicBezTo>
                      <a:pt x="660" y="931"/>
                      <a:pt x="676" y="934"/>
                      <a:pt x="676" y="934"/>
                    </a:cubicBezTo>
                    <a:cubicBezTo>
                      <a:pt x="678" y="926"/>
                      <a:pt x="658" y="929"/>
                      <a:pt x="654" y="929"/>
                    </a:cubicBezTo>
                    <a:cubicBezTo>
                      <a:pt x="653" y="929"/>
                      <a:pt x="646" y="928"/>
                      <a:pt x="646" y="928"/>
                    </a:cubicBezTo>
                    <a:cubicBezTo>
                      <a:pt x="649" y="921"/>
                      <a:pt x="659" y="926"/>
                      <a:pt x="662" y="926"/>
                    </a:cubicBezTo>
                    <a:cubicBezTo>
                      <a:pt x="664" y="925"/>
                      <a:pt x="653" y="920"/>
                      <a:pt x="662" y="920"/>
                    </a:cubicBezTo>
                    <a:cubicBezTo>
                      <a:pt x="664" y="919"/>
                      <a:pt x="666" y="925"/>
                      <a:pt x="668" y="924"/>
                    </a:cubicBezTo>
                    <a:cubicBezTo>
                      <a:pt x="674" y="920"/>
                      <a:pt x="682" y="907"/>
                      <a:pt x="680" y="904"/>
                    </a:cubicBezTo>
                    <a:cubicBezTo>
                      <a:pt x="679" y="903"/>
                      <a:pt x="675" y="902"/>
                      <a:pt x="675" y="902"/>
                    </a:cubicBezTo>
                    <a:cubicBezTo>
                      <a:pt x="677" y="900"/>
                      <a:pt x="691" y="906"/>
                      <a:pt x="692" y="904"/>
                    </a:cubicBezTo>
                    <a:cubicBezTo>
                      <a:pt x="693" y="903"/>
                      <a:pt x="687" y="894"/>
                      <a:pt x="688" y="894"/>
                    </a:cubicBezTo>
                    <a:cubicBezTo>
                      <a:pt x="691" y="891"/>
                      <a:pt x="693" y="891"/>
                      <a:pt x="694" y="891"/>
                    </a:cubicBezTo>
                    <a:cubicBezTo>
                      <a:pt x="689" y="888"/>
                      <a:pt x="701" y="887"/>
                      <a:pt x="704" y="887"/>
                    </a:cubicBezTo>
                    <a:cubicBezTo>
                      <a:pt x="710" y="886"/>
                      <a:pt x="713" y="903"/>
                      <a:pt x="719" y="901"/>
                    </a:cubicBezTo>
                    <a:cubicBezTo>
                      <a:pt x="719" y="901"/>
                      <a:pt x="724" y="895"/>
                      <a:pt x="723" y="895"/>
                    </a:cubicBezTo>
                    <a:cubicBezTo>
                      <a:pt x="720" y="895"/>
                      <a:pt x="714" y="892"/>
                      <a:pt x="719" y="889"/>
                    </a:cubicBezTo>
                    <a:cubicBezTo>
                      <a:pt x="719" y="889"/>
                      <a:pt x="722" y="893"/>
                      <a:pt x="724" y="893"/>
                    </a:cubicBezTo>
                    <a:cubicBezTo>
                      <a:pt x="724" y="893"/>
                      <a:pt x="729" y="872"/>
                      <a:pt x="735" y="879"/>
                    </a:cubicBezTo>
                    <a:cubicBezTo>
                      <a:pt x="736" y="880"/>
                      <a:pt x="736" y="880"/>
                      <a:pt x="737" y="879"/>
                    </a:cubicBezTo>
                    <a:cubicBezTo>
                      <a:pt x="740" y="876"/>
                      <a:pt x="735" y="860"/>
                      <a:pt x="740" y="858"/>
                    </a:cubicBezTo>
                    <a:cubicBezTo>
                      <a:pt x="742" y="858"/>
                      <a:pt x="747" y="857"/>
                      <a:pt x="751" y="860"/>
                    </a:cubicBezTo>
                    <a:cubicBezTo>
                      <a:pt x="752" y="860"/>
                      <a:pt x="759" y="869"/>
                      <a:pt x="760" y="866"/>
                    </a:cubicBezTo>
                    <a:cubicBezTo>
                      <a:pt x="761" y="862"/>
                      <a:pt x="751" y="846"/>
                      <a:pt x="752" y="846"/>
                    </a:cubicBezTo>
                    <a:cubicBezTo>
                      <a:pt x="762" y="837"/>
                      <a:pt x="771" y="865"/>
                      <a:pt x="777" y="863"/>
                    </a:cubicBezTo>
                    <a:cubicBezTo>
                      <a:pt x="779" y="862"/>
                      <a:pt x="790" y="835"/>
                      <a:pt x="794" y="837"/>
                    </a:cubicBezTo>
                    <a:cubicBezTo>
                      <a:pt x="805" y="842"/>
                      <a:pt x="801" y="831"/>
                      <a:pt x="808" y="829"/>
                    </a:cubicBezTo>
                    <a:cubicBezTo>
                      <a:pt x="812" y="828"/>
                      <a:pt x="819" y="834"/>
                      <a:pt x="824" y="831"/>
                    </a:cubicBezTo>
                    <a:cubicBezTo>
                      <a:pt x="825" y="831"/>
                      <a:pt x="825" y="818"/>
                      <a:pt x="829" y="819"/>
                    </a:cubicBezTo>
                    <a:cubicBezTo>
                      <a:pt x="830" y="819"/>
                      <a:pt x="823" y="830"/>
                      <a:pt x="830" y="831"/>
                    </a:cubicBezTo>
                    <a:cubicBezTo>
                      <a:pt x="834" y="832"/>
                      <a:pt x="830" y="817"/>
                      <a:pt x="832" y="816"/>
                    </a:cubicBezTo>
                    <a:cubicBezTo>
                      <a:pt x="837" y="813"/>
                      <a:pt x="831" y="831"/>
                      <a:pt x="838" y="825"/>
                    </a:cubicBezTo>
                    <a:cubicBezTo>
                      <a:pt x="842" y="823"/>
                      <a:pt x="840" y="806"/>
                      <a:pt x="848" y="805"/>
                    </a:cubicBezTo>
                    <a:cubicBezTo>
                      <a:pt x="848" y="805"/>
                      <a:pt x="850" y="807"/>
                      <a:pt x="850" y="808"/>
                    </a:cubicBezTo>
                    <a:cubicBezTo>
                      <a:pt x="851" y="808"/>
                      <a:pt x="860" y="811"/>
                      <a:pt x="864" y="810"/>
                    </a:cubicBezTo>
                    <a:cubicBezTo>
                      <a:pt x="867" y="808"/>
                      <a:pt x="897" y="745"/>
                      <a:pt x="899" y="745"/>
                    </a:cubicBezTo>
                    <a:cubicBezTo>
                      <a:pt x="911" y="743"/>
                      <a:pt x="933" y="713"/>
                      <a:pt x="944" y="712"/>
                    </a:cubicBezTo>
                    <a:cubicBezTo>
                      <a:pt x="946" y="712"/>
                      <a:pt x="947" y="710"/>
                      <a:pt x="946" y="708"/>
                    </a:cubicBezTo>
                    <a:cubicBezTo>
                      <a:pt x="943" y="704"/>
                      <a:pt x="939" y="713"/>
                      <a:pt x="935" y="711"/>
                    </a:cubicBezTo>
                    <a:cubicBezTo>
                      <a:pt x="933" y="710"/>
                      <a:pt x="939" y="699"/>
                      <a:pt x="932" y="702"/>
                    </a:cubicBezTo>
                    <a:cubicBezTo>
                      <a:pt x="930" y="702"/>
                      <a:pt x="922" y="702"/>
                      <a:pt x="923" y="698"/>
                    </a:cubicBezTo>
                    <a:cubicBezTo>
                      <a:pt x="923" y="696"/>
                      <a:pt x="928" y="701"/>
                      <a:pt x="928" y="701"/>
                    </a:cubicBezTo>
                    <a:cubicBezTo>
                      <a:pt x="930" y="700"/>
                      <a:pt x="932" y="694"/>
                      <a:pt x="934" y="697"/>
                    </a:cubicBezTo>
                    <a:cubicBezTo>
                      <a:pt x="940" y="708"/>
                      <a:pt x="940" y="689"/>
                      <a:pt x="934" y="694"/>
                    </a:cubicBezTo>
                    <a:cubicBezTo>
                      <a:pt x="932" y="696"/>
                      <a:pt x="929" y="691"/>
                      <a:pt x="928" y="690"/>
                    </a:cubicBezTo>
                    <a:cubicBezTo>
                      <a:pt x="923" y="683"/>
                      <a:pt x="925" y="696"/>
                      <a:pt x="923" y="693"/>
                    </a:cubicBezTo>
                    <a:cubicBezTo>
                      <a:pt x="919" y="688"/>
                      <a:pt x="918" y="681"/>
                      <a:pt x="913" y="680"/>
                    </a:cubicBezTo>
                    <a:cubicBezTo>
                      <a:pt x="910" y="679"/>
                      <a:pt x="902" y="678"/>
                      <a:pt x="902" y="674"/>
                    </a:cubicBezTo>
                    <a:cubicBezTo>
                      <a:pt x="902" y="673"/>
                      <a:pt x="901" y="670"/>
                      <a:pt x="902" y="670"/>
                    </a:cubicBezTo>
                    <a:cubicBezTo>
                      <a:pt x="904" y="666"/>
                      <a:pt x="910" y="673"/>
                      <a:pt x="912" y="674"/>
                    </a:cubicBezTo>
                    <a:cubicBezTo>
                      <a:pt x="928" y="684"/>
                      <a:pt x="912" y="671"/>
                      <a:pt x="913" y="667"/>
                    </a:cubicBezTo>
                    <a:cubicBezTo>
                      <a:pt x="913" y="664"/>
                      <a:pt x="919" y="668"/>
                      <a:pt x="920" y="665"/>
                    </a:cubicBezTo>
                    <a:cubicBezTo>
                      <a:pt x="922" y="659"/>
                      <a:pt x="890" y="665"/>
                      <a:pt x="896" y="652"/>
                    </a:cubicBezTo>
                    <a:cubicBezTo>
                      <a:pt x="898" y="645"/>
                      <a:pt x="900" y="655"/>
                      <a:pt x="903" y="655"/>
                    </a:cubicBezTo>
                    <a:cubicBezTo>
                      <a:pt x="912" y="656"/>
                      <a:pt x="910" y="639"/>
                      <a:pt x="914" y="636"/>
                    </a:cubicBezTo>
                    <a:cubicBezTo>
                      <a:pt x="917" y="633"/>
                      <a:pt x="924" y="636"/>
                      <a:pt x="927" y="634"/>
                    </a:cubicBezTo>
                    <a:cubicBezTo>
                      <a:pt x="931" y="631"/>
                      <a:pt x="935" y="619"/>
                      <a:pt x="939" y="619"/>
                    </a:cubicBezTo>
                    <a:cubicBezTo>
                      <a:pt x="940" y="619"/>
                      <a:pt x="947" y="618"/>
                      <a:pt x="943" y="617"/>
                    </a:cubicBezTo>
                    <a:cubicBezTo>
                      <a:pt x="938" y="615"/>
                      <a:pt x="942" y="614"/>
                      <a:pt x="943" y="610"/>
                    </a:cubicBezTo>
                    <a:cubicBezTo>
                      <a:pt x="943" y="607"/>
                      <a:pt x="948" y="608"/>
                      <a:pt x="948" y="605"/>
                    </a:cubicBezTo>
                    <a:cubicBezTo>
                      <a:pt x="947" y="600"/>
                      <a:pt x="932" y="581"/>
                      <a:pt x="928" y="579"/>
                    </a:cubicBezTo>
                    <a:cubicBezTo>
                      <a:pt x="927" y="578"/>
                      <a:pt x="915" y="580"/>
                      <a:pt x="915" y="577"/>
                    </a:cubicBezTo>
                    <a:cubicBezTo>
                      <a:pt x="915" y="574"/>
                      <a:pt x="924" y="577"/>
                      <a:pt x="921" y="573"/>
                    </a:cubicBezTo>
                    <a:cubicBezTo>
                      <a:pt x="919" y="570"/>
                      <a:pt x="927" y="575"/>
                      <a:pt x="928" y="576"/>
                    </a:cubicBezTo>
                    <a:cubicBezTo>
                      <a:pt x="932" y="581"/>
                      <a:pt x="944" y="598"/>
                      <a:pt x="951" y="590"/>
                    </a:cubicBezTo>
                    <a:cubicBezTo>
                      <a:pt x="961" y="581"/>
                      <a:pt x="933" y="578"/>
                      <a:pt x="934" y="570"/>
                    </a:cubicBezTo>
                    <a:cubicBezTo>
                      <a:pt x="934" y="567"/>
                      <a:pt x="943" y="570"/>
                      <a:pt x="945" y="569"/>
                    </a:cubicBezTo>
                    <a:cubicBezTo>
                      <a:pt x="958" y="565"/>
                      <a:pt x="974" y="571"/>
                      <a:pt x="975" y="562"/>
                    </a:cubicBezTo>
                    <a:cubicBezTo>
                      <a:pt x="976" y="557"/>
                      <a:pt x="977" y="562"/>
                      <a:pt x="979" y="563"/>
                    </a:cubicBezTo>
                    <a:cubicBezTo>
                      <a:pt x="980" y="563"/>
                      <a:pt x="982" y="564"/>
                      <a:pt x="983" y="563"/>
                    </a:cubicBezTo>
                    <a:cubicBezTo>
                      <a:pt x="988" y="548"/>
                      <a:pt x="967" y="557"/>
                      <a:pt x="968" y="547"/>
                    </a:cubicBezTo>
                    <a:cubicBezTo>
                      <a:pt x="968" y="546"/>
                      <a:pt x="972" y="547"/>
                      <a:pt x="972" y="547"/>
                    </a:cubicBezTo>
                    <a:cubicBezTo>
                      <a:pt x="981" y="553"/>
                      <a:pt x="987" y="546"/>
                      <a:pt x="992" y="547"/>
                    </a:cubicBezTo>
                    <a:cubicBezTo>
                      <a:pt x="993" y="547"/>
                      <a:pt x="1000" y="546"/>
                      <a:pt x="999" y="545"/>
                    </a:cubicBezTo>
                    <a:cubicBezTo>
                      <a:pt x="990" y="536"/>
                      <a:pt x="972" y="533"/>
                      <a:pt x="962" y="523"/>
                    </a:cubicBezTo>
                    <a:cubicBezTo>
                      <a:pt x="962" y="523"/>
                      <a:pt x="958" y="518"/>
                      <a:pt x="961" y="518"/>
                    </a:cubicBezTo>
                    <a:cubicBezTo>
                      <a:pt x="965" y="517"/>
                      <a:pt x="1013" y="550"/>
                      <a:pt x="1018" y="546"/>
                    </a:cubicBezTo>
                    <a:cubicBezTo>
                      <a:pt x="1022" y="544"/>
                      <a:pt x="1016" y="539"/>
                      <a:pt x="1014" y="538"/>
                    </a:cubicBezTo>
                    <a:cubicBezTo>
                      <a:pt x="1011" y="537"/>
                      <a:pt x="1011" y="532"/>
                      <a:pt x="1011" y="529"/>
                    </a:cubicBezTo>
                    <a:cubicBezTo>
                      <a:pt x="1010" y="526"/>
                      <a:pt x="1005" y="525"/>
                      <a:pt x="1008" y="530"/>
                    </a:cubicBezTo>
                    <a:cubicBezTo>
                      <a:pt x="1011" y="533"/>
                      <a:pt x="994" y="534"/>
                      <a:pt x="998" y="533"/>
                    </a:cubicBezTo>
                    <a:cubicBezTo>
                      <a:pt x="1010" y="532"/>
                      <a:pt x="1003" y="532"/>
                      <a:pt x="1004" y="523"/>
                    </a:cubicBezTo>
                    <a:cubicBezTo>
                      <a:pt x="1005" y="517"/>
                      <a:pt x="1011" y="525"/>
                      <a:pt x="1011" y="527"/>
                    </a:cubicBezTo>
                    <a:cubicBezTo>
                      <a:pt x="1012" y="528"/>
                      <a:pt x="1016" y="526"/>
                      <a:pt x="1016" y="523"/>
                    </a:cubicBezTo>
                    <a:cubicBezTo>
                      <a:pt x="1015" y="518"/>
                      <a:pt x="998" y="518"/>
                      <a:pt x="1000" y="513"/>
                    </a:cubicBezTo>
                    <a:cubicBezTo>
                      <a:pt x="1001" y="511"/>
                      <a:pt x="1010" y="521"/>
                      <a:pt x="1013" y="514"/>
                    </a:cubicBezTo>
                    <a:cubicBezTo>
                      <a:pt x="1014" y="511"/>
                      <a:pt x="1010" y="501"/>
                      <a:pt x="1012" y="501"/>
                    </a:cubicBezTo>
                    <a:cubicBezTo>
                      <a:pt x="1015" y="500"/>
                      <a:pt x="1012" y="498"/>
                      <a:pt x="1014" y="497"/>
                    </a:cubicBezTo>
                    <a:cubicBezTo>
                      <a:pt x="1027" y="491"/>
                      <a:pt x="1024" y="508"/>
                      <a:pt x="1027" y="510"/>
                    </a:cubicBezTo>
                    <a:cubicBezTo>
                      <a:pt x="1028" y="511"/>
                      <a:pt x="1033" y="505"/>
                      <a:pt x="1036" y="507"/>
                    </a:cubicBezTo>
                    <a:cubicBezTo>
                      <a:pt x="1038" y="508"/>
                      <a:pt x="1038" y="514"/>
                      <a:pt x="1040" y="514"/>
                    </a:cubicBezTo>
                    <a:cubicBezTo>
                      <a:pt x="1045" y="512"/>
                      <a:pt x="1045" y="498"/>
                      <a:pt x="1041" y="494"/>
                    </a:cubicBezTo>
                    <a:cubicBezTo>
                      <a:pt x="1041" y="494"/>
                      <a:pt x="1036" y="490"/>
                      <a:pt x="1039" y="490"/>
                    </a:cubicBezTo>
                    <a:cubicBezTo>
                      <a:pt x="1044" y="490"/>
                      <a:pt x="1078" y="518"/>
                      <a:pt x="1078" y="518"/>
                    </a:cubicBezTo>
                    <a:cubicBezTo>
                      <a:pt x="1078" y="518"/>
                      <a:pt x="1076" y="521"/>
                      <a:pt x="1078" y="522"/>
                    </a:cubicBezTo>
                    <a:cubicBezTo>
                      <a:pt x="1084" y="522"/>
                      <a:pt x="1081" y="515"/>
                      <a:pt x="1084" y="514"/>
                    </a:cubicBezTo>
                    <a:cubicBezTo>
                      <a:pt x="1085" y="514"/>
                      <a:pt x="1091" y="513"/>
                      <a:pt x="1091" y="512"/>
                    </a:cubicBezTo>
                    <a:cubicBezTo>
                      <a:pt x="1092" y="508"/>
                      <a:pt x="1085" y="502"/>
                      <a:pt x="1088" y="502"/>
                    </a:cubicBezTo>
                    <a:cubicBezTo>
                      <a:pt x="1092" y="502"/>
                      <a:pt x="1109" y="512"/>
                      <a:pt x="1109" y="512"/>
                    </a:cubicBezTo>
                    <a:cubicBezTo>
                      <a:pt x="1110" y="512"/>
                      <a:pt x="1108" y="501"/>
                      <a:pt x="1113" y="501"/>
                    </a:cubicBezTo>
                    <a:cubicBezTo>
                      <a:pt x="1124" y="501"/>
                      <a:pt x="1138" y="508"/>
                      <a:pt x="1152" y="513"/>
                    </a:cubicBezTo>
                    <a:cubicBezTo>
                      <a:pt x="1154" y="513"/>
                      <a:pt x="1175" y="505"/>
                      <a:pt x="1175" y="505"/>
                    </a:cubicBezTo>
                    <a:cubicBezTo>
                      <a:pt x="1165" y="470"/>
                      <a:pt x="1128" y="453"/>
                      <a:pt x="1128" y="414"/>
                    </a:cubicBezTo>
                    <a:cubicBezTo>
                      <a:pt x="1128" y="397"/>
                      <a:pt x="1143" y="401"/>
                      <a:pt x="1149" y="389"/>
                    </a:cubicBezTo>
                    <a:close/>
                    <a:moveTo>
                      <a:pt x="479" y="1608"/>
                    </a:moveTo>
                    <a:cubicBezTo>
                      <a:pt x="479" y="1608"/>
                      <a:pt x="479" y="1608"/>
                      <a:pt x="479" y="1608"/>
                    </a:cubicBezTo>
                    <a:cubicBezTo>
                      <a:pt x="481" y="1610"/>
                      <a:pt x="485" y="1613"/>
                      <a:pt x="487" y="1613"/>
                    </a:cubicBezTo>
                    <a:cubicBezTo>
                      <a:pt x="489" y="1614"/>
                      <a:pt x="465" y="1612"/>
                      <a:pt x="465" y="1609"/>
                    </a:cubicBezTo>
                    <a:cubicBezTo>
                      <a:pt x="464" y="1604"/>
                      <a:pt x="476" y="1604"/>
                      <a:pt x="479" y="1608"/>
                    </a:cubicBezTo>
                    <a:close/>
                    <a:moveTo>
                      <a:pt x="523" y="1495"/>
                    </a:moveTo>
                    <a:cubicBezTo>
                      <a:pt x="533" y="1503"/>
                      <a:pt x="548" y="1497"/>
                      <a:pt x="546" y="1509"/>
                    </a:cubicBezTo>
                    <a:cubicBezTo>
                      <a:pt x="546" y="1514"/>
                      <a:pt x="534" y="1504"/>
                      <a:pt x="529" y="1506"/>
                    </a:cubicBezTo>
                    <a:cubicBezTo>
                      <a:pt x="529" y="1507"/>
                      <a:pt x="529" y="1507"/>
                      <a:pt x="529" y="1507"/>
                    </a:cubicBezTo>
                    <a:cubicBezTo>
                      <a:pt x="522" y="1519"/>
                      <a:pt x="529" y="1501"/>
                      <a:pt x="526" y="1501"/>
                    </a:cubicBezTo>
                    <a:cubicBezTo>
                      <a:pt x="524" y="1500"/>
                      <a:pt x="521" y="1494"/>
                      <a:pt x="523" y="1495"/>
                    </a:cubicBezTo>
                    <a:close/>
                    <a:moveTo>
                      <a:pt x="683" y="1385"/>
                    </a:moveTo>
                    <a:cubicBezTo>
                      <a:pt x="683" y="1388"/>
                      <a:pt x="676" y="1388"/>
                      <a:pt x="674" y="1388"/>
                    </a:cubicBezTo>
                    <a:cubicBezTo>
                      <a:pt x="658" y="1385"/>
                      <a:pt x="680" y="1380"/>
                      <a:pt x="683" y="1385"/>
                    </a:cubicBezTo>
                    <a:close/>
                    <a:moveTo>
                      <a:pt x="666" y="242"/>
                    </a:moveTo>
                    <a:cubicBezTo>
                      <a:pt x="667" y="239"/>
                      <a:pt x="710" y="256"/>
                      <a:pt x="714" y="256"/>
                    </a:cubicBezTo>
                    <a:cubicBezTo>
                      <a:pt x="715" y="257"/>
                      <a:pt x="715" y="257"/>
                      <a:pt x="715" y="257"/>
                    </a:cubicBezTo>
                    <a:cubicBezTo>
                      <a:pt x="718" y="257"/>
                      <a:pt x="727" y="256"/>
                      <a:pt x="725" y="258"/>
                    </a:cubicBezTo>
                    <a:cubicBezTo>
                      <a:pt x="714" y="266"/>
                      <a:pt x="679" y="249"/>
                      <a:pt x="668" y="246"/>
                    </a:cubicBezTo>
                    <a:cubicBezTo>
                      <a:pt x="666" y="245"/>
                      <a:pt x="665" y="244"/>
                      <a:pt x="666" y="242"/>
                    </a:cubicBezTo>
                    <a:close/>
                    <a:moveTo>
                      <a:pt x="473" y="261"/>
                    </a:moveTo>
                    <a:cubicBezTo>
                      <a:pt x="473" y="258"/>
                      <a:pt x="492" y="260"/>
                      <a:pt x="491" y="258"/>
                    </a:cubicBezTo>
                    <a:cubicBezTo>
                      <a:pt x="490" y="256"/>
                      <a:pt x="470" y="249"/>
                      <a:pt x="480" y="246"/>
                    </a:cubicBezTo>
                    <a:cubicBezTo>
                      <a:pt x="486" y="244"/>
                      <a:pt x="520" y="250"/>
                      <a:pt x="527" y="240"/>
                    </a:cubicBezTo>
                    <a:cubicBezTo>
                      <a:pt x="527" y="240"/>
                      <a:pt x="499" y="237"/>
                      <a:pt x="503" y="234"/>
                    </a:cubicBezTo>
                    <a:cubicBezTo>
                      <a:pt x="511" y="227"/>
                      <a:pt x="528" y="239"/>
                      <a:pt x="536" y="238"/>
                    </a:cubicBezTo>
                    <a:cubicBezTo>
                      <a:pt x="546" y="236"/>
                      <a:pt x="536" y="231"/>
                      <a:pt x="542" y="232"/>
                    </a:cubicBezTo>
                    <a:cubicBezTo>
                      <a:pt x="543" y="232"/>
                      <a:pt x="552" y="233"/>
                      <a:pt x="551" y="235"/>
                    </a:cubicBezTo>
                    <a:cubicBezTo>
                      <a:pt x="549" y="245"/>
                      <a:pt x="501" y="250"/>
                      <a:pt x="492" y="252"/>
                    </a:cubicBezTo>
                    <a:cubicBezTo>
                      <a:pt x="490" y="253"/>
                      <a:pt x="494" y="258"/>
                      <a:pt x="497" y="259"/>
                    </a:cubicBezTo>
                    <a:cubicBezTo>
                      <a:pt x="501" y="260"/>
                      <a:pt x="514" y="259"/>
                      <a:pt x="516" y="264"/>
                    </a:cubicBezTo>
                    <a:cubicBezTo>
                      <a:pt x="517" y="267"/>
                      <a:pt x="507" y="264"/>
                      <a:pt x="506" y="264"/>
                    </a:cubicBezTo>
                    <a:cubicBezTo>
                      <a:pt x="496" y="263"/>
                      <a:pt x="510" y="272"/>
                      <a:pt x="509" y="274"/>
                    </a:cubicBezTo>
                    <a:cubicBezTo>
                      <a:pt x="506" y="279"/>
                      <a:pt x="473" y="262"/>
                      <a:pt x="473" y="261"/>
                    </a:cubicBezTo>
                    <a:close/>
                    <a:moveTo>
                      <a:pt x="476" y="322"/>
                    </a:moveTo>
                    <a:cubicBezTo>
                      <a:pt x="482" y="312"/>
                      <a:pt x="515" y="338"/>
                      <a:pt x="513" y="337"/>
                    </a:cubicBezTo>
                    <a:cubicBezTo>
                      <a:pt x="512" y="337"/>
                      <a:pt x="512" y="337"/>
                      <a:pt x="512" y="337"/>
                    </a:cubicBezTo>
                    <a:cubicBezTo>
                      <a:pt x="507" y="335"/>
                      <a:pt x="496" y="332"/>
                      <a:pt x="490" y="333"/>
                    </a:cubicBezTo>
                    <a:cubicBezTo>
                      <a:pt x="481" y="333"/>
                      <a:pt x="503" y="330"/>
                      <a:pt x="491" y="327"/>
                    </a:cubicBezTo>
                    <a:cubicBezTo>
                      <a:pt x="489" y="326"/>
                      <a:pt x="484" y="325"/>
                      <a:pt x="483" y="327"/>
                    </a:cubicBezTo>
                    <a:cubicBezTo>
                      <a:pt x="481" y="328"/>
                      <a:pt x="474" y="326"/>
                      <a:pt x="476" y="322"/>
                    </a:cubicBezTo>
                    <a:close/>
                    <a:moveTo>
                      <a:pt x="526" y="345"/>
                    </a:moveTo>
                    <a:cubicBezTo>
                      <a:pt x="526" y="346"/>
                      <a:pt x="527" y="346"/>
                      <a:pt x="527" y="346"/>
                    </a:cubicBezTo>
                    <a:cubicBezTo>
                      <a:pt x="527" y="346"/>
                      <a:pt x="508" y="344"/>
                      <a:pt x="508" y="344"/>
                    </a:cubicBezTo>
                    <a:cubicBezTo>
                      <a:pt x="496" y="342"/>
                      <a:pt x="484" y="341"/>
                      <a:pt x="471" y="344"/>
                    </a:cubicBezTo>
                    <a:cubicBezTo>
                      <a:pt x="471" y="344"/>
                      <a:pt x="471" y="344"/>
                      <a:pt x="471" y="344"/>
                    </a:cubicBezTo>
                    <a:cubicBezTo>
                      <a:pt x="431" y="327"/>
                      <a:pt x="517" y="341"/>
                      <a:pt x="526" y="345"/>
                    </a:cubicBezTo>
                    <a:close/>
                    <a:moveTo>
                      <a:pt x="508" y="409"/>
                    </a:moveTo>
                    <a:cubicBezTo>
                      <a:pt x="505" y="409"/>
                      <a:pt x="505" y="409"/>
                      <a:pt x="505" y="409"/>
                    </a:cubicBezTo>
                    <a:cubicBezTo>
                      <a:pt x="485" y="405"/>
                      <a:pt x="457" y="384"/>
                      <a:pt x="473" y="380"/>
                    </a:cubicBezTo>
                    <a:cubicBezTo>
                      <a:pt x="476" y="380"/>
                      <a:pt x="481" y="396"/>
                      <a:pt x="486" y="399"/>
                    </a:cubicBezTo>
                    <a:cubicBezTo>
                      <a:pt x="495" y="405"/>
                      <a:pt x="534" y="409"/>
                      <a:pt x="508" y="409"/>
                    </a:cubicBezTo>
                    <a:close/>
                    <a:moveTo>
                      <a:pt x="453" y="597"/>
                    </a:moveTo>
                    <a:cubicBezTo>
                      <a:pt x="455" y="596"/>
                      <a:pt x="463" y="602"/>
                      <a:pt x="464" y="602"/>
                    </a:cubicBezTo>
                    <a:cubicBezTo>
                      <a:pt x="483" y="611"/>
                      <a:pt x="484" y="626"/>
                      <a:pt x="496" y="643"/>
                    </a:cubicBezTo>
                    <a:cubicBezTo>
                      <a:pt x="503" y="653"/>
                      <a:pt x="497" y="634"/>
                      <a:pt x="505" y="645"/>
                    </a:cubicBezTo>
                    <a:cubicBezTo>
                      <a:pt x="506" y="646"/>
                      <a:pt x="516" y="649"/>
                      <a:pt x="516" y="649"/>
                    </a:cubicBezTo>
                    <a:cubicBezTo>
                      <a:pt x="515" y="651"/>
                      <a:pt x="500" y="650"/>
                      <a:pt x="493" y="646"/>
                    </a:cubicBezTo>
                    <a:cubicBezTo>
                      <a:pt x="486" y="641"/>
                      <a:pt x="483" y="623"/>
                      <a:pt x="475" y="621"/>
                    </a:cubicBezTo>
                    <a:cubicBezTo>
                      <a:pt x="474" y="621"/>
                      <a:pt x="464" y="618"/>
                      <a:pt x="465" y="617"/>
                    </a:cubicBezTo>
                    <a:cubicBezTo>
                      <a:pt x="467" y="613"/>
                      <a:pt x="481" y="621"/>
                      <a:pt x="475" y="615"/>
                    </a:cubicBezTo>
                    <a:cubicBezTo>
                      <a:pt x="472" y="612"/>
                      <a:pt x="464" y="606"/>
                      <a:pt x="460" y="603"/>
                    </a:cubicBezTo>
                    <a:cubicBezTo>
                      <a:pt x="459" y="603"/>
                      <a:pt x="452" y="598"/>
                      <a:pt x="453" y="597"/>
                    </a:cubicBezTo>
                    <a:close/>
                    <a:moveTo>
                      <a:pt x="395" y="527"/>
                    </a:moveTo>
                    <a:cubicBezTo>
                      <a:pt x="401" y="530"/>
                      <a:pt x="423" y="555"/>
                      <a:pt x="407" y="548"/>
                    </a:cubicBezTo>
                    <a:cubicBezTo>
                      <a:pt x="406" y="547"/>
                      <a:pt x="406" y="547"/>
                      <a:pt x="406" y="547"/>
                    </a:cubicBezTo>
                    <a:cubicBezTo>
                      <a:pt x="401" y="542"/>
                      <a:pt x="401" y="535"/>
                      <a:pt x="396" y="532"/>
                    </a:cubicBezTo>
                    <a:cubicBezTo>
                      <a:pt x="383" y="522"/>
                      <a:pt x="376" y="516"/>
                      <a:pt x="395" y="527"/>
                    </a:cubicBezTo>
                    <a:close/>
                    <a:moveTo>
                      <a:pt x="370" y="529"/>
                    </a:moveTo>
                    <a:cubicBezTo>
                      <a:pt x="386" y="529"/>
                      <a:pt x="392" y="551"/>
                      <a:pt x="402" y="554"/>
                    </a:cubicBezTo>
                    <a:cubicBezTo>
                      <a:pt x="405" y="555"/>
                      <a:pt x="427" y="552"/>
                      <a:pt x="429" y="556"/>
                    </a:cubicBezTo>
                    <a:cubicBezTo>
                      <a:pt x="429" y="557"/>
                      <a:pt x="423" y="557"/>
                      <a:pt x="422" y="557"/>
                    </a:cubicBezTo>
                    <a:cubicBezTo>
                      <a:pt x="414" y="556"/>
                      <a:pt x="406" y="559"/>
                      <a:pt x="398" y="558"/>
                    </a:cubicBezTo>
                    <a:cubicBezTo>
                      <a:pt x="393" y="557"/>
                      <a:pt x="376" y="543"/>
                      <a:pt x="375" y="539"/>
                    </a:cubicBezTo>
                    <a:cubicBezTo>
                      <a:pt x="375" y="538"/>
                      <a:pt x="367" y="529"/>
                      <a:pt x="370" y="529"/>
                    </a:cubicBezTo>
                    <a:close/>
                    <a:moveTo>
                      <a:pt x="316" y="457"/>
                    </a:moveTo>
                    <a:cubicBezTo>
                      <a:pt x="318" y="451"/>
                      <a:pt x="354" y="466"/>
                      <a:pt x="365" y="472"/>
                    </a:cubicBezTo>
                    <a:cubicBezTo>
                      <a:pt x="371" y="476"/>
                      <a:pt x="358" y="482"/>
                      <a:pt x="359" y="479"/>
                    </a:cubicBezTo>
                    <a:cubicBezTo>
                      <a:pt x="359" y="479"/>
                      <a:pt x="359" y="479"/>
                      <a:pt x="359" y="479"/>
                    </a:cubicBezTo>
                    <a:cubicBezTo>
                      <a:pt x="362" y="467"/>
                      <a:pt x="314" y="462"/>
                      <a:pt x="316" y="457"/>
                    </a:cubicBezTo>
                    <a:close/>
                    <a:moveTo>
                      <a:pt x="366" y="625"/>
                    </a:moveTo>
                    <a:cubicBezTo>
                      <a:pt x="362" y="624"/>
                      <a:pt x="340" y="623"/>
                      <a:pt x="339" y="620"/>
                    </a:cubicBezTo>
                    <a:cubicBezTo>
                      <a:pt x="339" y="613"/>
                      <a:pt x="368" y="623"/>
                      <a:pt x="370" y="623"/>
                    </a:cubicBezTo>
                    <a:cubicBezTo>
                      <a:pt x="375" y="624"/>
                      <a:pt x="370" y="614"/>
                      <a:pt x="373" y="615"/>
                    </a:cubicBezTo>
                    <a:cubicBezTo>
                      <a:pt x="376" y="615"/>
                      <a:pt x="376" y="625"/>
                      <a:pt x="382" y="627"/>
                    </a:cubicBezTo>
                    <a:cubicBezTo>
                      <a:pt x="383" y="628"/>
                      <a:pt x="383" y="628"/>
                      <a:pt x="383" y="628"/>
                    </a:cubicBezTo>
                    <a:cubicBezTo>
                      <a:pt x="385" y="630"/>
                      <a:pt x="399" y="632"/>
                      <a:pt x="399" y="632"/>
                    </a:cubicBezTo>
                    <a:cubicBezTo>
                      <a:pt x="396" y="640"/>
                      <a:pt x="370" y="627"/>
                      <a:pt x="366" y="625"/>
                    </a:cubicBezTo>
                    <a:close/>
                    <a:moveTo>
                      <a:pt x="428" y="758"/>
                    </a:moveTo>
                    <a:cubicBezTo>
                      <a:pt x="426" y="756"/>
                      <a:pt x="411" y="746"/>
                      <a:pt x="408" y="745"/>
                    </a:cubicBezTo>
                    <a:cubicBezTo>
                      <a:pt x="407" y="745"/>
                      <a:pt x="396" y="742"/>
                      <a:pt x="398" y="741"/>
                    </a:cubicBezTo>
                    <a:cubicBezTo>
                      <a:pt x="407" y="737"/>
                      <a:pt x="447" y="755"/>
                      <a:pt x="436" y="777"/>
                    </a:cubicBezTo>
                    <a:cubicBezTo>
                      <a:pt x="436" y="778"/>
                      <a:pt x="436" y="778"/>
                      <a:pt x="436" y="778"/>
                    </a:cubicBezTo>
                    <a:cubicBezTo>
                      <a:pt x="429" y="793"/>
                      <a:pt x="433" y="762"/>
                      <a:pt x="428" y="758"/>
                    </a:cubicBezTo>
                    <a:close/>
                    <a:moveTo>
                      <a:pt x="407" y="1189"/>
                    </a:moveTo>
                    <a:cubicBezTo>
                      <a:pt x="412" y="1188"/>
                      <a:pt x="408" y="1191"/>
                      <a:pt x="412" y="1193"/>
                    </a:cubicBezTo>
                    <a:cubicBezTo>
                      <a:pt x="412" y="1193"/>
                      <a:pt x="412" y="1193"/>
                      <a:pt x="412" y="1193"/>
                    </a:cubicBezTo>
                    <a:cubicBezTo>
                      <a:pt x="425" y="1197"/>
                      <a:pt x="415" y="1199"/>
                      <a:pt x="420" y="1207"/>
                    </a:cubicBezTo>
                    <a:cubicBezTo>
                      <a:pt x="421" y="1208"/>
                      <a:pt x="427" y="1215"/>
                      <a:pt x="424" y="1215"/>
                    </a:cubicBezTo>
                    <a:cubicBezTo>
                      <a:pt x="412" y="1214"/>
                      <a:pt x="414" y="1191"/>
                      <a:pt x="398" y="1193"/>
                    </a:cubicBezTo>
                    <a:cubicBezTo>
                      <a:pt x="388" y="1194"/>
                      <a:pt x="405" y="1189"/>
                      <a:pt x="407" y="1189"/>
                    </a:cubicBezTo>
                    <a:close/>
                    <a:moveTo>
                      <a:pt x="424" y="1283"/>
                    </a:moveTo>
                    <a:cubicBezTo>
                      <a:pt x="424" y="1283"/>
                      <a:pt x="424" y="1283"/>
                      <a:pt x="424" y="1283"/>
                    </a:cubicBezTo>
                    <a:cubicBezTo>
                      <a:pt x="425" y="1291"/>
                      <a:pt x="401" y="1306"/>
                      <a:pt x="414" y="1285"/>
                    </a:cubicBezTo>
                    <a:cubicBezTo>
                      <a:pt x="415" y="1282"/>
                      <a:pt x="418" y="1276"/>
                      <a:pt x="424" y="1283"/>
                    </a:cubicBezTo>
                    <a:close/>
                    <a:moveTo>
                      <a:pt x="382" y="1446"/>
                    </a:moveTo>
                    <a:cubicBezTo>
                      <a:pt x="381" y="1443"/>
                      <a:pt x="393" y="1438"/>
                      <a:pt x="391" y="1444"/>
                    </a:cubicBezTo>
                    <a:cubicBezTo>
                      <a:pt x="391" y="1444"/>
                      <a:pt x="391" y="1444"/>
                      <a:pt x="391" y="1444"/>
                    </a:cubicBezTo>
                    <a:cubicBezTo>
                      <a:pt x="403" y="1451"/>
                      <a:pt x="384" y="1453"/>
                      <a:pt x="382" y="1446"/>
                    </a:cubicBezTo>
                    <a:close/>
                    <a:moveTo>
                      <a:pt x="397" y="1011"/>
                    </a:moveTo>
                    <a:cubicBezTo>
                      <a:pt x="398" y="1015"/>
                      <a:pt x="382" y="1013"/>
                      <a:pt x="373" y="1016"/>
                    </a:cubicBezTo>
                    <a:cubicBezTo>
                      <a:pt x="377" y="1015"/>
                      <a:pt x="380" y="1013"/>
                      <a:pt x="382" y="1011"/>
                    </a:cubicBezTo>
                    <a:cubicBezTo>
                      <a:pt x="382" y="1011"/>
                      <a:pt x="373" y="1001"/>
                      <a:pt x="381" y="1007"/>
                    </a:cubicBezTo>
                    <a:cubicBezTo>
                      <a:pt x="391" y="1015"/>
                      <a:pt x="387" y="1004"/>
                      <a:pt x="381" y="1003"/>
                    </a:cubicBezTo>
                    <a:cubicBezTo>
                      <a:pt x="380" y="1003"/>
                      <a:pt x="377" y="1003"/>
                      <a:pt x="377" y="1002"/>
                    </a:cubicBezTo>
                    <a:cubicBezTo>
                      <a:pt x="378" y="999"/>
                      <a:pt x="397" y="1009"/>
                      <a:pt x="397" y="1011"/>
                    </a:cubicBezTo>
                    <a:close/>
                    <a:moveTo>
                      <a:pt x="375" y="1507"/>
                    </a:moveTo>
                    <a:cubicBezTo>
                      <a:pt x="374" y="1507"/>
                      <a:pt x="374" y="1507"/>
                      <a:pt x="374" y="1507"/>
                    </a:cubicBezTo>
                    <a:cubicBezTo>
                      <a:pt x="368" y="1511"/>
                      <a:pt x="359" y="1505"/>
                      <a:pt x="366" y="1505"/>
                    </a:cubicBezTo>
                    <a:cubicBezTo>
                      <a:pt x="369" y="1505"/>
                      <a:pt x="380" y="1505"/>
                      <a:pt x="375" y="1507"/>
                    </a:cubicBezTo>
                    <a:close/>
                    <a:moveTo>
                      <a:pt x="382" y="1570"/>
                    </a:moveTo>
                    <a:cubicBezTo>
                      <a:pt x="382" y="1571"/>
                      <a:pt x="382" y="1571"/>
                      <a:pt x="382" y="1571"/>
                    </a:cubicBezTo>
                    <a:cubicBezTo>
                      <a:pt x="379" y="1572"/>
                      <a:pt x="372" y="1575"/>
                      <a:pt x="369" y="1572"/>
                    </a:cubicBezTo>
                    <a:cubicBezTo>
                      <a:pt x="368" y="1570"/>
                      <a:pt x="362" y="1573"/>
                      <a:pt x="362" y="1571"/>
                    </a:cubicBezTo>
                    <a:cubicBezTo>
                      <a:pt x="362" y="1563"/>
                      <a:pt x="380" y="1567"/>
                      <a:pt x="382" y="1570"/>
                    </a:cubicBezTo>
                    <a:close/>
                    <a:moveTo>
                      <a:pt x="362" y="937"/>
                    </a:moveTo>
                    <a:cubicBezTo>
                      <a:pt x="362" y="935"/>
                      <a:pt x="366" y="934"/>
                      <a:pt x="366" y="935"/>
                    </a:cubicBezTo>
                    <a:cubicBezTo>
                      <a:pt x="366" y="935"/>
                      <a:pt x="366" y="935"/>
                      <a:pt x="366" y="935"/>
                    </a:cubicBezTo>
                    <a:cubicBezTo>
                      <a:pt x="366" y="936"/>
                      <a:pt x="400" y="961"/>
                      <a:pt x="395" y="967"/>
                    </a:cubicBezTo>
                    <a:cubicBezTo>
                      <a:pt x="393" y="971"/>
                      <a:pt x="386" y="962"/>
                      <a:pt x="382" y="958"/>
                    </a:cubicBezTo>
                    <a:cubicBezTo>
                      <a:pt x="374" y="952"/>
                      <a:pt x="370" y="951"/>
                      <a:pt x="361" y="948"/>
                    </a:cubicBezTo>
                    <a:cubicBezTo>
                      <a:pt x="357" y="947"/>
                      <a:pt x="364" y="940"/>
                      <a:pt x="362" y="937"/>
                    </a:cubicBezTo>
                    <a:close/>
                    <a:moveTo>
                      <a:pt x="361" y="1017"/>
                    </a:moveTo>
                    <a:cubicBezTo>
                      <a:pt x="363" y="1018"/>
                      <a:pt x="367" y="1017"/>
                      <a:pt x="371" y="1016"/>
                    </a:cubicBezTo>
                    <a:cubicBezTo>
                      <a:pt x="369" y="1017"/>
                      <a:pt x="368" y="1018"/>
                      <a:pt x="367" y="1019"/>
                    </a:cubicBezTo>
                    <a:cubicBezTo>
                      <a:pt x="359" y="1026"/>
                      <a:pt x="387" y="1051"/>
                      <a:pt x="364" y="1034"/>
                    </a:cubicBezTo>
                    <a:cubicBezTo>
                      <a:pt x="362" y="1032"/>
                      <a:pt x="360" y="1030"/>
                      <a:pt x="358" y="1028"/>
                    </a:cubicBezTo>
                    <a:cubicBezTo>
                      <a:pt x="358" y="1028"/>
                      <a:pt x="358" y="1028"/>
                      <a:pt x="358" y="1028"/>
                    </a:cubicBezTo>
                    <a:cubicBezTo>
                      <a:pt x="357" y="1027"/>
                      <a:pt x="357" y="1027"/>
                      <a:pt x="357" y="1027"/>
                    </a:cubicBezTo>
                    <a:cubicBezTo>
                      <a:pt x="350" y="1019"/>
                      <a:pt x="357" y="1024"/>
                      <a:pt x="361" y="1028"/>
                    </a:cubicBezTo>
                    <a:cubicBezTo>
                      <a:pt x="370" y="1036"/>
                      <a:pt x="352" y="1008"/>
                      <a:pt x="353" y="1007"/>
                    </a:cubicBezTo>
                    <a:cubicBezTo>
                      <a:pt x="354" y="1006"/>
                      <a:pt x="359" y="1015"/>
                      <a:pt x="361" y="1017"/>
                    </a:cubicBezTo>
                    <a:close/>
                    <a:moveTo>
                      <a:pt x="360" y="1236"/>
                    </a:moveTo>
                    <a:cubicBezTo>
                      <a:pt x="361" y="1235"/>
                      <a:pt x="365" y="1236"/>
                      <a:pt x="366" y="1237"/>
                    </a:cubicBezTo>
                    <a:cubicBezTo>
                      <a:pt x="369" y="1243"/>
                      <a:pt x="350" y="1245"/>
                      <a:pt x="355" y="1257"/>
                    </a:cubicBezTo>
                    <a:cubicBezTo>
                      <a:pt x="355" y="1258"/>
                      <a:pt x="356" y="1260"/>
                      <a:pt x="355" y="1260"/>
                    </a:cubicBezTo>
                    <a:cubicBezTo>
                      <a:pt x="353" y="1262"/>
                      <a:pt x="352" y="1256"/>
                      <a:pt x="350" y="1256"/>
                    </a:cubicBezTo>
                    <a:cubicBezTo>
                      <a:pt x="338" y="1258"/>
                      <a:pt x="361" y="1250"/>
                      <a:pt x="350" y="1246"/>
                    </a:cubicBezTo>
                    <a:cubicBezTo>
                      <a:pt x="340" y="1243"/>
                      <a:pt x="335" y="1253"/>
                      <a:pt x="333" y="1253"/>
                    </a:cubicBezTo>
                    <a:cubicBezTo>
                      <a:pt x="330" y="1254"/>
                      <a:pt x="329" y="1245"/>
                      <a:pt x="326" y="1242"/>
                    </a:cubicBezTo>
                    <a:cubicBezTo>
                      <a:pt x="321" y="1238"/>
                      <a:pt x="312" y="1237"/>
                      <a:pt x="310" y="1230"/>
                    </a:cubicBezTo>
                    <a:cubicBezTo>
                      <a:pt x="309" y="1225"/>
                      <a:pt x="324" y="1222"/>
                      <a:pt x="325" y="1227"/>
                    </a:cubicBezTo>
                    <a:cubicBezTo>
                      <a:pt x="325" y="1227"/>
                      <a:pt x="325" y="1227"/>
                      <a:pt x="325" y="1227"/>
                    </a:cubicBezTo>
                    <a:cubicBezTo>
                      <a:pt x="330" y="1240"/>
                      <a:pt x="354" y="1237"/>
                      <a:pt x="360" y="1236"/>
                    </a:cubicBezTo>
                    <a:close/>
                    <a:moveTo>
                      <a:pt x="323" y="1429"/>
                    </a:moveTo>
                    <a:cubicBezTo>
                      <a:pt x="324" y="1431"/>
                      <a:pt x="329" y="1430"/>
                      <a:pt x="328" y="1431"/>
                    </a:cubicBezTo>
                    <a:cubicBezTo>
                      <a:pt x="324" y="1437"/>
                      <a:pt x="316" y="1423"/>
                      <a:pt x="317" y="1423"/>
                    </a:cubicBezTo>
                    <a:cubicBezTo>
                      <a:pt x="319" y="1423"/>
                      <a:pt x="316" y="1414"/>
                      <a:pt x="324" y="1415"/>
                    </a:cubicBezTo>
                    <a:cubicBezTo>
                      <a:pt x="326" y="1415"/>
                      <a:pt x="328" y="1414"/>
                      <a:pt x="330" y="1415"/>
                    </a:cubicBezTo>
                    <a:cubicBezTo>
                      <a:pt x="326" y="1422"/>
                      <a:pt x="335" y="1421"/>
                      <a:pt x="332" y="1425"/>
                    </a:cubicBezTo>
                    <a:cubicBezTo>
                      <a:pt x="331" y="1427"/>
                      <a:pt x="316" y="1410"/>
                      <a:pt x="323" y="1429"/>
                    </a:cubicBezTo>
                    <a:close/>
                    <a:moveTo>
                      <a:pt x="309" y="1467"/>
                    </a:moveTo>
                    <a:cubicBezTo>
                      <a:pt x="310" y="1465"/>
                      <a:pt x="321" y="1458"/>
                      <a:pt x="318" y="1463"/>
                    </a:cubicBezTo>
                    <a:cubicBezTo>
                      <a:pt x="318" y="1463"/>
                      <a:pt x="318" y="1463"/>
                      <a:pt x="318" y="1463"/>
                    </a:cubicBezTo>
                    <a:cubicBezTo>
                      <a:pt x="316" y="1466"/>
                      <a:pt x="303" y="1473"/>
                      <a:pt x="309" y="1467"/>
                    </a:cubicBezTo>
                    <a:close/>
                    <a:moveTo>
                      <a:pt x="303" y="1567"/>
                    </a:moveTo>
                    <a:cubicBezTo>
                      <a:pt x="298" y="1567"/>
                      <a:pt x="299" y="1557"/>
                      <a:pt x="294" y="1556"/>
                    </a:cubicBezTo>
                    <a:cubicBezTo>
                      <a:pt x="290" y="1555"/>
                      <a:pt x="287" y="1572"/>
                      <a:pt x="283" y="1564"/>
                    </a:cubicBezTo>
                    <a:cubicBezTo>
                      <a:pt x="282" y="1560"/>
                      <a:pt x="290" y="1553"/>
                      <a:pt x="295" y="1551"/>
                    </a:cubicBezTo>
                    <a:cubicBezTo>
                      <a:pt x="296" y="1552"/>
                      <a:pt x="300" y="1556"/>
                      <a:pt x="300" y="1557"/>
                    </a:cubicBezTo>
                    <a:cubicBezTo>
                      <a:pt x="301" y="1566"/>
                      <a:pt x="314" y="1569"/>
                      <a:pt x="306" y="1576"/>
                    </a:cubicBezTo>
                    <a:cubicBezTo>
                      <a:pt x="304" y="1577"/>
                      <a:pt x="308" y="1567"/>
                      <a:pt x="303" y="1567"/>
                    </a:cubicBezTo>
                    <a:close/>
                    <a:moveTo>
                      <a:pt x="291" y="1508"/>
                    </a:moveTo>
                    <a:cubicBezTo>
                      <a:pt x="291" y="1506"/>
                      <a:pt x="278" y="1493"/>
                      <a:pt x="291" y="1501"/>
                    </a:cubicBezTo>
                    <a:cubicBezTo>
                      <a:pt x="296" y="1504"/>
                      <a:pt x="292" y="1497"/>
                      <a:pt x="299" y="1497"/>
                    </a:cubicBezTo>
                    <a:cubicBezTo>
                      <a:pt x="299" y="1497"/>
                      <a:pt x="299" y="1506"/>
                      <a:pt x="299" y="1506"/>
                    </a:cubicBezTo>
                    <a:cubicBezTo>
                      <a:pt x="299" y="1507"/>
                      <a:pt x="299" y="1507"/>
                      <a:pt x="299" y="1507"/>
                    </a:cubicBezTo>
                    <a:cubicBezTo>
                      <a:pt x="301" y="1524"/>
                      <a:pt x="295" y="1520"/>
                      <a:pt x="289" y="1513"/>
                    </a:cubicBezTo>
                    <a:cubicBezTo>
                      <a:pt x="287" y="1510"/>
                      <a:pt x="277" y="1516"/>
                      <a:pt x="277" y="1512"/>
                    </a:cubicBezTo>
                    <a:cubicBezTo>
                      <a:pt x="277" y="1505"/>
                      <a:pt x="289" y="1512"/>
                      <a:pt x="291" y="1508"/>
                    </a:cubicBezTo>
                    <a:close/>
                    <a:moveTo>
                      <a:pt x="266" y="1237"/>
                    </a:moveTo>
                    <a:cubicBezTo>
                      <a:pt x="266" y="1236"/>
                      <a:pt x="264" y="1232"/>
                      <a:pt x="264" y="1232"/>
                    </a:cubicBezTo>
                    <a:cubicBezTo>
                      <a:pt x="262" y="1232"/>
                      <a:pt x="260" y="1228"/>
                      <a:pt x="263" y="1228"/>
                    </a:cubicBezTo>
                    <a:cubicBezTo>
                      <a:pt x="264" y="1228"/>
                      <a:pt x="264" y="1228"/>
                      <a:pt x="264" y="1228"/>
                    </a:cubicBezTo>
                    <a:cubicBezTo>
                      <a:pt x="267" y="1230"/>
                      <a:pt x="269" y="1233"/>
                      <a:pt x="272" y="1235"/>
                    </a:cubicBezTo>
                    <a:cubicBezTo>
                      <a:pt x="275" y="1236"/>
                      <a:pt x="276" y="1241"/>
                      <a:pt x="279" y="1243"/>
                    </a:cubicBezTo>
                    <a:cubicBezTo>
                      <a:pt x="283" y="1246"/>
                      <a:pt x="267" y="1241"/>
                      <a:pt x="266" y="1237"/>
                    </a:cubicBezTo>
                    <a:close/>
                    <a:moveTo>
                      <a:pt x="289" y="1402"/>
                    </a:moveTo>
                    <a:cubicBezTo>
                      <a:pt x="289" y="1399"/>
                      <a:pt x="296" y="1394"/>
                      <a:pt x="297" y="1397"/>
                    </a:cubicBezTo>
                    <a:cubicBezTo>
                      <a:pt x="297" y="1397"/>
                      <a:pt x="297" y="1397"/>
                      <a:pt x="297" y="1397"/>
                    </a:cubicBezTo>
                    <a:cubicBezTo>
                      <a:pt x="299" y="1412"/>
                      <a:pt x="289" y="1409"/>
                      <a:pt x="289" y="1402"/>
                    </a:cubicBezTo>
                    <a:close/>
                    <a:moveTo>
                      <a:pt x="292" y="1436"/>
                    </a:moveTo>
                    <a:cubicBezTo>
                      <a:pt x="292" y="1436"/>
                      <a:pt x="292" y="1436"/>
                      <a:pt x="292" y="1436"/>
                    </a:cubicBezTo>
                    <a:cubicBezTo>
                      <a:pt x="295" y="1440"/>
                      <a:pt x="296" y="1443"/>
                      <a:pt x="291" y="1448"/>
                    </a:cubicBezTo>
                    <a:cubicBezTo>
                      <a:pt x="286" y="1453"/>
                      <a:pt x="290" y="1433"/>
                      <a:pt x="292" y="1436"/>
                    </a:cubicBezTo>
                    <a:close/>
                    <a:moveTo>
                      <a:pt x="298" y="1533"/>
                    </a:moveTo>
                    <a:cubicBezTo>
                      <a:pt x="299" y="1529"/>
                      <a:pt x="312" y="1536"/>
                      <a:pt x="311" y="1531"/>
                    </a:cubicBezTo>
                    <a:cubicBezTo>
                      <a:pt x="310" y="1528"/>
                      <a:pt x="312" y="1527"/>
                      <a:pt x="315" y="1529"/>
                    </a:cubicBezTo>
                    <a:cubicBezTo>
                      <a:pt x="315" y="1529"/>
                      <a:pt x="315" y="1529"/>
                      <a:pt x="315" y="1529"/>
                    </a:cubicBezTo>
                    <a:cubicBezTo>
                      <a:pt x="315" y="1531"/>
                      <a:pt x="311" y="1551"/>
                      <a:pt x="310" y="1551"/>
                    </a:cubicBezTo>
                    <a:cubicBezTo>
                      <a:pt x="308" y="1551"/>
                      <a:pt x="297" y="1537"/>
                      <a:pt x="298" y="1533"/>
                    </a:cubicBezTo>
                    <a:close/>
                    <a:moveTo>
                      <a:pt x="328" y="961"/>
                    </a:moveTo>
                    <a:cubicBezTo>
                      <a:pt x="328" y="963"/>
                      <a:pt x="333" y="976"/>
                      <a:pt x="332" y="976"/>
                    </a:cubicBezTo>
                    <a:cubicBezTo>
                      <a:pt x="330" y="977"/>
                      <a:pt x="322" y="963"/>
                      <a:pt x="321" y="961"/>
                    </a:cubicBezTo>
                    <a:cubicBezTo>
                      <a:pt x="317" y="951"/>
                      <a:pt x="328" y="963"/>
                      <a:pt x="323" y="944"/>
                    </a:cubicBezTo>
                    <a:cubicBezTo>
                      <a:pt x="321" y="939"/>
                      <a:pt x="314" y="941"/>
                      <a:pt x="315" y="936"/>
                    </a:cubicBezTo>
                    <a:cubicBezTo>
                      <a:pt x="316" y="933"/>
                      <a:pt x="325" y="923"/>
                      <a:pt x="324" y="931"/>
                    </a:cubicBezTo>
                    <a:cubicBezTo>
                      <a:pt x="324" y="931"/>
                      <a:pt x="324" y="931"/>
                      <a:pt x="324" y="931"/>
                    </a:cubicBezTo>
                    <a:cubicBezTo>
                      <a:pt x="322" y="939"/>
                      <a:pt x="327" y="940"/>
                      <a:pt x="328" y="961"/>
                    </a:cubicBezTo>
                    <a:close/>
                    <a:moveTo>
                      <a:pt x="308" y="892"/>
                    </a:moveTo>
                    <a:cubicBezTo>
                      <a:pt x="313" y="893"/>
                      <a:pt x="308" y="883"/>
                      <a:pt x="312" y="884"/>
                    </a:cubicBezTo>
                    <a:cubicBezTo>
                      <a:pt x="313" y="885"/>
                      <a:pt x="339" y="912"/>
                      <a:pt x="339" y="914"/>
                    </a:cubicBezTo>
                    <a:cubicBezTo>
                      <a:pt x="338" y="918"/>
                      <a:pt x="333" y="910"/>
                      <a:pt x="332" y="909"/>
                    </a:cubicBezTo>
                    <a:cubicBezTo>
                      <a:pt x="329" y="904"/>
                      <a:pt x="317" y="901"/>
                      <a:pt x="311" y="903"/>
                    </a:cubicBezTo>
                    <a:cubicBezTo>
                      <a:pt x="299" y="906"/>
                      <a:pt x="307" y="919"/>
                      <a:pt x="309" y="926"/>
                    </a:cubicBezTo>
                    <a:cubicBezTo>
                      <a:pt x="309" y="927"/>
                      <a:pt x="309" y="927"/>
                      <a:pt x="309" y="927"/>
                    </a:cubicBezTo>
                    <a:cubicBezTo>
                      <a:pt x="309" y="938"/>
                      <a:pt x="315" y="953"/>
                      <a:pt x="306" y="959"/>
                    </a:cubicBezTo>
                    <a:cubicBezTo>
                      <a:pt x="303" y="961"/>
                      <a:pt x="307" y="952"/>
                      <a:pt x="307" y="952"/>
                    </a:cubicBezTo>
                    <a:cubicBezTo>
                      <a:pt x="309" y="949"/>
                      <a:pt x="303" y="947"/>
                      <a:pt x="301" y="945"/>
                    </a:cubicBezTo>
                    <a:cubicBezTo>
                      <a:pt x="298" y="943"/>
                      <a:pt x="296" y="931"/>
                      <a:pt x="298" y="928"/>
                    </a:cubicBezTo>
                    <a:cubicBezTo>
                      <a:pt x="298" y="926"/>
                      <a:pt x="302" y="944"/>
                      <a:pt x="305" y="942"/>
                    </a:cubicBezTo>
                    <a:cubicBezTo>
                      <a:pt x="307" y="941"/>
                      <a:pt x="306" y="918"/>
                      <a:pt x="300" y="911"/>
                    </a:cubicBezTo>
                    <a:cubicBezTo>
                      <a:pt x="297" y="906"/>
                      <a:pt x="270" y="896"/>
                      <a:pt x="264" y="890"/>
                    </a:cubicBezTo>
                    <a:cubicBezTo>
                      <a:pt x="263" y="889"/>
                      <a:pt x="263" y="886"/>
                      <a:pt x="263" y="886"/>
                    </a:cubicBezTo>
                    <a:cubicBezTo>
                      <a:pt x="267" y="887"/>
                      <a:pt x="281" y="898"/>
                      <a:pt x="282" y="896"/>
                    </a:cubicBezTo>
                    <a:cubicBezTo>
                      <a:pt x="284" y="890"/>
                      <a:pt x="267" y="882"/>
                      <a:pt x="268" y="878"/>
                    </a:cubicBezTo>
                    <a:cubicBezTo>
                      <a:pt x="268" y="877"/>
                      <a:pt x="292" y="886"/>
                      <a:pt x="294" y="886"/>
                    </a:cubicBezTo>
                    <a:cubicBezTo>
                      <a:pt x="301" y="886"/>
                      <a:pt x="300" y="892"/>
                      <a:pt x="308" y="892"/>
                    </a:cubicBezTo>
                    <a:close/>
                    <a:moveTo>
                      <a:pt x="268" y="836"/>
                    </a:moveTo>
                    <a:cubicBezTo>
                      <a:pt x="268" y="836"/>
                      <a:pt x="268" y="836"/>
                      <a:pt x="268" y="836"/>
                    </a:cubicBezTo>
                    <a:cubicBezTo>
                      <a:pt x="270" y="837"/>
                      <a:pt x="296" y="843"/>
                      <a:pt x="293" y="845"/>
                    </a:cubicBezTo>
                    <a:cubicBezTo>
                      <a:pt x="291" y="847"/>
                      <a:pt x="278" y="842"/>
                      <a:pt x="275" y="842"/>
                    </a:cubicBezTo>
                    <a:cubicBezTo>
                      <a:pt x="258" y="843"/>
                      <a:pt x="249" y="819"/>
                      <a:pt x="268" y="836"/>
                    </a:cubicBezTo>
                    <a:close/>
                    <a:moveTo>
                      <a:pt x="262" y="1249"/>
                    </a:moveTo>
                    <a:cubicBezTo>
                      <a:pt x="262" y="1249"/>
                      <a:pt x="262" y="1249"/>
                      <a:pt x="262" y="1249"/>
                    </a:cubicBezTo>
                    <a:cubicBezTo>
                      <a:pt x="261" y="1252"/>
                      <a:pt x="258" y="1262"/>
                      <a:pt x="254" y="1260"/>
                    </a:cubicBezTo>
                    <a:cubicBezTo>
                      <a:pt x="247" y="1257"/>
                      <a:pt x="265" y="1243"/>
                      <a:pt x="262" y="1249"/>
                    </a:cubicBezTo>
                    <a:close/>
                    <a:moveTo>
                      <a:pt x="243" y="1160"/>
                    </a:moveTo>
                    <a:cubicBezTo>
                      <a:pt x="242" y="1163"/>
                      <a:pt x="241" y="1156"/>
                      <a:pt x="240" y="1155"/>
                    </a:cubicBezTo>
                    <a:cubicBezTo>
                      <a:pt x="240" y="1154"/>
                      <a:pt x="239" y="1152"/>
                      <a:pt x="237" y="1151"/>
                    </a:cubicBezTo>
                    <a:cubicBezTo>
                      <a:pt x="231" y="1146"/>
                      <a:pt x="221" y="1147"/>
                      <a:pt x="214" y="1143"/>
                    </a:cubicBezTo>
                    <a:cubicBezTo>
                      <a:pt x="210" y="1139"/>
                      <a:pt x="196" y="1122"/>
                      <a:pt x="201" y="1126"/>
                    </a:cubicBezTo>
                    <a:cubicBezTo>
                      <a:pt x="201" y="1126"/>
                      <a:pt x="201" y="1126"/>
                      <a:pt x="201" y="1126"/>
                    </a:cubicBezTo>
                    <a:cubicBezTo>
                      <a:pt x="211" y="1137"/>
                      <a:pt x="248" y="1152"/>
                      <a:pt x="243" y="1160"/>
                    </a:cubicBezTo>
                    <a:close/>
                    <a:moveTo>
                      <a:pt x="179" y="1347"/>
                    </a:moveTo>
                    <a:cubicBezTo>
                      <a:pt x="181" y="1347"/>
                      <a:pt x="188" y="1361"/>
                      <a:pt x="189" y="1364"/>
                    </a:cubicBezTo>
                    <a:cubicBezTo>
                      <a:pt x="189" y="1365"/>
                      <a:pt x="189" y="1365"/>
                      <a:pt x="189" y="1365"/>
                    </a:cubicBezTo>
                    <a:cubicBezTo>
                      <a:pt x="191" y="1367"/>
                      <a:pt x="188" y="1369"/>
                      <a:pt x="190" y="1372"/>
                    </a:cubicBezTo>
                    <a:cubicBezTo>
                      <a:pt x="207" y="1401"/>
                      <a:pt x="173" y="1348"/>
                      <a:pt x="179" y="1347"/>
                    </a:cubicBezTo>
                    <a:close/>
                    <a:moveTo>
                      <a:pt x="169" y="1375"/>
                    </a:moveTo>
                    <a:cubicBezTo>
                      <a:pt x="172" y="1371"/>
                      <a:pt x="176" y="1384"/>
                      <a:pt x="179" y="1389"/>
                    </a:cubicBezTo>
                    <a:cubicBezTo>
                      <a:pt x="179" y="1389"/>
                      <a:pt x="179" y="1389"/>
                      <a:pt x="179" y="1389"/>
                    </a:cubicBezTo>
                    <a:cubicBezTo>
                      <a:pt x="182" y="1393"/>
                      <a:pt x="165" y="1382"/>
                      <a:pt x="169" y="1375"/>
                    </a:cubicBezTo>
                    <a:close/>
                    <a:moveTo>
                      <a:pt x="192" y="1391"/>
                    </a:moveTo>
                    <a:cubicBezTo>
                      <a:pt x="192" y="1391"/>
                      <a:pt x="192" y="1391"/>
                      <a:pt x="192" y="1391"/>
                    </a:cubicBezTo>
                    <a:cubicBezTo>
                      <a:pt x="192" y="1406"/>
                      <a:pt x="208" y="1412"/>
                      <a:pt x="208" y="1427"/>
                    </a:cubicBezTo>
                    <a:cubicBezTo>
                      <a:pt x="208" y="1428"/>
                      <a:pt x="209" y="1432"/>
                      <a:pt x="207" y="1432"/>
                    </a:cubicBezTo>
                    <a:cubicBezTo>
                      <a:pt x="206" y="1432"/>
                      <a:pt x="205" y="1429"/>
                      <a:pt x="204" y="1428"/>
                    </a:cubicBezTo>
                    <a:cubicBezTo>
                      <a:pt x="204" y="1428"/>
                      <a:pt x="184" y="1383"/>
                      <a:pt x="192" y="1391"/>
                    </a:cubicBezTo>
                    <a:close/>
                    <a:moveTo>
                      <a:pt x="203" y="1058"/>
                    </a:moveTo>
                    <a:cubicBezTo>
                      <a:pt x="203" y="1058"/>
                      <a:pt x="203" y="1058"/>
                      <a:pt x="203" y="1058"/>
                    </a:cubicBezTo>
                    <a:cubicBezTo>
                      <a:pt x="205" y="1058"/>
                      <a:pt x="221" y="1064"/>
                      <a:pt x="219" y="1067"/>
                    </a:cubicBezTo>
                    <a:cubicBezTo>
                      <a:pt x="217" y="1069"/>
                      <a:pt x="196" y="1058"/>
                      <a:pt x="203" y="1058"/>
                    </a:cubicBezTo>
                    <a:close/>
                    <a:moveTo>
                      <a:pt x="226" y="899"/>
                    </a:moveTo>
                    <a:cubicBezTo>
                      <a:pt x="227" y="903"/>
                      <a:pt x="213" y="899"/>
                      <a:pt x="211" y="899"/>
                    </a:cubicBezTo>
                    <a:cubicBezTo>
                      <a:pt x="203" y="895"/>
                      <a:pt x="197" y="902"/>
                      <a:pt x="190" y="899"/>
                    </a:cubicBezTo>
                    <a:cubicBezTo>
                      <a:pt x="183" y="896"/>
                      <a:pt x="203" y="891"/>
                      <a:pt x="210" y="894"/>
                    </a:cubicBezTo>
                    <a:cubicBezTo>
                      <a:pt x="210" y="894"/>
                      <a:pt x="210" y="894"/>
                      <a:pt x="210" y="894"/>
                    </a:cubicBezTo>
                    <a:cubicBezTo>
                      <a:pt x="214" y="897"/>
                      <a:pt x="224" y="896"/>
                      <a:pt x="226" y="899"/>
                    </a:cubicBezTo>
                    <a:close/>
                    <a:moveTo>
                      <a:pt x="166" y="828"/>
                    </a:moveTo>
                    <a:cubicBezTo>
                      <a:pt x="167" y="827"/>
                      <a:pt x="172" y="830"/>
                      <a:pt x="172" y="827"/>
                    </a:cubicBezTo>
                    <a:cubicBezTo>
                      <a:pt x="173" y="826"/>
                      <a:pt x="179" y="820"/>
                      <a:pt x="181" y="820"/>
                    </a:cubicBezTo>
                    <a:cubicBezTo>
                      <a:pt x="187" y="819"/>
                      <a:pt x="196" y="817"/>
                      <a:pt x="203" y="819"/>
                    </a:cubicBezTo>
                    <a:cubicBezTo>
                      <a:pt x="203" y="820"/>
                      <a:pt x="203" y="820"/>
                      <a:pt x="203" y="820"/>
                    </a:cubicBezTo>
                    <a:cubicBezTo>
                      <a:pt x="214" y="841"/>
                      <a:pt x="177" y="813"/>
                      <a:pt x="180" y="827"/>
                    </a:cubicBezTo>
                    <a:cubicBezTo>
                      <a:pt x="181" y="834"/>
                      <a:pt x="198" y="831"/>
                      <a:pt x="195" y="837"/>
                    </a:cubicBezTo>
                    <a:cubicBezTo>
                      <a:pt x="193" y="840"/>
                      <a:pt x="176" y="834"/>
                      <a:pt x="185" y="845"/>
                    </a:cubicBezTo>
                    <a:cubicBezTo>
                      <a:pt x="189" y="850"/>
                      <a:pt x="219" y="860"/>
                      <a:pt x="211" y="867"/>
                    </a:cubicBezTo>
                    <a:cubicBezTo>
                      <a:pt x="211" y="868"/>
                      <a:pt x="206" y="861"/>
                      <a:pt x="205" y="861"/>
                    </a:cubicBezTo>
                    <a:cubicBezTo>
                      <a:pt x="199" y="857"/>
                      <a:pt x="161" y="838"/>
                      <a:pt x="166" y="828"/>
                    </a:cubicBezTo>
                    <a:close/>
                    <a:moveTo>
                      <a:pt x="130" y="814"/>
                    </a:moveTo>
                    <a:cubicBezTo>
                      <a:pt x="130" y="814"/>
                      <a:pt x="130" y="814"/>
                      <a:pt x="130" y="814"/>
                    </a:cubicBezTo>
                    <a:cubicBezTo>
                      <a:pt x="130" y="823"/>
                      <a:pt x="162" y="825"/>
                      <a:pt x="162" y="826"/>
                    </a:cubicBezTo>
                    <a:cubicBezTo>
                      <a:pt x="160" y="829"/>
                      <a:pt x="133" y="824"/>
                      <a:pt x="130" y="822"/>
                    </a:cubicBezTo>
                    <a:cubicBezTo>
                      <a:pt x="127" y="820"/>
                      <a:pt x="126" y="810"/>
                      <a:pt x="130" y="814"/>
                    </a:cubicBezTo>
                    <a:close/>
                    <a:moveTo>
                      <a:pt x="127" y="829"/>
                    </a:moveTo>
                    <a:cubicBezTo>
                      <a:pt x="127" y="828"/>
                      <a:pt x="143" y="830"/>
                      <a:pt x="144" y="830"/>
                    </a:cubicBezTo>
                    <a:cubicBezTo>
                      <a:pt x="144" y="830"/>
                      <a:pt x="144" y="830"/>
                      <a:pt x="144" y="830"/>
                    </a:cubicBezTo>
                    <a:cubicBezTo>
                      <a:pt x="146" y="832"/>
                      <a:pt x="151" y="839"/>
                      <a:pt x="147" y="840"/>
                    </a:cubicBezTo>
                    <a:cubicBezTo>
                      <a:pt x="142" y="843"/>
                      <a:pt x="136" y="832"/>
                      <a:pt x="131" y="831"/>
                    </a:cubicBezTo>
                    <a:cubicBezTo>
                      <a:pt x="131" y="831"/>
                      <a:pt x="127" y="830"/>
                      <a:pt x="127" y="829"/>
                    </a:cubicBezTo>
                    <a:close/>
                    <a:moveTo>
                      <a:pt x="144" y="880"/>
                    </a:moveTo>
                    <a:cubicBezTo>
                      <a:pt x="144" y="881"/>
                      <a:pt x="144" y="881"/>
                      <a:pt x="144" y="881"/>
                    </a:cubicBezTo>
                    <a:cubicBezTo>
                      <a:pt x="144" y="885"/>
                      <a:pt x="146" y="883"/>
                      <a:pt x="145" y="887"/>
                    </a:cubicBezTo>
                    <a:cubicBezTo>
                      <a:pt x="144" y="890"/>
                      <a:pt x="145" y="893"/>
                      <a:pt x="141" y="893"/>
                    </a:cubicBezTo>
                    <a:cubicBezTo>
                      <a:pt x="122" y="896"/>
                      <a:pt x="136" y="872"/>
                      <a:pt x="144" y="880"/>
                    </a:cubicBezTo>
                    <a:close/>
                    <a:moveTo>
                      <a:pt x="153" y="1009"/>
                    </a:moveTo>
                    <a:cubicBezTo>
                      <a:pt x="152" y="1004"/>
                      <a:pt x="146" y="1002"/>
                      <a:pt x="144" y="998"/>
                    </a:cubicBezTo>
                    <a:cubicBezTo>
                      <a:pt x="143" y="996"/>
                      <a:pt x="144" y="995"/>
                      <a:pt x="145" y="997"/>
                    </a:cubicBezTo>
                    <a:cubicBezTo>
                      <a:pt x="145" y="997"/>
                      <a:pt x="145" y="997"/>
                      <a:pt x="145" y="997"/>
                    </a:cubicBezTo>
                    <a:cubicBezTo>
                      <a:pt x="147" y="1006"/>
                      <a:pt x="169" y="1008"/>
                      <a:pt x="172" y="1016"/>
                    </a:cubicBezTo>
                    <a:cubicBezTo>
                      <a:pt x="174" y="1022"/>
                      <a:pt x="155" y="1015"/>
                      <a:pt x="153" y="1009"/>
                    </a:cubicBezTo>
                    <a:close/>
                    <a:moveTo>
                      <a:pt x="162" y="1420"/>
                    </a:moveTo>
                    <a:cubicBezTo>
                      <a:pt x="164" y="1421"/>
                      <a:pt x="175" y="1429"/>
                      <a:pt x="170" y="1417"/>
                    </a:cubicBezTo>
                    <a:cubicBezTo>
                      <a:pt x="169" y="1416"/>
                      <a:pt x="167" y="1413"/>
                      <a:pt x="170" y="1413"/>
                    </a:cubicBezTo>
                    <a:cubicBezTo>
                      <a:pt x="173" y="1414"/>
                      <a:pt x="175" y="1434"/>
                      <a:pt x="179" y="1438"/>
                    </a:cubicBezTo>
                    <a:cubicBezTo>
                      <a:pt x="179" y="1439"/>
                      <a:pt x="179" y="1439"/>
                      <a:pt x="179" y="1439"/>
                    </a:cubicBezTo>
                    <a:cubicBezTo>
                      <a:pt x="179" y="1439"/>
                      <a:pt x="190" y="1450"/>
                      <a:pt x="185" y="1450"/>
                    </a:cubicBezTo>
                    <a:cubicBezTo>
                      <a:pt x="185" y="1450"/>
                      <a:pt x="171" y="1435"/>
                      <a:pt x="171" y="1434"/>
                    </a:cubicBezTo>
                    <a:cubicBezTo>
                      <a:pt x="170" y="1432"/>
                      <a:pt x="169" y="1426"/>
                      <a:pt x="167" y="1428"/>
                    </a:cubicBezTo>
                    <a:cubicBezTo>
                      <a:pt x="165" y="1431"/>
                      <a:pt x="159" y="1420"/>
                      <a:pt x="162" y="1420"/>
                    </a:cubicBezTo>
                    <a:close/>
                    <a:moveTo>
                      <a:pt x="130" y="1414"/>
                    </a:moveTo>
                    <a:cubicBezTo>
                      <a:pt x="131" y="1414"/>
                      <a:pt x="129" y="1411"/>
                      <a:pt x="133" y="1412"/>
                    </a:cubicBezTo>
                    <a:cubicBezTo>
                      <a:pt x="133" y="1412"/>
                      <a:pt x="133" y="1412"/>
                      <a:pt x="133" y="1412"/>
                    </a:cubicBezTo>
                    <a:cubicBezTo>
                      <a:pt x="145" y="1422"/>
                      <a:pt x="148" y="1434"/>
                      <a:pt x="162" y="1450"/>
                    </a:cubicBezTo>
                    <a:cubicBezTo>
                      <a:pt x="164" y="1452"/>
                      <a:pt x="167" y="1454"/>
                      <a:pt x="164" y="1456"/>
                    </a:cubicBezTo>
                    <a:cubicBezTo>
                      <a:pt x="163" y="1457"/>
                      <a:pt x="153" y="1436"/>
                      <a:pt x="151" y="1435"/>
                    </a:cubicBezTo>
                    <a:cubicBezTo>
                      <a:pt x="145" y="1430"/>
                      <a:pt x="125" y="1415"/>
                      <a:pt x="130" y="1414"/>
                    </a:cubicBezTo>
                    <a:close/>
                    <a:moveTo>
                      <a:pt x="127" y="1432"/>
                    </a:moveTo>
                    <a:cubicBezTo>
                      <a:pt x="127" y="1432"/>
                      <a:pt x="127" y="1432"/>
                      <a:pt x="127" y="1432"/>
                    </a:cubicBezTo>
                    <a:cubicBezTo>
                      <a:pt x="126" y="1437"/>
                      <a:pt x="131" y="1431"/>
                      <a:pt x="134" y="1434"/>
                    </a:cubicBezTo>
                    <a:cubicBezTo>
                      <a:pt x="137" y="1436"/>
                      <a:pt x="136" y="1442"/>
                      <a:pt x="133" y="1443"/>
                    </a:cubicBezTo>
                    <a:cubicBezTo>
                      <a:pt x="124" y="1444"/>
                      <a:pt x="125" y="1427"/>
                      <a:pt x="127" y="1432"/>
                    </a:cubicBezTo>
                    <a:close/>
                    <a:moveTo>
                      <a:pt x="99" y="1468"/>
                    </a:moveTo>
                    <a:cubicBezTo>
                      <a:pt x="99" y="1466"/>
                      <a:pt x="98" y="1449"/>
                      <a:pt x="101" y="1454"/>
                    </a:cubicBezTo>
                    <a:cubicBezTo>
                      <a:pt x="102" y="1455"/>
                      <a:pt x="102" y="1455"/>
                      <a:pt x="102" y="1455"/>
                    </a:cubicBezTo>
                    <a:cubicBezTo>
                      <a:pt x="102" y="1473"/>
                      <a:pt x="107" y="1485"/>
                      <a:pt x="115" y="1472"/>
                    </a:cubicBezTo>
                    <a:cubicBezTo>
                      <a:pt x="118" y="1467"/>
                      <a:pt x="119" y="1479"/>
                      <a:pt x="118" y="1476"/>
                    </a:cubicBezTo>
                    <a:cubicBezTo>
                      <a:pt x="118" y="1473"/>
                      <a:pt x="120" y="1468"/>
                      <a:pt x="122" y="1469"/>
                    </a:cubicBezTo>
                    <a:cubicBezTo>
                      <a:pt x="123" y="1469"/>
                      <a:pt x="120" y="1491"/>
                      <a:pt x="120" y="1491"/>
                    </a:cubicBezTo>
                    <a:cubicBezTo>
                      <a:pt x="119" y="1491"/>
                      <a:pt x="118" y="1484"/>
                      <a:pt x="118" y="1483"/>
                    </a:cubicBezTo>
                    <a:cubicBezTo>
                      <a:pt x="116" y="1479"/>
                      <a:pt x="98" y="1485"/>
                      <a:pt x="99" y="1468"/>
                    </a:cubicBezTo>
                    <a:close/>
                    <a:moveTo>
                      <a:pt x="107" y="1726"/>
                    </a:moveTo>
                    <a:cubicBezTo>
                      <a:pt x="106" y="1724"/>
                      <a:pt x="116" y="1722"/>
                      <a:pt x="118" y="1721"/>
                    </a:cubicBezTo>
                    <a:cubicBezTo>
                      <a:pt x="121" y="1720"/>
                      <a:pt x="126" y="1712"/>
                      <a:pt x="128" y="1715"/>
                    </a:cubicBezTo>
                    <a:cubicBezTo>
                      <a:pt x="128" y="1715"/>
                      <a:pt x="128" y="1715"/>
                      <a:pt x="128" y="1715"/>
                    </a:cubicBezTo>
                    <a:cubicBezTo>
                      <a:pt x="130" y="1722"/>
                      <a:pt x="108" y="1729"/>
                      <a:pt x="107" y="1726"/>
                    </a:cubicBezTo>
                    <a:close/>
                    <a:moveTo>
                      <a:pt x="133" y="1659"/>
                    </a:moveTo>
                    <a:cubicBezTo>
                      <a:pt x="133" y="1659"/>
                      <a:pt x="133" y="1659"/>
                      <a:pt x="133" y="1659"/>
                    </a:cubicBezTo>
                    <a:cubicBezTo>
                      <a:pt x="129" y="1662"/>
                      <a:pt x="125" y="1666"/>
                      <a:pt x="120" y="1671"/>
                    </a:cubicBezTo>
                    <a:cubicBezTo>
                      <a:pt x="117" y="1674"/>
                      <a:pt x="118" y="1667"/>
                      <a:pt x="118" y="1665"/>
                    </a:cubicBezTo>
                    <a:cubicBezTo>
                      <a:pt x="120" y="1660"/>
                      <a:pt x="124" y="1661"/>
                      <a:pt x="128" y="1659"/>
                    </a:cubicBezTo>
                    <a:cubicBezTo>
                      <a:pt x="129" y="1658"/>
                      <a:pt x="133" y="1655"/>
                      <a:pt x="133" y="1659"/>
                    </a:cubicBezTo>
                    <a:close/>
                    <a:moveTo>
                      <a:pt x="213" y="1680"/>
                    </a:moveTo>
                    <a:cubicBezTo>
                      <a:pt x="213" y="1683"/>
                      <a:pt x="214" y="1695"/>
                      <a:pt x="207" y="1693"/>
                    </a:cubicBezTo>
                    <a:cubicBezTo>
                      <a:pt x="202" y="1692"/>
                      <a:pt x="212" y="1675"/>
                      <a:pt x="213" y="1680"/>
                    </a:cubicBezTo>
                    <a:close/>
                    <a:moveTo>
                      <a:pt x="252" y="1789"/>
                    </a:moveTo>
                    <a:cubicBezTo>
                      <a:pt x="250" y="1789"/>
                      <a:pt x="238" y="1824"/>
                      <a:pt x="236" y="1822"/>
                    </a:cubicBezTo>
                    <a:cubicBezTo>
                      <a:pt x="227" y="1810"/>
                      <a:pt x="245" y="1761"/>
                      <a:pt x="252" y="1788"/>
                    </a:cubicBezTo>
                    <a:lnTo>
                      <a:pt x="252" y="1789"/>
                    </a:lnTo>
                    <a:close/>
                    <a:moveTo>
                      <a:pt x="252" y="1547"/>
                    </a:moveTo>
                    <a:cubicBezTo>
                      <a:pt x="237" y="1551"/>
                      <a:pt x="225" y="1551"/>
                      <a:pt x="211" y="1561"/>
                    </a:cubicBezTo>
                    <a:cubicBezTo>
                      <a:pt x="205" y="1565"/>
                      <a:pt x="207" y="1576"/>
                      <a:pt x="199" y="1577"/>
                    </a:cubicBezTo>
                    <a:cubicBezTo>
                      <a:pt x="199" y="1577"/>
                      <a:pt x="198" y="1577"/>
                      <a:pt x="198" y="1577"/>
                    </a:cubicBezTo>
                    <a:cubicBezTo>
                      <a:pt x="198" y="1577"/>
                      <a:pt x="197" y="1577"/>
                      <a:pt x="197" y="1577"/>
                    </a:cubicBezTo>
                    <a:cubicBezTo>
                      <a:pt x="197" y="1577"/>
                      <a:pt x="196" y="1578"/>
                      <a:pt x="196" y="1578"/>
                    </a:cubicBezTo>
                    <a:cubicBezTo>
                      <a:pt x="195" y="1578"/>
                      <a:pt x="194" y="1578"/>
                      <a:pt x="193" y="1578"/>
                    </a:cubicBezTo>
                    <a:cubicBezTo>
                      <a:pt x="184" y="1576"/>
                      <a:pt x="206" y="1559"/>
                      <a:pt x="183" y="1563"/>
                    </a:cubicBezTo>
                    <a:cubicBezTo>
                      <a:pt x="181" y="1564"/>
                      <a:pt x="180" y="1565"/>
                      <a:pt x="179" y="1563"/>
                    </a:cubicBezTo>
                    <a:cubicBezTo>
                      <a:pt x="178" y="1562"/>
                      <a:pt x="178" y="1562"/>
                      <a:pt x="178" y="1562"/>
                    </a:cubicBezTo>
                    <a:cubicBezTo>
                      <a:pt x="177" y="1562"/>
                      <a:pt x="177" y="1569"/>
                      <a:pt x="174" y="1569"/>
                    </a:cubicBezTo>
                    <a:cubicBezTo>
                      <a:pt x="168" y="1569"/>
                      <a:pt x="170" y="1572"/>
                      <a:pt x="173" y="1575"/>
                    </a:cubicBezTo>
                    <a:cubicBezTo>
                      <a:pt x="177" y="1578"/>
                      <a:pt x="149" y="1585"/>
                      <a:pt x="149" y="1588"/>
                    </a:cubicBezTo>
                    <a:cubicBezTo>
                      <a:pt x="150" y="1591"/>
                      <a:pt x="145" y="1600"/>
                      <a:pt x="139" y="1599"/>
                    </a:cubicBezTo>
                    <a:cubicBezTo>
                      <a:pt x="133" y="1598"/>
                      <a:pt x="152" y="1581"/>
                      <a:pt x="146" y="1581"/>
                    </a:cubicBezTo>
                    <a:cubicBezTo>
                      <a:pt x="137" y="1583"/>
                      <a:pt x="132" y="1602"/>
                      <a:pt x="118" y="1596"/>
                    </a:cubicBezTo>
                    <a:cubicBezTo>
                      <a:pt x="117" y="1595"/>
                      <a:pt x="117" y="1593"/>
                      <a:pt x="117" y="1592"/>
                    </a:cubicBezTo>
                    <a:cubicBezTo>
                      <a:pt x="117" y="1581"/>
                      <a:pt x="143" y="1572"/>
                      <a:pt x="146" y="1558"/>
                    </a:cubicBezTo>
                    <a:cubicBezTo>
                      <a:pt x="146" y="1558"/>
                      <a:pt x="138" y="1556"/>
                      <a:pt x="136" y="1555"/>
                    </a:cubicBezTo>
                    <a:cubicBezTo>
                      <a:pt x="133" y="1552"/>
                      <a:pt x="133" y="1546"/>
                      <a:pt x="134" y="1543"/>
                    </a:cubicBezTo>
                    <a:cubicBezTo>
                      <a:pt x="137" y="1531"/>
                      <a:pt x="130" y="1546"/>
                      <a:pt x="126" y="1535"/>
                    </a:cubicBezTo>
                    <a:cubicBezTo>
                      <a:pt x="124" y="1528"/>
                      <a:pt x="134" y="1537"/>
                      <a:pt x="134" y="1534"/>
                    </a:cubicBezTo>
                    <a:cubicBezTo>
                      <a:pt x="135" y="1532"/>
                      <a:pt x="128" y="1513"/>
                      <a:pt x="129" y="1512"/>
                    </a:cubicBezTo>
                    <a:cubicBezTo>
                      <a:pt x="140" y="1511"/>
                      <a:pt x="134" y="1535"/>
                      <a:pt x="139" y="1534"/>
                    </a:cubicBezTo>
                    <a:cubicBezTo>
                      <a:pt x="149" y="1532"/>
                      <a:pt x="140" y="1502"/>
                      <a:pt x="168" y="1495"/>
                    </a:cubicBezTo>
                    <a:cubicBezTo>
                      <a:pt x="169" y="1494"/>
                      <a:pt x="169" y="1496"/>
                      <a:pt x="169" y="1496"/>
                    </a:cubicBezTo>
                    <a:cubicBezTo>
                      <a:pt x="171" y="1504"/>
                      <a:pt x="178" y="1498"/>
                      <a:pt x="185" y="1505"/>
                    </a:cubicBezTo>
                    <a:cubicBezTo>
                      <a:pt x="188" y="1509"/>
                      <a:pt x="187" y="1522"/>
                      <a:pt x="197" y="1524"/>
                    </a:cubicBezTo>
                    <a:cubicBezTo>
                      <a:pt x="197" y="1524"/>
                      <a:pt x="197" y="1524"/>
                      <a:pt x="197" y="1524"/>
                    </a:cubicBezTo>
                    <a:cubicBezTo>
                      <a:pt x="208" y="1520"/>
                      <a:pt x="185" y="1467"/>
                      <a:pt x="186" y="1467"/>
                    </a:cubicBezTo>
                    <a:cubicBezTo>
                      <a:pt x="186" y="1466"/>
                      <a:pt x="188" y="1471"/>
                      <a:pt x="191" y="1468"/>
                    </a:cubicBezTo>
                    <a:cubicBezTo>
                      <a:pt x="194" y="1464"/>
                      <a:pt x="188" y="1447"/>
                      <a:pt x="195" y="1462"/>
                    </a:cubicBezTo>
                    <a:cubicBezTo>
                      <a:pt x="196" y="1464"/>
                      <a:pt x="202" y="1466"/>
                      <a:pt x="203" y="1464"/>
                    </a:cubicBezTo>
                    <a:cubicBezTo>
                      <a:pt x="204" y="1462"/>
                      <a:pt x="198" y="1460"/>
                      <a:pt x="200" y="1458"/>
                    </a:cubicBezTo>
                    <a:cubicBezTo>
                      <a:pt x="201" y="1457"/>
                      <a:pt x="235" y="1448"/>
                      <a:pt x="238" y="1449"/>
                    </a:cubicBezTo>
                    <a:cubicBezTo>
                      <a:pt x="240" y="1449"/>
                      <a:pt x="236" y="1453"/>
                      <a:pt x="239" y="1454"/>
                    </a:cubicBezTo>
                    <a:cubicBezTo>
                      <a:pt x="242" y="1455"/>
                      <a:pt x="245" y="1449"/>
                      <a:pt x="247" y="1451"/>
                    </a:cubicBezTo>
                    <a:cubicBezTo>
                      <a:pt x="249" y="1453"/>
                      <a:pt x="241" y="1461"/>
                      <a:pt x="245" y="1462"/>
                    </a:cubicBezTo>
                    <a:cubicBezTo>
                      <a:pt x="253" y="1462"/>
                      <a:pt x="248" y="1455"/>
                      <a:pt x="250" y="1456"/>
                    </a:cubicBezTo>
                    <a:cubicBezTo>
                      <a:pt x="253" y="1456"/>
                      <a:pt x="254" y="1464"/>
                      <a:pt x="257" y="1463"/>
                    </a:cubicBezTo>
                    <a:cubicBezTo>
                      <a:pt x="261" y="1462"/>
                      <a:pt x="270" y="1456"/>
                      <a:pt x="274" y="1461"/>
                    </a:cubicBezTo>
                    <a:cubicBezTo>
                      <a:pt x="282" y="1470"/>
                      <a:pt x="262" y="1486"/>
                      <a:pt x="261" y="1494"/>
                    </a:cubicBezTo>
                    <a:cubicBezTo>
                      <a:pt x="260" y="1508"/>
                      <a:pt x="271" y="1489"/>
                      <a:pt x="278" y="1498"/>
                    </a:cubicBezTo>
                    <a:cubicBezTo>
                      <a:pt x="282" y="1503"/>
                      <a:pt x="265" y="1507"/>
                      <a:pt x="265" y="1508"/>
                    </a:cubicBezTo>
                    <a:cubicBezTo>
                      <a:pt x="264" y="1510"/>
                      <a:pt x="269" y="1513"/>
                      <a:pt x="269" y="1514"/>
                    </a:cubicBezTo>
                    <a:cubicBezTo>
                      <a:pt x="273" y="1523"/>
                      <a:pt x="258" y="1540"/>
                      <a:pt x="258" y="1541"/>
                    </a:cubicBezTo>
                    <a:cubicBezTo>
                      <a:pt x="257" y="1542"/>
                      <a:pt x="253" y="1547"/>
                      <a:pt x="252" y="1547"/>
                    </a:cubicBezTo>
                    <a:close/>
                    <a:moveTo>
                      <a:pt x="268" y="1788"/>
                    </a:moveTo>
                    <a:cubicBezTo>
                      <a:pt x="268" y="1789"/>
                      <a:pt x="268" y="1789"/>
                      <a:pt x="268" y="1789"/>
                    </a:cubicBezTo>
                    <a:cubicBezTo>
                      <a:pt x="267" y="1795"/>
                      <a:pt x="262" y="1766"/>
                      <a:pt x="272" y="1767"/>
                    </a:cubicBezTo>
                    <a:cubicBezTo>
                      <a:pt x="275" y="1767"/>
                      <a:pt x="268" y="1785"/>
                      <a:pt x="268" y="1788"/>
                    </a:cubicBezTo>
                    <a:close/>
                    <a:moveTo>
                      <a:pt x="273" y="1782"/>
                    </a:moveTo>
                    <a:cubicBezTo>
                      <a:pt x="273" y="1779"/>
                      <a:pt x="279" y="1770"/>
                      <a:pt x="281" y="1775"/>
                    </a:cubicBezTo>
                    <a:cubicBezTo>
                      <a:pt x="282" y="1777"/>
                      <a:pt x="276" y="1784"/>
                      <a:pt x="276" y="1788"/>
                    </a:cubicBezTo>
                    <a:cubicBezTo>
                      <a:pt x="276" y="1788"/>
                      <a:pt x="276" y="1788"/>
                      <a:pt x="276" y="1788"/>
                    </a:cubicBezTo>
                    <a:cubicBezTo>
                      <a:pt x="277" y="1800"/>
                      <a:pt x="273" y="1791"/>
                      <a:pt x="273" y="1782"/>
                    </a:cubicBezTo>
                    <a:close/>
                    <a:moveTo>
                      <a:pt x="289" y="1836"/>
                    </a:moveTo>
                    <a:cubicBezTo>
                      <a:pt x="289" y="1836"/>
                      <a:pt x="289" y="1836"/>
                      <a:pt x="289" y="1836"/>
                    </a:cubicBezTo>
                    <a:cubicBezTo>
                      <a:pt x="287" y="1840"/>
                      <a:pt x="283" y="1851"/>
                      <a:pt x="280" y="1848"/>
                    </a:cubicBezTo>
                    <a:cubicBezTo>
                      <a:pt x="265" y="1833"/>
                      <a:pt x="300" y="1829"/>
                      <a:pt x="289" y="1836"/>
                    </a:cubicBezTo>
                    <a:close/>
                    <a:moveTo>
                      <a:pt x="314" y="1908"/>
                    </a:moveTo>
                    <a:cubicBezTo>
                      <a:pt x="315" y="1923"/>
                      <a:pt x="290" y="1917"/>
                      <a:pt x="294" y="1908"/>
                    </a:cubicBezTo>
                    <a:cubicBezTo>
                      <a:pt x="295" y="1905"/>
                      <a:pt x="299" y="1911"/>
                      <a:pt x="302" y="1911"/>
                    </a:cubicBezTo>
                    <a:cubicBezTo>
                      <a:pt x="305" y="1909"/>
                      <a:pt x="302" y="1903"/>
                      <a:pt x="306" y="1906"/>
                    </a:cubicBezTo>
                    <a:cubicBezTo>
                      <a:pt x="308" y="1908"/>
                      <a:pt x="310" y="1906"/>
                      <a:pt x="311" y="1907"/>
                    </a:cubicBezTo>
                    <a:cubicBezTo>
                      <a:pt x="312" y="1911"/>
                      <a:pt x="314" y="1905"/>
                      <a:pt x="314" y="1908"/>
                    </a:cubicBezTo>
                    <a:close/>
                    <a:moveTo>
                      <a:pt x="341" y="1844"/>
                    </a:moveTo>
                    <a:cubicBezTo>
                      <a:pt x="332" y="1839"/>
                      <a:pt x="339" y="1853"/>
                      <a:pt x="339" y="1853"/>
                    </a:cubicBezTo>
                    <a:cubicBezTo>
                      <a:pt x="329" y="1856"/>
                      <a:pt x="326" y="1841"/>
                      <a:pt x="322" y="1829"/>
                    </a:cubicBezTo>
                    <a:cubicBezTo>
                      <a:pt x="321" y="1827"/>
                      <a:pt x="319" y="1821"/>
                      <a:pt x="323" y="1823"/>
                    </a:cubicBezTo>
                    <a:cubicBezTo>
                      <a:pt x="323" y="1823"/>
                      <a:pt x="323" y="1823"/>
                      <a:pt x="323" y="1823"/>
                    </a:cubicBezTo>
                    <a:cubicBezTo>
                      <a:pt x="324" y="1827"/>
                      <a:pt x="323" y="1830"/>
                      <a:pt x="325" y="1833"/>
                    </a:cubicBezTo>
                    <a:cubicBezTo>
                      <a:pt x="332" y="1848"/>
                      <a:pt x="329" y="1826"/>
                      <a:pt x="332" y="1827"/>
                    </a:cubicBezTo>
                    <a:cubicBezTo>
                      <a:pt x="337" y="1829"/>
                      <a:pt x="334" y="1837"/>
                      <a:pt x="339" y="1835"/>
                    </a:cubicBezTo>
                    <a:cubicBezTo>
                      <a:pt x="340" y="1834"/>
                      <a:pt x="351" y="1849"/>
                      <a:pt x="341" y="1844"/>
                    </a:cubicBezTo>
                    <a:close/>
                    <a:moveTo>
                      <a:pt x="338" y="1788"/>
                    </a:moveTo>
                    <a:cubicBezTo>
                      <a:pt x="338" y="1789"/>
                      <a:pt x="338" y="1789"/>
                      <a:pt x="338" y="1789"/>
                    </a:cubicBezTo>
                    <a:cubicBezTo>
                      <a:pt x="346" y="1792"/>
                      <a:pt x="340" y="1805"/>
                      <a:pt x="334" y="1802"/>
                    </a:cubicBezTo>
                    <a:cubicBezTo>
                      <a:pt x="317" y="1795"/>
                      <a:pt x="342" y="1784"/>
                      <a:pt x="338" y="1788"/>
                    </a:cubicBezTo>
                    <a:close/>
                    <a:moveTo>
                      <a:pt x="334" y="1600"/>
                    </a:moveTo>
                    <a:cubicBezTo>
                      <a:pt x="333" y="1595"/>
                      <a:pt x="347" y="1593"/>
                      <a:pt x="348" y="1598"/>
                    </a:cubicBezTo>
                    <a:cubicBezTo>
                      <a:pt x="347" y="1600"/>
                      <a:pt x="334" y="1605"/>
                      <a:pt x="334" y="1600"/>
                    </a:cubicBezTo>
                    <a:close/>
                    <a:moveTo>
                      <a:pt x="347" y="1789"/>
                    </a:moveTo>
                    <a:cubicBezTo>
                      <a:pt x="346" y="1788"/>
                      <a:pt x="354" y="1783"/>
                      <a:pt x="354" y="1788"/>
                    </a:cubicBezTo>
                    <a:cubicBezTo>
                      <a:pt x="354" y="1789"/>
                      <a:pt x="354" y="1789"/>
                      <a:pt x="354" y="1789"/>
                    </a:cubicBezTo>
                    <a:cubicBezTo>
                      <a:pt x="358" y="1794"/>
                      <a:pt x="349" y="1791"/>
                      <a:pt x="347" y="1789"/>
                    </a:cubicBezTo>
                    <a:close/>
                    <a:moveTo>
                      <a:pt x="328" y="1594"/>
                    </a:moveTo>
                    <a:cubicBezTo>
                      <a:pt x="317" y="1607"/>
                      <a:pt x="320" y="1632"/>
                      <a:pt x="306" y="1648"/>
                    </a:cubicBezTo>
                    <a:cubicBezTo>
                      <a:pt x="306" y="1649"/>
                      <a:pt x="306" y="1649"/>
                      <a:pt x="306" y="1649"/>
                    </a:cubicBezTo>
                    <a:cubicBezTo>
                      <a:pt x="296" y="1654"/>
                      <a:pt x="294" y="1679"/>
                      <a:pt x="285" y="1679"/>
                    </a:cubicBezTo>
                    <a:cubicBezTo>
                      <a:pt x="267" y="1679"/>
                      <a:pt x="287" y="1636"/>
                      <a:pt x="287" y="1630"/>
                    </a:cubicBezTo>
                    <a:cubicBezTo>
                      <a:pt x="288" y="1622"/>
                      <a:pt x="314" y="1562"/>
                      <a:pt x="316" y="1560"/>
                    </a:cubicBezTo>
                    <a:cubicBezTo>
                      <a:pt x="334" y="1542"/>
                      <a:pt x="334" y="1550"/>
                      <a:pt x="348" y="1533"/>
                    </a:cubicBezTo>
                    <a:cubicBezTo>
                      <a:pt x="349" y="1532"/>
                      <a:pt x="349" y="1525"/>
                      <a:pt x="349" y="1525"/>
                    </a:cubicBezTo>
                    <a:cubicBezTo>
                      <a:pt x="365" y="1520"/>
                      <a:pt x="342" y="1563"/>
                      <a:pt x="343" y="1567"/>
                    </a:cubicBezTo>
                    <a:cubicBezTo>
                      <a:pt x="345" y="1570"/>
                      <a:pt x="359" y="1568"/>
                      <a:pt x="356" y="1576"/>
                    </a:cubicBezTo>
                    <a:cubicBezTo>
                      <a:pt x="352" y="1585"/>
                      <a:pt x="336" y="1584"/>
                      <a:pt x="328" y="1594"/>
                    </a:cubicBezTo>
                    <a:close/>
                    <a:moveTo>
                      <a:pt x="361" y="1779"/>
                    </a:moveTo>
                    <a:cubicBezTo>
                      <a:pt x="355" y="1781"/>
                      <a:pt x="355" y="1758"/>
                      <a:pt x="357" y="1761"/>
                    </a:cubicBezTo>
                    <a:cubicBezTo>
                      <a:pt x="357" y="1762"/>
                      <a:pt x="357" y="1762"/>
                      <a:pt x="357" y="1762"/>
                    </a:cubicBezTo>
                    <a:cubicBezTo>
                      <a:pt x="359" y="1762"/>
                      <a:pt x="361" y="1779"/>
                      <a:pt x="361" y="1779"/>
                    </a:cubicBezTo>
                    <a:close/>
                    <a:moveTo>
                      <a:pt x="365" y="1826"/>
                    </a:moveTo>
                    <a:cubicBezTo>
                      <a:pt x="356" y="1817"/>
                      <a:pt x="365" y="1823"/>
                      <a:pt x="368" y="1821"/>
                    </a:cubicBezTo>
                    <a:cubicBezTo>
                      <a:pt x="369" y="1820"/>
                      <a:pt x="370" y="1818"/>
                      <a:pt x="371" y="1820"/>
                    </a:cubicBezTo>
                    <a:cubicBezTo>
                      <a:pt x="371" y="1820"/>
                      <a:pt x="371" y="1820"/>
                      <a:pt x="371" y="1820"/>
                    </a:cubicBezTo>
                    <a:cubicBezTo>
                      <a:pt x="374" y="1827"/>
                      <a:pt x="370" y="1832"/>
                      <a:pt x="365" y="1826"/>
                    </a:cubicBezTo>
                    <a:close/>
                    <a:moveTo>
                      <a:pt x="386" y="1650"/>
                    </a:moveTo>
                    <a:cubicBezTo>
                      <a:pt x="380" y="1649"/>
                      <a:pt x="393" y="1661"/>
                      <a:pt x="389" y="1665"/>
                    </a:cubicBezTo>
                    <a:cubicBezTo>
                      <a:pt x="385" y="1667"/>
                      <a:pt x="381" y="1650"/>
                      <a:pt x="379" y="1649"/>
                    </a:cubicBezTo>
                    <a:cubicBezTo>
                      <a:pt x="375" y="1647"/>
                      <a:pt x="375" y="1661"/>
                      <a:pt x="375" y="1661"/>
                    </a:cubicBezTo>
                    <a:cubicBezTo>
                      <a:pt x="372" y="1661"/>
                      <a:pt x="357" y="1643"/>
                      <a:pt x="357" y="1640"/>
                    </a:cubicBezTo>
                    <a:cubicBezTo>
                      <a:pt x="357" y="1640"/>
                      <a:pt x="359" y="1637"/>
                      <a:pt x="359" y="1633"/>
                    </a:cubicBezTo>
                    <a:cubicBezTo>
                      <a:pt x="358" y="1623"/>
                      <a:pt x="361" y="1639"/>
                      <a:pt x="362" y="1641"/>
                    </a:cubicBezTo>
                    <a:cubicBezTo>
                      <a:pt x="362" y="1645"/>
                      <a:pt x="365" y="1642"/>
                      <a:pt x="367" y="1643"/>
                    </a:cubicBezTo>
                    <a:cubicBezTo>
                      <a:pt x="375" y="1644"/>
                      <a:pt x="376" y="1636"/>
                      <a:pt x="384" y="1646"/>
                    </a:cubicBezTo>
                    <a:cubicBezTo>
                      <a:pt x="386" y="1648"/>
                      <a:pt x="389" y="1642"/>
                      <a:pt x="389" y="1648"/>
                    </a:cubicBezTo>
                    <a:cubicBezTo>
                      <a:pt x="390" y="1649"/>
                      <a:pt x="390" y="1649"/>
                      <a:pt x="390" y="1649"/>
                    </a:cubicBezTo>
                    <a:cubicBezTo>
                      <a:pt x="393" y="1660"/>
                      <a:pt x="389" y="1651"/>
                      <a:pt x="386" y="1650"/>
                    </a:cubicBezTo>
                    <a:close/>
                    <a:moveTo>
                      <a:pt x="405" y="1499"/>
                    </a:moveTo>
                    <a:cubicBezTo>
                      <a:pt x="405" y="1499"/>
                      <a:pt x="405" y="1499"/>
                      <a:pt x="405" y="1499"/>
                    </a:cubicBezTo>
                    <a:cubicBezTo>
                      <a:pt x="406" y="1514"/>
                      <a:pt x="383" y="1499"/>
                      <a:pt x="405" y="1499"/>
                    </a:cubicBezTo>
                    <a:close/>
                    <a:moveTo>
                      <a:pt x="413" y="1572"/>
                    </a:moveTo>
                    <a:cubicBezTo>
                      <a:pt x="413" y="1572"/>
                      <a:pt x="413" y="1572"/>
                      <a:pt x="413" y="1572"/>
                    </a:cubicBezTo>
                    <a:cubicBezTo>
                      <a:pt x="420" y="1572"/>
                      <a:pt x="426" y="1573"/>
                      <a:pt x="432" y="1574"/>
                    </a:cubicBezTo>
                    <a:cubicBezTo>
                      <a:pt x="455" y="1574"/>
                      <a:pt x="427" y="1576"/>
                      <a:pt x="425" y="1577"/>
                    </a:cubicBezTo>
                    <a:cubicBezTo>
                      <a:pt x="412" y="1588"/>
                      <a:pt x="394" y="1580"/>
                      <a:pt x="413" y="1572"/>
                    </a:cubicBezTo>
                    <a:close/>
                    <a:moveTo>
                      <a:pt x="434" y="1507"/>
                    </a:moveTo>
                    <a:cubicBezTo>
                      <a:pt x="435" y="1507"/>
                      <a:pt x="435" y="1507"/>
                      <a:pt x="435" y="1507"/>
                    </a:cubicBezTo>
                    <a:cubicBezTo>
                      <a:pt x="447" y="1514"/>
                      <a:pt x="460" y="1521"/>
                      <a:pt x="440" y="1518"/>
                    </a:cubicBezTo>
                    <a:cubicBezTo>
                      <a:pt x="439" y="1518"/>
                      <a:pt x="426" y="1516"/>
                      <a:pt x="432" y="1516"/>
                    </a:cubicBezTo>
                    <a:cubicBezTo>
                      <a:pt x="447" y="1516"/>
                      <a:pt x="416" y="1504"/>
                      <a:pt x="434" y="1507"/>
                    </a:cubicBezTo>
                    <a:close/>
                    <a:moveTo>
                      <a:pt x="440" y="1649"/>
                    </a:moveTo>
                    <a:cubicBezTo>
                      <a:pt x="420" y="1650"/>
                      <a:pt x="443" y="1652"/>
                      <a:pt x="440" y="1658"/>
                    </a:cubicBezTo>
                    <a:cubicBezTo>
                      <a:pt x="436" y="1666"/>
                      <a:pt x="422" y="1649"/>
                      <a:pt x="427" y="1645"/>
                    </a:cubicBezTo>
                    <a:cubicBezTo>
                      <a:pt x="431" y="1643"/>
                      <a:pt x="431" y="1643"/>
                      <a:pt x="432" y="1645"/>
                    </a:cubicBezTo>
                    <a:cubicBezTo>
                      <a:pt x="434" y="1648"/>
                      <a:pt x="442" y="1644"/>
                      <a:pt x="446" y="1648"/>
                    </a:cubicBezTo>
                    <a:cubicBezTo>
                      <a:pt x="446" y="1648"/>
                      <a:pt x="446" y="1648"/>
                      <a:pt x="446" y="1648"/>
                    </a:cubicBezTo>
                    <a:cubicBezTo>
                      <a:pt x="444" y="1649"/>
                      <a:pt x="442" y="1648"/>
                      <a:pt x="440" y="1649"/>
                    </a:cubicBezTo>
                    <a:close/>
                    <a:moveTo>
                      <a:pt x="440" y="1565"/>
                    </a:moveTo>
                    <a:cubicBezTo>
                      <a:pt x="429" y="1565"/>
                      <a:pt x="437" y="1550"/>
                      <a:pt x="442" y="1553"/>
                    </a:cubicBezTo>
                    <a:cubicBezTo>
                      <a:pt x="442" y="1553"/>
                      <a:pt x="442" y="1553"/>
                      <a:pt x="442" y="1553"/>
                    </a:cubicBezTo>
                    <a:cubicBezTo>
                      <a:pt x="452" y="1561"/>
                      <a:pt x="459" y="1567"/>
                      <a:pt x="440" y="1565"/>
                    </a:cubicBezTo>
                    <a:close/>
                    <a:moveTo>
                      <a:pt x="497" y="1522"/>
                    </a:moveTo>
                    <a:cubicBezTo>
                      <a:pt x="497" y="1522"/>
                      <a:pt x="497" y="1522"/>
                      <a:pt x="497" y="1522"/>
                    </a:cubicBezTo>
                    <a:cubicBezTo>
                      <a:pt x="500" y="1522"/>
                      <a:pt x="502" y="1524"/>
                      <a:pt x="504" y="1532"/>
                    </a:cubicBezTo>
                    <a:cubicBezTo>
                      <a:pt x="504" y="1534"/>
                      <a:pt x="511" y="1537"/>
                      <a:pt x="511" y="1537"/>
                    </a:cubicBezTo>
                    <a:cubicBezTo>
                      <a:pt x="510" y="1539"/>
                      <a:pt x="501" y="1535"/>
                      <a:pt x="500" y="1535"/>
                    </a:cubicBezTo>
                    <a:cubicBezTo>
                      <a:pt x="490" y="1532"/>
                      <a:pt x="503" y="1533"/>
                      <a:pt x="489" y="1523"/>
                    </a:cubicBezTo>
                    <a:cubicBezTo>
                      <a:pt x="483" y="1519"/>
                      <a:pt x="493" y="1522"/>
                      <a:pt x="497" y="1522"/>
                    </a:cubicBezTo>
                    <a:close/>
                    <a:moveTo>
                      <a:pt x="479" y="1465"/>
                    </a:moveTo>
                    <a:cubicBezTo>
                      <a:pt x="481" y="1465"/>
                      <a:pt x="485" y="1462"/>
                      <a:pt x="484" y="1463"/>
                    </a:cubicBezTo>
                    <a:cubicBezTo>
                      <a:pt x="483" y="1471"/>
                      <a:pt x="448" y="1474"/>
                      <a:pt x="442" y="1477"/>
                    </a:cubicBezTo>
                    <a:cubicBezTo>
                      <a:pt x="432" y="1481"/>
                      <a:pt x="440" y="1485"/>
                      <a:pt x="423" y="1487"/>
                    </a:cubicBezTo>
                    <a:cubicBezTo>
                      <a:pt x="402" y="1489"/>
                      <a:pt x="416" y="1476"/>
                      <a:pt x="415" y="1475"/>
                    </a:cubicBezTo>
                    <a:cubicBezTo>
                      <a:pt x="412" y="1473"/>
                      <a:pt x="409" y="1477"/>
                      <a:pt x="406" y="1474"/>
                    </a:cubicBezTo>
                    <a:cubicBezTo>
                      <a:pt x="403" y="1471"/>
                      <a:pt x="410" y="1470"/>
                      <a:pt x="407" y="1469"/>
                    </a:cubicBezTo>
                    <a:cubicBezTo>
                      <a:pt x="407" y="1469"/>
                      <a:pt x="388" y="1469"/>
                      <a:pt x="385" y="1469"/>
                    </a:cubicBezTo>
                    <a:cubicBezTo>
                      <a:pt x="384" y="1468"/>
                      <a:pt x="376" y="1470"/>
                      <a:pt x="377" y="1466"/>
                    </a:cubicBezTo>
                    <a:cubicBezTo>
                      <a:pt x="379" y="1463"/>
                      <a:pt x="394" y="1468"/>
                      <a:pt x="397" y="1467"/>
                    </a:cubicBezTo>
                    <a:cubicBezTo>
                      <a:pt x="405" y="1465"/>
                      <a:pt x="414" y="1458"/>
                      <a:pt x="424" y="1464"/>
                    </a:cubicBezTo>
                    <a:cubicBezTo>
                      <a:pt x="430" y="1467"/>
                      <a:pt x="432" y="1467"/>
                      <a:pt x="446" y="1467"/>
                    </a:cubicBezTo>
                    <a:cubicBezTo>
                      <a:pt x="446" y="1466"/>
                      <a:pt x="446" y="1466"/>
                      <a:pt x="446" y="1466"/>
                    </a:cubicBezTo>
                    <a:cubicBezTo>
                      <a:pt x="451" y="1464"/>
                      <a:pt x="472" y="1468"/>
                      <a:pt x="479" y="1465"/>
                    </a:cubicBezTo>
                    <a:close/>
                    <a:moveTo>
                      <a:pt x="443" y="1376"/>
                    </a:moveTo>
                    <a:cubicBezTo>
                      <a:pt x="441" y="1375"/>
                      <a:pt x="437" y="1374"/>
                      <a:pt x="439" y="1373"/>
                    </a:cubicBezTo>
                    <a:cubicBezTo>
                      <a:pt x="440" y="1372"/>
                      <a:pt x="433" y="1370"/>
                      <a:pt x="441" y="1369"/>
                    </a:cubicBezTo>
                    <a:cubicBezTo>
                      <a:pt x="443" y="1369"/>
                      <a:pt x="448" y="1368"/>
                      <a:pt x="447" y="1371"/>
                    </a:cubicBezTo>
                    <a:cubicBezTo>
                      <a:pt x="446" y="1372"/>
                      <a:pt x="446" y="1372"/>
                      <a:pt x="446" y="1372"/>
                    </a:cubicBezTo>
                    <a:cubicBezTo>
                      <a:pt x="445" y="1377"/>
                      <a:pt x="450" y="1382"/>
                      <a:pt x="443" y="1376"/>
                    </a:cubicBezTo>
                    <a:close/>
                    <a:moveTo>
                      <a:pt x="449" y="1078"/>
                    </a:moveTo>
                    <a:cubicBezTo>
                      <a:pt x="449" y="1078"/>
                      <a:pt x="439" y="1081"/>
                      <a:pt x="436" y="1078"/>
                    </a:cubicBezTo>
                    <a:cubicBezTo>
                      <a:pt x="435" y="1078"/>
                      <a:pt x="432" y="1075"/>
                      <a:pt x="432" y="1074"/>
                    </a:cubicBezTo>
                    <a:cubicBezTo>
                      <a:pt x="433" y="1072"/>
                      <a:pt x="437" y="1073"/>
                      <a:pt x="438" y="1074"/>
                    </a:cubicBezTo>
                    <a:cubicBezTo>
                      <a:pt x="445" y="1077"/>
                      <a:pt x="436" y="1063"/>
                      <a:pt x="446" y="1075"/>
                    </a:cubicBezTo>
                    <a:cubicBezTo>
                      <a:pt x="447" y="1075"/>
                      <a:pt x="447" y="1075"/>
                      <a:pt x="447" y="1075"/>
                    </a:cubicBezTo>
                    <a:cubicBezTo>
                      <a:pt x="451" y="1076"/>
                      <a:pt x="448" y="1076"/>
                      <a:pt x="449" y="1078"/>
                    </a:cubicBezTo>
                    <a:close/>
                    <a:moveTo>
                      <a:pt x="442" y="648"/>
                    </a:moveTo>
                    <a:cubicBezTo>
                      <a:pt x="442" y="648"/>
                      <a:pt x="434" y="633"/>
                      <a:pt x="439" y="638"/>
                    </a:cubicBezTo>
                    <a:cubicBezTo>
                      <a:pt x="440" y="639"/>
                      <a:pt x="440" y="639"/>
                      <a:pt x="440" y="639"/>
                    </a:cubicBezTo>
                    <a:cubicBezTo>
                      <a:pt x="442" y="652"/>
                      <a:pt x="493" y="679"/>
                      <a:pt x="501" y="681"/>
                    </a:cubicBezTo>
                    <a:cubicBezTo>
                      <a:pt x="509" y="684"/>
                      <a:pt x="515" y="698"/>
                      <a:pt x="517" y="703"/>
                    </a:cubicBezTo>
                    <a:cubicBezTo>
                      <a:pt x="517" y="704"/>
                      <a:pt x="516" y="706"/>
                      <a:pt x="515" y="707"/>
                    </a:cubicBezTo>
                    <a:cubicBezTo>
                      <a:pt x="514" y="707"/>
                      <a:pt x="511" y="698"/>
                      <a:pt x="511" y="697"/>
                    </a:cubicBezTo>
                    <a:cubicBezTo>
                      <a:pt x="503" y="689"/>
                      <a:pt x="494" y="683"/>
                      <a:pt x="485" y="678"/>
                    </a:cubicBezTo>
                    <a:cubicBezTo>
                      <a:pt x="466" y="666"/>
                      <a:pt x="489" y="690"/>
                      <a:pt x="477" y="681"/>
                    </a:cubicBezTo>
                    <a:cubicBezTo>
                      <a:pt x="473" y="678"/>
                      <a:pt x="473" y="674"/>
                      <a:pt x="469" y="671"/>
                    </a:cubicBezTo>
                    <a:cubicBezTo>
                      <a:pt x="460" y="662"/>
                      <a:pt x="449" y="658"/>
                      <a:pt x="442" y="648"/>
                    </a:cubicBezTo>
                    <a:close/>
                    <a:moveTo>
                      <a:pt x="502" y="1087"/>
                    </a:moveTo>
                    <a:cubicBezTo>
                      <a:pt x="505" y="1086"/>
                      <a:pt x="508" y="1086"/>
                      <a:pt x="511" y="1086"/>
                    </a:cubicBezTo>
                    <a:cubicBezTo>
                      <a:pt x="511" y="1086"/>
                      <a:pt x="511" y="1086"/>
                      <a:pt x="511" y="1086"/>
                    </a:cubicBezTo>
                    <a:cubicBezTo>
                      <a:pt x="540" y="1114"/>
                      <a:pt x="489" y="1090"/>
                      <a:pt x="502" y="1087"/>
                    </a:cubicBezTo>
                    <a:close/>
                    <a:moveTo>
                      <a:pt x="502" y="1102"/>
                    </a:moveTo>
                    <a:cubicBezTo>
                      <a:pt x="508" y="1103"/>
                      <a:pt x="496" y="1097"/>
                      <a:pt x="504" y="1097"/>
                    </a:cubicBezTo>
                    <a:cubicBezTo>
                      <a:pt x="504" y="1097"/>
                      <a:pt x="504" y="1097"/>
                      <a:pt x="504" y="1097"/>
                    </a:cubicBezTo>
                    <a:cubicBezTo>
                      <a:pt x="511" y="1099"/>
                      <a:pt x="520" y="1110"/>
                      <a:pt x="515" y="1108"/>
                    </a:cubicBezTo>
                    <a:cubicBezTo>
                      <a:pt x="512" y="1106"/>
                      <a:pt x="493" y="1101"/>
                      <a:pt x="502" y="1102"/>
                    </a:cubicBezTo>
                    <a:close/>
                    <a:moveTo>
                      <a:pt x="527" y="1277"/>
                    </a:moveTo>
                    <a:cubicBezTo>
                      <a:pt x="527" y="1277"/>
                      <a:pt x="527" y="1277"/>
                      <a:pt x="527" y="1277"/>
                    </a:cubicBezTo>
                    <a:cubicBezTo>
                      <a:pt x="526" y="1288"/>
                      <a:pt x="506" y="1289"/>
                      <a:pt x="501" y="1283"/>
                    </a:cubicBezTo>
                    <a:cubicBezTo>
                      <a:pt x="498" y="1280"/>
                      <a:pt x="528" y="1276"/>
                      <a:pt x="527" y="1277"/>
                    </a:cubicBezTo>
                    <a:close/>
                    <a:moveTo>
                      <a:pt x="510" y="810"/>
                    </a:moveTo>
                    <a:cubicBezTo>
                      <a:pt x="511" y="807"/>
                      <a:pt x="522" y="820"/>
                      <a:pt x="524" y="815"/>
                    </a:cubicBezTo>
                    <a:cubicBezTo>
                      <a:pt x="525" y="813"/>
                      <a:pt x="525" y="807"/>
                      <a:pt x="526" y="809"/>
                    </a:cubicBezTo>
                    <a:cubicBezTo>
                      <a:pt x="526" y="809"/>
                      <a:pt x="526" y="809"/>
                      <a:pt x="526" y="809"/>
                    </a:cubicBezTo>
                    <a:cubicBezTo>
                      <a:pt x="546" y="825"/>
                      <a:pt x="508" y="824"/>
                      <a:pt x="510" y="810"/>
                    </a:cubicBezTo>
                    <a:close/>
                    <a:moveTo>
                      <a:pt x="482" y="1143"/>
                    </a:moveTo>
                    <a:cubicBezTo>
                      <a:pt x="478" y="1144"/>
                      <a:pt x="476" y="1128"/>
                      <a:pt x="472" y="1127"/>
                    </a:cubicBezTo>
                    <a:cubicBezTo>
                      <a:pt x="469" y="1126"/>
                      <a:pt x="462" y="1127"/>
                      <a:pt x="462" y="1122"/>
                    </a:cubicBezTo>
                    <a:cubicBezTo>
                      <a:pt x="462" y="1119"/>
                      <a:pt x="473" y="1124"/>
                      <a:pt x="473" y="1120"/>
                    </a:cubicBezTo>
                    <a:cubicBezTo>
                      <a:pt x="473" y="1116"/>
                      <a:pt x="475" y="1121"/>
                      <a:pt x="475" y="1122"/>
                    </a:cubicBezTo>
                    <a:cubicBezTo>
                      <a:pt x="475" y="1122"/>
                      <a:pt x="475" y="1122"/>
                      <a:pt x="475" y="1122"/>
                    </a:cubicBezTo>
                    <a:cubicBezTo>
                      <a:pt x="476" y="1125"/>
                      <a:pt x="485" y="1141"/>
                      <a:pt x="482" y="1143"/>
                    </a:cubicBezTo>
                    <a:close/>
                    <a:moveTo>
                      <a:pt x="472" y="966"/>
                    </a:moveTo>
                    <a:cubicBezTo>
                      <a:pt x="472" y="964"/>
                      <a:pt x="481" y="966"/>
                      <a:pt x="487" y="968"/>
                    </a:cubicBezTo>
                    <a:cubicBezTo>
                      <a:pt x="487" y="968"/>
                      <a:pt x="487" y="968"/>
                      <a:pt x="487" y="968"/>
                    </a:cubicBezTo>
                    <a:cubicBezTo>
                      <a:pt x="487" y="968"/>
                      <a:pt x="519" y="980"/>
                      <a:pt x="515" y="985"/>
                    </a:cubicBezTo>
                    <a:cubicBezTo>
                      <a:pt x="513" y="987"/>
                      <a:pt x="500" y="974"/>
                      <a:pt x="498" y="974"/>
                    </a:cubicBezTo>
                    <a:cubicBezTo>
                      <a:pt x="493" y="971"/>
                      <a:pt x="474" y="977"/>
                      <a:pt x="472" y="966"/>
                    </a:cubicBezTo>
                    <a:close/>
                    <a:moveTo>
                      <a:pt x="573" y="1341"/>
                    </a:moveTo>
                    <a:cubicBezTo>
                      <a:pt x="573" y="1341"/>
                      <a:pt x="573" y="1341"/>
                      <a:pt x="573" y="1341"/>
                    </a:cubicBezTo>
                    <a:cubicBezTo>
                      <a:pt x="573" y="1346"/>
                      <a:pt x="557" y="1345"/>
                      <a:pt x="558" y="1343"/>
                    </a:cubicBezTo>
                    <a:cubicBezTo>
                      <a:pt x="560" y="1338"/>
                      <a:pt x="577" y="1337"/>
                      <a:pt x="573" y="1341"/>
                    </a:cubicBezTo>
                    <a:close/>
                    <a:moveTo>
                      <a:pt x="547" y="1307"/>
                    </a:moveTo>
                    <a:cubicBezTo>
                      <a:pt x="548" y="1306"/>
                      <a:pt x="572" y="1299"/>
                      <a:pt x="571" y="1298"/>
                    </a:cubicBezTo>
                    <a:cubicBezTo>
                      <a:pt x="571" y="1297"/>
                      <a:pt x="570" y="1296"/>
                      <a:pt x="569" y="1296"/>
                    </a:cubicBezTo>
                    <a:cubicBezTo>
                      <a:pt x="562" y="1288"/>
                      <a:pt x="579" y="1289"/>
                      <a:pt x="572" y="1301"/>
                    </a:cubicBezTo>
                    <a:cubicBezTo>
                      <a:pt x="568" y="1306"/>
                      <a:pt x="553" y="1318"/>
                      <a:pt x="548" y="1320"/>
                    </a:cubicBezTo>
                    <a:cubicBezTo>
                      <a:pt x="543" y="1321"/>
                      <a:pt x="550" y="1310"/>
                      <a:pt x="541" y="1315"/>
                    </a:cubicBezTo>
                    <a:cubicBezTo>
                      <a:pt x="538" y="1317"/>
                      <a:pt x="539" y="1323"/>
                      <a:pt x="536" y="1325"/>
                    </a:cubicBezTo>
                    <a:cubicBezTo>
                      <a:pt x="535" y="1325"/>
                      <a:pt x="535" y="1325"/>
                      <a:pt x="535" y="1325"/>
                    </a:cubicBezTo>
                    <a:cubicBezTo>
                      <a:pt x="534" y="1327"/>
                      <a:pt x="526" y="1323"/>
                      <a:pt x="523" y="1326"/>
                    </a:cubicBezTo>
                    <a:cubicBezTo>
                      <a:pt x="515" y="1333"/>
                      <a:pt x="528" y="1347"/>
                      <a:pt x="516" y="1340"/>
                    </a:cubicBezTo>
                    <a:cubicBezTo>
                      <a:pt x="510" y="1337"/>
                      <a:pt x="489" y="1345"/>
                      <a:pt x="489" y="1339"/>
                    </a:cubicBezTo>
                    <a:cubicBezTo>
                      <a:pt x="489" y="1338"/>
                      <a:pt x="511" y="1338"/>
                      <a:pt x="513" y="1337"/>
                    </a:cubicBezTo>
                    <a:cubicBezTo>
                      <a:pt x="517" y="1336"/>
                      <a:pt x="513" y="1327"/>
                      <a:pt x="516" y="1325"/>
                    </a:cubicBezTo>
                    <a:cubicBezTo>
                      <a:pt x="524" y="1320"/>
                      <a:pt x="544" y="1315"/>
                      <a:pt x="547" y="1307"/>
                    </a:cubicBezTo>
                    <a:close/>
                    <a:moveTo>
                      <a:pt x="528" y="915"/>
                    </a:moveTo>
                    <a:cubicBezTo>
                      <a:pt x="530" y="907"/>
                      <a:pt x="548" y="926"/>
                      <a:pt x="550" y="927"/>
                    </a:cubicBezTo>
                    <a:cubicBezTo>
                      <a:pt x="550" y="927"/>
                      <a:pt x="550" y="927"/>
                      <a:pt x="550" y="927"/>
                    </a:cubicBezTo>
                    <a:cubicBezTo>
                      <a:pt x="554" y="934"/>
                      <a:pt x="528" y="915"/>
                      <a:pt x="528" y="915"/>
                    </a:cubicBezTo>
                    <a:close/>
                    <a:moveTo>
                      <a:pt x="557" y="619"/>
                    </a:moveTo>
                    <a:cubicBezTo>
                      <a:pt x="556" y="624"/>
                      <a:pt x="543" y="618"/>
                      <a:pt x="541" y="615"/>
                    </a:cubicBezTo>
                    <a:cubicBezTo>
                      <a:pt x="541" y="615"/>
                      <a:pt x="541" y="615"/>
                      <a:pt x="541" y="615"/>
                    </a:cubicBezTo>
                    <a:cubicBezTo>
                      <a:pt x="524" y="596"/>
                      <a:pt x="515" y="602"/>
                      <a:pt x="508" y="597"/>
                    </a:cubicBezTo>
                    <a:cubicBezTo>
                      <a:pt x="506" y="595"/>
                      <a:pt x="505" y="590"/>
                      <a:pt x="500" y="589"/>
                    </a:cubicBezTo>
                    <a:cubicBezTo>
                      <a:pt x="497" y="588"/>
                      <a:pt x="492" y="590"/>
                      <a:pt x="491" y="588"/>
                    </a:cubicBezTo>
                    <a:cubicBezTo>
                      <a:pt x="490" y="584"/>
                      <a:pt x="493" y="578"/>
                      <a:pt x="493" y="577"/>
                    </a:cubicBezTo>
                    <a:cubicBezTo>
                      <a:pt x="491" y="573"/>
                      <a:pt x="478" y="572"/>
                      <a:pt x="475" y="568"/>
                    </a:cubicBezTo>
                    <a:cubicBezTo>
                      <a:pt x="475" y="568"/>
                      <a:pt x="467" y="563"/>
                      <a:pt x="470" y="563"/>
                    </a:cubicBezTo>
                    <a:cubicBezTo>
                      <a:pt x="470" y="563"/>
                      <a:pt x="477" y="566"/>
                      <a:pt x="478" y="567"/>
                    </a:cubicBezTo>
                    <a:cubicBezTo>
                      <a:pt x="481" y="570"/>
                      <a:pt x="487" y="568"/>
                      <a:pt x="491" y="570"/>
                    </a:cubicBezTo>
                    <a:cubicBezTo>
                      <a:pt x="502" y="576"/>
                      <a:pt x="492" y="579"/>
                      <a:pt x="501" y="585"/>
                    </a:cubicBezTo>
                    <a:cubicBezTo>
                      <a:pt x="513" y="592"/>
                      <a:pt x="502" y="578"/>
                      <a:pt x="503" y="578"/>
                    </a:cubicBezTo>
                    <a:cubicBezTo>
                      <a:pt x="506" y="578"/>
                      <a:pt x="532" y="594"/>
                      <a:pt x="536" y="598"/>
                    </a:cubicBezTo>
                    <a:cubicBezTo>
                      <a:pt x="538" y="600"/>
                      <a:pt x="543" y="605"/>
                      <a:pt x="544" y="609"/>
                    </a:cubicBezTo>
                    <a:cubicBezTo>
                      <a:pt x="545" y="613"/>
                      <a:pt x="541" y="610"/>
                      <a:pt x="542" y="612"/>
                    </a:cubicBezTo>
                    <a:cubicBezTo>
                      <a:pt x="545" y="618"/>
                      <a:pt x="559" y="613"/>
                      <a:pt x="557" y="619"/>
                    </a:cubicBezTo>
                    <a:close/>
                    <a:moveTo>
                      <a:pt x="577" y="541"/>
                    </a:moveTo>
                    <a:cubicBezTo>
                      <a:pt x="577" y="540"/>
                      <a:pt x="577" y="540"/>
                      <a:pt x="577" y="540"/>
                    </a:cubicBezTo>
                    <a:cubicBezTo>
                      <a:pt x="571" y="537"/>
                      <a:pt x="576" y="533"/>
                      <a:pt x="572" y="530"/>
                    </a:cubicBezTo>
                    <a:cubicBezTo>
                      <a:pt x="558" y="521"/>
                      <a:pt x="549" y="526"/>
                      <a:pt x="542" y="517"/>
                    </a:cubicBezTo>
                    <a:cubicBezTo>
                      <a:pt x="541" y="516"/>
                      <a:pt x="533" y="509"/>
                      <a:pt x="531" y="508"/>
                    </a:cubicBezTo>
                    <a:cubicBezTo>
                      <a:pt x="530" y="508"/>
                      <a:pt x="522" y="506"/>
                      <a:pt x="523" y="505"/>
                    </a:cubicBezTo>
                    <a:cubicBezTo>
                      <a:pt x="523" y="505"/>
                      <a:pt x="524" y="505"/>
                      <a:pt x="524" y="505"/>
                    </a:cubicBezTo>
                    <a:cubicBezTo>
                      <a:pt x="533" y="505"/>
                      <a:pt x="571" y="523"/>
                      <a:pt x="576" y="530"/>
                    </a:cubicBezTo>
                    <a:cubicBezTo>
                      <a:pt x="578" y="531"/>
                      <a:pt x="582" y="544"/>
                      <a:pt x="577" y="541"/>
                    </a:cubicBezTo>
                    <a:close/>
                    <a:moveTo>
                      <a:pt x="672" y="529"/>
                    </a:moveTo>
                    <a:cubicBezTo>
                      <a:pt x="663" y="534"/>
                      <a:pt x="645" y="521"/>
                      <a:pt x="642" y="524"/>
                    </a:cubicBezTo>
                    <a:cubicBezTo>
                      <a:pt x="640" y="525"/>
                      <a:pt x="644" y="526"/>
                      <a:pt x="644" y="527"/>
                    </a:cubicBezTo>
                    <a:cubicBezTo>
                      <a:pt x="645" y="527"/>
                      <a:pt x="630" y="526"/>
                      <a:pt x="641" y="534"/>
                    </a:cubicBezTo>
                    <a:cubicBezTo>
                      <a:pt x="642" y="536"/>
                      <a:pt x="640" y="538"/>
                      <a:pt x="638" y="538"/>
                    </a:cubicBezTo>
                    <a:cubicBezTo>
                      <a:pt x="630" y="537"/>
                      <a:pt x="631" y="521"/>
                      <a:pt x="630" y="519"/>
                    </a:cubicBezTo>
                    <a:cubicBezTo>
                      <a:pt x="630" y="518"/>
                      <a:pt x="630" y="518"/>
                      <a:pt x="630" y="518"/>
                    </a:cubicBezTo>
                    <a:cubicBezTo>
                      <a:pt x="632" y="506"/>
                      <a:pt x="614" y="490"/>
                      <a:pt x="613" y="490"/>
                    </a:cubicBezTo>
                    <a:cubicBezTo>
                      <a:pt x="607" y="492"/>
                      <a:pt x="605" y="509"/>
                      <a:pt x="595" y="494"/>
                    </a:cubicBezTo>
                    <a:cubicBezTo>
                      <a:pt x="594" y="493"/>
                      <a:pt x="601" y="495"/>
                      <a:pt x="600" y="491"/>
                    </a:cubicBezTo>
                    <a:cubicBezTo>
                      <a:pt x="599" y="490"/>
                      <a:pt x="594" y="486"/>
                      <a:pt x="595" y="485"/>
                    </a:cubicBezTo>
                    <a:cubicBezTo>
                      <a:pt x="596" y="485"/>
                      <a:pt x="604" y="485"/>
                      <a:pt x="604" y="483"/>
                    </a:cubicBezTo>
                    <a:cubicBezTo>
                      <a:pt x="603" y="476"/>
                      <a:pt x="589" y="477"/>
                      <a:pt x="583" y="472"/>
                    </a:cubicBezTo>
                    <a:cubicBezTo>
                      <a:pt x="581" y="471"/>
                      <a:pt x="581" y="466"/>
                      <a:pt x="578" y="465"/>
                    </a:cubicBezTo>
                    <a:cubicBezTo>
                      <a:pt x="577" y="465"/>
                      <a:pt x="576" y="465"/>
                      <a:pt x="575" y="465"/>
                    </a:cubicBezTo>
                    <a:cubicBezTo>
                      <a:pt x="566" y="467"/>
                      <a:pt x="573" y="473"/>
                      <a:pt x="570" y="475"/>
                    </a:cubicBezTo>
                    <a:cubicBezTo>
                      <a:pt x="570" y="475"/>
                      <a:pt x="564" y="466"/>
                      <a:pt x="565" y="465"/>
                    </a:cubicBezTo>
                    <a:cubicBezTo>
                      <a:pt x="567" y="462"/>
                      <a:pt x="562" y="462"/>
                      <a:pt x="563" y="460"/>
                    </a:cubicBezTo>
                    <a:cubicBezTo>
                      <a:pt x="564" y="457"/>
                      <a:pt x="571" y="463"/>
                      <a:pt x="573" y="461"/>
                    </a:cubicBezTo>
                    <a:cubicBezTo>
                      <a:pt x="578" y="454"/>
                      <a:pt x="583" y="465"/>
                      <a:pt x="585" y="469"/>
                    </a:cubicBezTo>
                    <a:cubicBezTo>
                      <a:pt x="587" y="472"/>
                      <a:pt x="580" y="459"/>
                      <a:pt x="583" y="458"/>
                    </a:cubicBezTo>
                    <a:cubicBezTo>
                      <a:pt x="584" y="458"/>
                      <a:pt x="586" y="460"/>
                      <a:pt x="587" y="460"/>
                    </a:cubicBezTo>
                    <a:cubicBezTo>
                      <a:pt x="590" y="461"/>
                      <a:pt x="591" y="468"/>
                      <a:pt x="594" y="469"/>
                    </a:cubicBezTo>
                    <a:cubicBezTo>
                      <a:pt x="598" y="469"/>
                      <a:pt x="597" y="463"/>
                      <a:pt x="597" y="463"/>
                    </a:cubicBezTo>
                    <a:cubicBezTo>
                      <a:pt x="598" y="461"/>
                      <a:pt x="600" y="464"/>
                      <a:pt x="601" y="465"/>
                    </a:cubicBezTo>
                    <a:cubicBezTo>
                      <a:pt x="606" y="474"/>
                      <a:pt x="604" y="464"/>
                      <a:pt x="610" y="465"/>
                    </a:cubicBezTo>
                    <a:cubicBezTo>
                      <a:pt x="610" y="465"/>
                      <a:pt x="611" y="466"/>
                      <a:pt x="612" y="465"/>
                    </a:cubicBezTo>
                    <a:cubicBezTo>
                      <a:pt x="612" y="465"/>
                      <a:pt x="612" y="465"/>
                      <a:pt x="612" y="464"/>
                    </a:cubicBezTo>
                    <a:cubicBezTo>
                      <a:pt x="602" y="448"/>
                      <a:pt x="582" y="451"/>
                      <a:pt x="567" y="440"/>
                    </a:cubicBezTo>
                    <a:cubicBezTo>
                      <a:pt x="566" y="439"/>
                      <a:pt x="579" y="439"/>
                      <a:pt x="579" y="439"/>
                    </a:cubicBezTo>
                    <a:cubicBezTo>
                      <a:pt x="579" y="432"/>
                      <a:pt x="566" y="432"/>
                      <a:pt x="562" y="426"/>
                    </a:cubicBezTo>
                    <a:cubicBezTo>
                      <a:pt x="556" y="418"/>
                      <a:pt x="530" y="417"/>
                      <a:pt x="539" y="414"/>
                    </a:cubicBezTo>
                    <a:cubicBezTo>
                      <a:pt x="542" y="413"/>
                      <a:pt x="528" y="412"/>
                      <a:pt x="529" y="410"/>
                    </a:cubicBezTo>
                    <a:cubicBezTo>
                      <a:pt x="538" y="398"/>
                      <a:pt x="582" y="431"/>
                      <a:pt x="589" y="442"/>
                    </a:cubicBezTo>
                    <a:cubicBezTo>
                      <a:pt x="594" y="448"/>
                      <a:pt x="613" y="441"/>
                      <a:pt x="611" y="449"/>
                    </a:cubicBezTo>
                    <a:cubicBezTo>
                      <a:pt x="611" y="450"/>
                      <a:pt x="601" y="449"/>
                      <a:pt x="607" y="451"/>
                    </a:cubicBezTo>
                    <a:cubicBezTo>
                      <a:pt x="608" y="451"/>
                      <a:pt x="609" y="451"/>
                      <a:pt x="609" y="452"/>
                    </a:cubicBezTo>
                    <a:cubicBezTo>
                      <a:pt x="618" y="461"/>
                      <a:pt x="628" y="458"/>
                      <a:pt x="634" y="464"/>
                    </a:cubicBezTo>
                    <a:cubicBezTo>
                      <a:pt x="634" y="465"/>
                      <a:pt x="635" y="466"/>
                      <a:pt x="635" y="466"/>
                    </a:cubicBezTo>
                    <a:cubicBezTo>
                      <a:pt x="636" y="471"/>
                      <a:pt x="621" y="466"/>
                      <a:pt x="618" y="467"/>
                    </a:cubicBezTo>
                    <a:cubicBezTo>
                      <a:pt x="613" y="470"/>
                      <a:pt x="622" y="474"/>
                      <a:pt x="622" y="477"/>
                    </a:cubicBezTo>
                    <a:cubicBezTo>
                      <a:pt x="622" y="479"/>
                      <a:pt x="617" y="487"/>
                      <a:pt x="618" y="488"/>
                    </a:cubicBezTo>
                    <a:cubicBezTo>
                      <a:pt x="631" y="507"/>
                      <a:pt x="656" y="513"/>
                      <a:pt x="658" y="518"/>
                    </a:cubicBezTo>
                    <a:cubicBezTo>
                      <a:pt x="660" y="523"/>
                      <a:pt x="677" y="526"/>
                      <a:pt x="672" y="529"/>
                    </a:cubicBezTo>
                    <a:close/>
                    <a:moveTo>
                      <a:pt x="566" y="362"/>
                    </a:moveTo>
                    <a:cubicBezTo>
                      <a:pt x="567" y="359"/>
                      <a:pt x="573" y="362"/>
                      <a:pt x="572" y="365"/>
                    </a:cubicBezTo>
                    <a:cubicBezTo>
                      <a:pt x="572" y="370"/>
                      <a:pt x="603" y="389"/>
                      <a:pt x="610" y="395"/>
                    </a:cubicBezTo>
                    <a:cubicBezTo>
                      <a:pt x="613" y="398"/>
                      <a:pt x="620" y="407"/>
                      <a:pt x="613" y="407"/>
                    </a:cubicBezTo>
                    <a:cubicBezTo>
                      <a:pt x="612" y="406"/>
                      <a:pt x="612" y="406"/>
                      <a:pt x="612" y="406"/>
                    </a:cubicBezTo>
                    <a:cubicBezTo>
                      <a:pt x="609" y="404"/>
                      <a:pt x="564" y="366"/>
                      <a:pt x="566" y="362"/>
                    </a:cubicBezTo>
                    <a:close/>
                    <a:moveTo>
                      <a:pt x="681" y="430"/>
                    </a:moveTo>
                    <a:cubicBezTo>
                      <a:pt x="680" y="431"/>
                      <a:pt x="679" y="429"/>
                      <a:pt x="678" y="428"/>
                    </a:cubicBezTo>
                    <a:cubicBezTo>
                      <a:pt x="674" y="422"/>
                      <a:pt x="679" y="420"/>
                      <a:pt x="667" y="414"/>
                    </a:cubicBezTo>
                    <a:cubicBezTo>
                      <a:pt x="659" y="411"/>
                      <a:pt x="650" y="420"/>
                      <a:pt x="644" y="420"/>
                    </a:cubicBezTo>
                    <a:cubicBezTo>
                      <a:pt x="643" y="420"/>
                      <a:pt x="629" y="411"/>
                      <a:pt x="625" y="409"/>
                    </a:cubicBezTo>
                    <a:cubicBezTo>
                      <a:pt x="625" y="409"/>
                      <a:pt x="625" y="409"/>
                      <a:pt x="625" y="409"/>
                    </a:cubicBezTo>
                    <a:cubicBezTo>
                      <a:pt x="628" y="422"/>
                      <a:pt x="613" y="399"/>
                      <a:pt x="626" y="406"/>
                    </a:cubicBezTo>
                    <a:cubicBezTo>
                      <a:pt x="633" y="409"/>
                      <a:pt x="640" y="410"/>
                      <a:pt x="646" y="413"/>
                    </a:cubicBezTo>
                    <a:cubicBezTo>
                      <a:pt x="647" y="414"/>
                      <a:pt x="651" y="415"/>
                      <a:pt x="652" y="414"/>
                    </a:cubicBezTo>
                    <a:cubicBezTo>
                      <a:pt x="652" y="413"/>
                      <a:pt x="649" y="413"/>
                      <a:pt x="648" y="413"/>
                    </a:cubicBezTo>
                    <a:cubicBezTo>
                      <a:pt x="648" y="412"/>
                      <a:pt x="648" y="412"/>
                      <a:pt x="649" y="411"/>
                    </a:cubicBezTo>
                    <a:cubicBezTo>
                      <a:pt x="652" y="411"/>
                      <a:pt x="655" y="412"/>
                      <a:pt x="659" y="411"/>
                    </a:cubicBezTo>
                    <a:cubicBezTo>
                      <a:pt x="672" y="408"/>
                      <a:pt x="689" y="427"/>
                      <a:pt x="681" y="430"/>
                    </a:cubicBezTo>
                    <a:close/>
                    <a:moveTo>
                      <a:pt x="697" y="374"/>
                    </a:moveTo>
                    <a:cubicBezTo>
                      <a:pt x="699" y="378"/>
                      <a:pt x="694" y="378"/>
                      <a:pt x="691" y="377"/>
                    </a:cubicBezTo>
                    <a:cubicBezTo>
                      <a:pt x="691" y="377"/>
                      <a:pt x="691" y="377"/>
                      <a:pt x="691" y="377"/>
                    </a:cubicBezTo>
                    <a:cubicBezTo>
                      <a:pt x="686" y="374"/>
                      <a:pt x="683" y="365"/>
                      <a:pt x="676" y="363"/>
                    </a:cubicBezTo>
                    <a:cubicBezTo>
                      <a:pt x="672" y="361"/>
                      <a:pt x="663" y="361"/>
                      <a:pt x="659" y="362"/>
                    </a:cubicBezTo>
                    <a:cubicBezTo>
                      <a:pt x="657" y="362"/>
                      <a:pt x="653" y="363"/>
                      <a:pt x="651" y="362"/>
                    </a:cubicBezTo>
                    <a:cubicBezTo>
                      <a:pt x="647" y="360"/>
                      <a:pt x="657" y="359"/>
                      <a:pt x="658" y="359"/>
                    </a:cubicBezTo>
                    <a:cubicBezTo>
                      <a:pt x="663" y="359"/>
                      <a:pt x="668" y="359"/>
                      <a:pt x="673" y="359"/>
                    </a:cubicBezTo>
                    <a:cubicBezTo>
                      <a:pt x="678" y="359"/>
                      <a:pt x="702" y="368"/>
                      <a:pt x="703" y="372"/>
                    </a:cubicBezTo>
                    <a:cubicBezTo>
                      <a:pt x="704" y="375"/>
                      <a:pt x="693" y="367"/>
                      <a:pt x="697" y="374"/>
                    </a:cubicBezTo>
                    <a:close/>
                    <a:moveTo>
                      <a:pt x="752" y="376"/>
                    </a:moveTo>
                    <a:cubicBezTo>
                      <a:pt x="754" y="379"/>
                      <a:pt x="737" y="373"/>
                      <a:pt x="736" y="370"/>
                    </a:cubicBezTo>
                    <a:cubicBezTo>
                      <a:pt x="735" y="368"/>
                      <a:pt x="712" y="349"/>
                      <a:pt x="701" y="349"/>
                    </a:cubicBezTo>
                    <a:cubicBezTo>
                      <a:pt x="700" y="349"/>
                      <a:pt x="692" y="353"/>
                      <a:pt x="689" y="350"/>
                    </a:cubicBezTo>
                    <a:cubicBezTo>
                      <a:pt x="689" y="349"/>
                      <a:pt x="695" y="348"/>
                      <a:pt x="694" y="347"/>
                    </a:cubicBezTo>
                    <a:cubicBezTo>
                      <a:pt x="694" y="346"/>
                      <a:pt x="692" y="346"/>
                      <a:pt x="691" y="346"/>
                    </a:cubicBezTo>
                    <a:cubicBezTo>
                      <a:pt x="685" y="346"/>
                      <a:pt x="679" y="338"/>
                      <a:pt x="672" y="339"/>
                    </a:cubicBezTo>
                    <a:cubicBezTo>
                      <a:pt x="659" y="340"/>
                      <a:pt x="638" y="349"/>
                      <a:pt x="625" y="343"/>
                    </a:cubicBezTo>
                    <a:cubicBezTo>
                      <a:pt x="624" y="343"/>
                      <a:pt x="624" y="343"/>
                      <a:pt x="624" y="343"/>
                    </a:cubicBezTo>
                    <a:cubicBezTo>
                      <a:pt x="621" y="343"/>
                      <a:pt x="595" y="340"/>
                      <a:pt x="600" y="332"/>
                    </a:cubicBezTo>
                    <a:cubicBezTo>
                      <a:pt x="601" y="330"/>
                      <a:pt x="606" y="334"/>
                      <a:pt x="606" y="334"/>
                    </a:cubicBezTo>
                    <a:cubicBezTo>
                      <a:pt x="613" y="341"/>
                      <a:pt x="636" y="341"/>
                      <a:pt x="646" y="341"/>
                    </a:cubicBezTo>
                    <a:cubicBezTo>
                      <a:pt x="655" y="341"/>
                      <a:pt x="666" y="334"/>
                      <a:pt x="676" y="337"/>
                    </a:cubicBezTo>
                    <a:cubicBezTo>
                      <a:pt x="699" y="342"/>
                      <a:pt x="754" y="365"/>
                      <a:pt x="756" y="370"/>
                    </a:cubicBezTo>
                    <a:cubicBezTo>
                      <a:pt x="757" y="372"/>
                      <a:pt x="750" y="373"/>
                      <a:pt x="752" y="376"/>
                    </a:cubicBezTo>
                    <a:close/>
                    <a:moveTo>
                      <a:pt x="631" y="314"/>
                    </a:moveTo>
                    <a:cubicBezTo>
                      <a:pt x="638" y="301"/>
                      <a:pt x="673" y="315"/>
                      <a:pt x="674" y="317"/>
                    </a:cubicBezTo>
                    <a:cubicBezTo>
                      <a:pt x="676" y="319"/>
                      <a:pt x="678" y="326"/>
                      <a:pt x="674" y="323"/>
                    </a:cubicBezTo>
                    <a:cubicBezTo>
                      <a:pt x="673" y="322"/>
                      <a:pt x="673" y="322"/>
                      <a:pt x="673" y="322"/>
                    </a:cubicBezTo>
                    <a:cubicBezTo>
                      <a:pt x="665" y="317"/>
                      <a:pt x="655" y="316"/>
                      <a:pt x="645" y="315"/>
                    </a:cubicBezTo>
                    <a:cubicBezTo>
                      <a:pt x="644" y="315"/>
                      <a:pt x="630" y="317"/>
                      <a:pt x="631" y="314"/>
                    </a:cubicBezTo>
                    <a:close/>
                    <a:moveTo>
                      <a:pt x="762" y="384"/>
                    </a:moveTo>
                    <a:cubicBezTo>
                      <a:pt x="762" y="384"/>
                      <a:pt x="762" y="384"/>
                      <a:pt x="762" y="384"/>
                    </a:cubicBezTo>
                    <a:cubicBezTo>
                      <a:pt x="761" y="383"/>
                      <a:pt x="752" y="382"/>
                      <a:pt x="753" y="379"/>
                    </a:cubicBezTo>
                    <a:cubicBezTo>
                      <a:pt x="755" y="374"/>
                      <a:pt x="776" y="382"/>
                      <a:pt x="779" y="378"/>
                    </a:cubicBezTo>
                    <a:cubicBezTo>
                      <a:pt x="782" y="373"/>
                      <a:pt x="764" y="370"/>
                      <a:pt x="766" y="366"/>
                    </a:cubicBezTo>
                    <a:cubicBezTo>
                      <a:pt x="768" y="359"/>
                      <a:pt x="785" y="369"/>
                      <a:pt x="786" y="376"/>
                    </a:cubicBezTo>
                    <a:cubicBezTo>
                      <a:pt x="786" y="381"/>
                      <a:pt x="766" y="382"/>
                      <a:pt x="762" y="384"/>
                    </a:cubicBezTo>
                    <a:close/>
                    <a:moveTo>
                      <a:pt x="786" y="322"/>
                    </a:moveTo>
                    <a:cubicBezTo>
                      <a:pt x="785" y="322"/>
                      <a:pt x="785" y="322"/>
                      <a:pt x="785" y="322"/>
                    </a:cubicBezTo>
                    <a:cubicBezTo>
                      <a:pt x="781" y="323"/>
                      <a:pt x="764" y="307"/>
                      <a:pt x="763" y="306"/>
                    </a:cubicBezTo>
                    <a:cubicBezTo>
                      <a:pt x="755" y="303"/>
                      <a:pt x="747" y="308"/>
                      <a:pt x="740" y="304"/>
                    </a:cubicBezTo>
                    <a:cubicBezTo>
                      <a:pt x="730" y="299"/>
                      <a:pt x="712" y="275"/>
                      <a:pt x="696" y="265"/>
                    </a:cubicBezTo>
                    <a:cubicBezTo>
                      <a:pt x="689" y="261"/>
                      <a:pt x="673" y="267"/>
                      <a:pt x="664" y="260"/>
                    </a:cubicBezTo>
                    <a:cubicBezTo>
                      <a:pt x="658" y="255"/>
                      <a:pt x="635" y="238"/>
                      <a:pt x="633" y="238"/>
                    </a:cubicBezTo>
                    <a:cubicBezTo>
                      <a:pt x="611" y="231"/>
                      <a:pt x="553" y="220"/>
                      <a:pt x="552" y="214"/>
                    </a:cubicBezTo>
                    <a:cubicBezTo>
                      <a:pt x="551" y="213"/>
                      <a:pt x="566" y="218"/>
                      <a:pt x="566" y="215"/>
                    </a:cubicBezTo>
                    <a:cubicBezTo>
                      <a:pt x="566" y="214"/>
                      <a:pt x="559" y="210"/>
                      <a:pt x="550" y="204"/>
                    </a:cubicBezTo>
                    <a:cubicBezTo>
                      <a:pt x="546" y="202"/>
                      <a:pt x="537" y="201"/>
                      <a:pt x="541" y="198"/>
                    </a:cubicBezTo>
                    <a:cubicBezTo>
                      <a:pt x="543" y="196"/>
                      <a:pt x="593" y="220"/>
                      <a:pt x="601" y="223"/>
                    </a:cubicBezTo>
                    <a:cubicBezTo>
                      <a:pt x="615" y="227"/>
                      <a:pt x="627" y="230"/>
                      <a:pt x="640" y="236"/>
                    </a:cubicBezTo>
                    <a:cubicBezTo>
                      <a:pt x="650" y="242"/>
                      <a:pt x="659" y="256"/>
                      <a:pt x="670" y="259"/>
                    </a:cubicBezTo>
                    <a:cubicBezTo>
                      <a:pt x="679" y="261"/>
                      <a:pt x="689" y="257"/>
                      <a:pt x="698" y="261"/>
                    </a:cubicBezTo>
                    <a:cubicBezTo>
                      <a:pt x="714" y="270"/>
                      <a:pt x="727" y="287"/>
                      <a:pt x="742" y="296"/>
                    </a:cubicBezTo>
                    <a:cubicBezTo>
                      <a:pt x="751" y="302"/>
                      <a:pt x="791" y="300"/>
                      <a:pt x="786" y="322"/>
                    </a:cubicBezTo>
                    <a:close/>
                    <a:moveTo>
                      <a:pt x="798" y="206"/>
                    </a:moveTo>
                    <a:cubicBezTo>
                      <a:pt x="798" y="206"/>
                      <a:pt x="798" y="206"/>
                      <a:pt x="798" y="206"/>
                    </a:cubicBezTo>
                    <a:cubicBezTo>
                      <a:pt x="772" y="198"/>
                      <a:pt x="751" y="195"/>
                      <a:pt x="724" y="194"/>
                    </a:cubicBezTo>
                    <a:cubicBezTo>
                      <a:pt x="722" y="194"/>
                      <a:pt x="718" y="193"/>
                      <a:pt x="717" y="192"/>
                    </a:cubicBezTo>
                    <a:cubicBezTo>
                      <a:pt x="717" y="192"/>
                      <a:pt x="729" y="190"/>
                      <a:pt x="730" y="190"/>
                    </a:cubicBezTo>
                    <a:cubicBezTo>
                      <a:pt x="747" y="191"/>
                      <a:pt x="763" y="195"/>
                      <a:pt x="780" y="195"/>
                    </a:cubicBezTo>
                    <a:cubicBezTo>
                      <a:pt x="786" y="195"/>
                      <a:pt x="806" y="207"/>
                      <a:pt x="798" y="206"/>
                    </a:cubicBezTo>
                    <a:close/>
                    <a:moveTo>
                      <a:pt x="843" y="722"/>
                    </a:moveTo>
                    <a:cubicBezTo>
                      <a:pt x="843" y="722"/>
                      <a:pt x="843" y="722"/>
                      <a:pt x="843" y="722"/>
                    </a:cubicBezTo>
                    <a:cubicBezTo>
                      <a:pt x="834" y="717"/>
                      <a:pt x="841" y="701"/>
                      <a:pt x="848" y="703"/>
                    </a:cubicBezTo>
                    <a:cubicBezTo>
                      <a:pt x="851" y="705"/>
                      <a:pt x="847" y="726"/>
                      <a:pt x="843" y="722"/>
                    </a:cubicBezTo>
                    <a:close/>
                    <a:moveTo>
                      <a:pt x="874" y="193"/>
                    </a:moveTo>
                    <a:cubicBezTo>
                      <a:pt x="871" y="195"/>
                      <a:pt x="864" y="189"/>
                      <a:pt x="862" y="191"/>
                    </a:cubicBezTo>
                    <a:cubicBezTo>
                      <a:pt x="860" y="192"/>
                      <a:pt x="862" y="193"/>
                      <a:pt x="863" y="195"/>
                    </a:cubicBezTo>
                    <a:cubicBezTo>
                      <a:pt x="866" y="196"/>
                      <a:pt x="869" y="197"/>
                      <a:pt x="871" y="198"/>
                    </a:cubicBezTo>
                    <a:cubicBezTo>
                      <a:pt x="872" y="198"/>
                      <a:pt x="872" y="198"/>
                      <a:pt x="872" y="198"/>
                    </a:cubicBezTo>
                    <a:cubicBezTo>
                      <a:pt x="875" y="200"/>
                      <a:pt x="867" y="197"/>
                      <a:pt x="863" y="195"/>
                    </a:cubicBezTo>
                    <a:cubicBezTo>
                      <a:pt x="860" y="193"/>
                      <a:pt x="856" y="191"/>
                      <a:pt x="851" y="189"/>
                    </a:cubicBezTo>
                    <a:cubicBezTo>
                      <a:pt x="848" y="188"/>
                      <a:pt x="846" y="187"/>
                      <a:pt x="844" y="184"/>
                    </a:cubicBezTo>
                    <a:cubicBezTo>
                      <a:pt x="833" y="177"/>
                      <a:pt x="822" y="169"/>
                      <a:pt x="817" y="162"/>
                    </a:cubicBezTo>
                    <a:cubicBezTo>
                      <a:pt x="814" y="157"/>
                      <a:pt x="811" y="145"/>
                      <a:pt x="806" y="141"/>
                    </a:cubicBezTo>
                    <a:cubicBezTo>
                      <a:pt x="794" y="133"/>
                      <a:pt x="778" y="135"/>
                      <a:pt x="764" y="130"/>
                    </a:cubicBezTo>
                    <a:cubicBezTo>
                      <a:pt x="758" y="128"/>
                      <a:pt x="761" y="123"/>
                      <a:pt x="756" y="121"/>
                    </a:cubicBezTo>
                    <a:cubicBezTo>
                      <a:pt x="744" y="118"/>
                      <a:pt x="671" y="115"/>
                      <a:pt x="675" y="92"/>
                    </a:cubicBezTo>
                    <a:cubicBezTo>
                      <a:pt x="676" y="85"/>
                      <a:pt x="688" y="98"/>
                      <a:pt x="695" y="100"/>
                    </a:cubicBezTo>
                    <a:cubicBezTo>
                      <a:pt x="707" y="104"/>
                      <a:pt x="720" y="108"/>
                      <a:pt x="732" y="113"/>
                    </a:cubicBezTo>
                    <a:cubicBezTo>
                      <a:pt x="745" y="120"/>
                      <a:pt x="787" y="113"/>
                      <a:pt x="793" y="122"/>
                    </a:cubicBezTo>
                    <a:cubicBezTo>
                      <a:pt x="797" y="126"/>
                      <a:pt x="766" y="117"/>
                      <a:pt x="764" y="125"/>
                    </a:cubicBezTo>
                    <a:cubicBezTo>
                      <a:pt x="764" y="126"/>
                      <a:pt x="769" y="126"/>
                      <a:pt x="770" y="126"/>
                    </a:cubicBezTo>
                    <a:cubicBezTo>
                      <a:pt x="776" y="126"/>
                      <a:pt x="807" y="127"/>
                      <a:pt x="811" y="134"/>
                    </a:cubicBezTo>
                    <a:cubicBezTo>
                      <a:pt x="812" y="135"/>
                      <a:pt x="808" y="135"/>
                      <a:pt x="808" y="135"/>
                    </a:cubicBezTo>
                    <a:cubicBezTo>
                      <a:pt x="802" y="134"/>
                      <a:pt x="809" y="147"/>
                      <a:pt x="812" y="150"/>
                    </a:cubicBezTo>
                    <a:cubicBezTo>
                      <a:pt x="815" y="153"/>
                      <a:pt x="823" y="168"/>
                      <a:pt x="828" y="164"/>
                    </a:cubicBezTo>
                    <a:cubicBezTo>
                      <a:pt x="829" y="163"/>
                      <a:pt x="829" y="159"/>
                      <a:pt x="831" y="161"/>
                    </a:cubicBezTo>
                    <a:cubicBezTo>
                      <a:pt x="835" y="164"/>
                      <a:pt x="828" y="174"/>
                      <a:pt x="840" y="174"/>
                    </a:cubicBezTo>
                    <a:cubicBezTo>
                      <a:pt x="842" y="174"/>
                      <a:pt x="838" y="165"/>
                      <a:pt x="840" y="166"/>
                    </a:cubicBezTo>
                    <a:cubicBezTo>
                      <a:pt x="844" y="167"/>
                      <a:pt x="841" y="176"/>
                      <a:pt x="842" y="179"/>
                    </a:cubicBezTo>
                    <a:cubicBezTo>
                      <a:pt x="842" y="181"/>
                      <a:pt x="843" y="183"/>
                      <a:pt x="844" y="184"/>
                    </a:cubicBezTo>
                    <a:cubicBezTo>
                      <a:pt x="846" y="186"/>
                      <a:pt x="849" y="187"/>
                      <a:pt x="851" y="189"/>
                    </a:cubicBezTo>
                    <a:cubicBezTo>
                      <a:pt x="861" y="189"/>
                      <a:pt x="874" y="181"/>
                      <a:pt x="876" y="190"/>
                    </a:cubicBezTo>
                    <a:cubicBezTo>
                      <a:pt x="876" y="191"/>
                      <a:pt x="875" y="192"/>
                      <a:pt x="874" y="19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1" name="Freeform 886"/>
              <p:cNvSpPr>
                <a:spLocks/>
              </p:cNvSpPr>
              <p:nvPr/>
            </p:nvSpPr>
            <p:spPr bwMode="auto">
              <a:xfrm>
                <a:off x="2985" y="1899"/>
                <a:ext cx="12" cy="14"/>
              </a:xfrm>
              <a:custGeom>
                <a:avLst/>
                <a:gdLst>
                  <a:gd name="T0" fmla="*/ 16 w 18"/>
                  <a:gd name="T1" fmla="*/ 6 h 22"/>
                  <a:gd name="T2" fmla="*/ 13 w 18"/>
                  <a:gd name="T3" fmla="*/ 2 h 22"/>
                  <a:gd name="T4" fmla="*/ 12 w 18"/>
                  <a:gd name="T5" fmla="*/ 2 h 22"/>
                  <a:gd name="T6" fmla="*/ 14 w 18"/>
                  <a:gd name="T7" fmla="*/ 21 h 22"/>
                  <a:gd name="T8" fmla="*/ 16 w 18"/>
                  <a:gd name="T9" fmla="*/ 19 h 22"/>
                  <a:gd name="T10" fmla="*/ 16 w 18"/>
                  <a:gd name="T11" fmla="*/ 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22">
                    <a:moveTo>
                      <a:pt x="16" y="6"/>
                    </a:moveTo>
                    <a:cubicBezTo>
                      <a:pt x="15" y="4"/>
                      <a:pt x="15" y="3"/>
                      <a:pt x="13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0" y="0"/>
                      <a:pt x="0" y="14"/>
                      <a:pt x="14" y="21"/>
                    </a:cubicBezTo>
                    <a:cubicBezTo>
                      <a:pt x="17" y="22"/>
                      <a:pt x="17" y="20"/>
                      <a:pt x="16" y="19"/>
                    </a:cubicBezTo>
                    <a:cubicBezTo>
                      <a:pt x="10" y="9"/>
                      <a:pt x="18" y="10"/>
                      <a:pt x="16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2" name="Freeform 887"/>
              <p:cNvSpPr>
                <a:spLocks/>
              </p:cNvSpPr>
              <p:nvPr/>
            </p:nvSpPr>
            <p:spPr bwMode="auto">
              <a:xfrm>
                <a:off x="3020" y="1908"/>
                <a:ext cx="9" cy="10"/>
              </a:xfrm>
              <a:custGeom>
                <a:avLst/>
                <a:gdLst>
                  <a:gd name="T0" fmla="*/ 6 w 13"/>
                  <a:gd name="T1" fmla="*/ 1 h 16"/>
                  <a:gd name="T2" fmla="*/ 6 w 13"/>
                  <a:gd name="T3" fmla="*/ 7 h 16"/>
                  <a:gd name="T4" fmla="*/ 6 w 13"/>
                  <a:gd name="T5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6">
                    <a:moveTo>
                      <a:pt x="6" y="1"/>
                    </a:moveTo>
                    <a:cubicBezTo>
                      <a:pt x="0" y="0"/>
                      <a:pt x="6" y="4"/>
                      <a:pt x="6" y="7"/>
                    </a:cubicBezTo>
                    <a:cubicBezTo>
                      <a:pt x="7" y="16"/>
                      <a:pt x="13" y="7"/>
                      <a:pt x="6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3" name="Freeform 888"/>
              <p:cNvSpPr>
                <a:spLocks/>
              </p:cNvSpPr>
              <p:nvPr/>
            </p:nvSpPr>
            <p:spPr bwMode="auto">
              <a:xfrm>
                <a:off x="3067" y="1805"/>
                <a:ext cx="17" cy="27"/>
              </a:xfrm>
              <a:custGeom>
                <a:avLst/>
                <a:gdLst>
                  <a:gd name="T0" fmla="*/ 26 w 26"/>
                  <a:gd name="T1" fmla="*/ 32 h 41"/>
                  <a:gd name="T2" fmla="*/ 22 w 26"/>
                  <a:gd name="T3" fmla="*/ 26 h 41"/>
                  <a:gd name="T4" fmla="*/ 11 w 26"/>
                  <a:gd name="T5" fmla="*/ 4 h 41"/>
                  <a:gd name="T6" fmla="*/ 11 w 26"/>
                  <a:gd name="T7" fmla="*/ 4 h 41"/>
                  <a:gd name="T8" fmla="*/ 26 w 26"/>
                  <a:gd name="T9" fmla="*/ 3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41">
                    <a:moveTo>
                      <a:pt x="26" y="32"/>
                    </a:moveTo>
                    <a:cubicBezTo>
                      <a:pt x="26" y="32"/>
                      <a:pt x="23" y="27"/>
                      <a:pt x="22" y="26"/>
                    </a:cubicBezTo>
                    <a:cubicBezTo>
                      <a:pt x="20" y="19"/>
                      <a:pt x="11" y="16"/>
                      <a:pt x="11" y="4"/>
                    </a:cubicBezTo>
                    <a:cubicBezTo>
                      <a:pt x="11" y="4"/>
                      <a:pt x="11" y="4"/>
                      <a:pt x="11" y="4"/>
                    </a:cubicBezTo>
                    <a:cubicBezTo>
                      <a:pt x="0" y="0"/>
                      <a:pt x="17" y="41"/>
                      <a:pt x="26" y="3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4" name="Freeform 889"/>
              <p:cNvSpPr>
                <a:spLocks/>
              </p:cNvSpPr>
              <p:nvPr/>
            </p:nvSpPr>
            <p:spPr bwMode="auto">
              <a:xfrm>
                <a:off x="3092" y="1911"/>
                <a:ext cx="5" cy="7"/>
              </a:xfrm>
              <a:custGeom>
                <a:avLst/>
                <a:gdLst>
                  <a:gd name="T0" fmla="*/ 2 w 7"/>
                  <a:gd name="T1" fmla="*/ 11 h 11"/>
                  <a:gd name="T2" fmla="*/ 7 w 7"/>
                  <a:gd name="T3" fmla="*/ 8 h 11"/>
                  <a:gd name="T4" fmla="*/ 7 w 7"/>
                  <a:gd name="T5" fmla="*/ 7 h 11"/>
                  <a:gd name="T6" fmla="*/ 7 w 7"/>
                  <a:gd name="T7" fmla="*/ 3 h 11"/>
                  <a:gd name="T8" fmla="*/ 7 w 7"/>
                  <a:gd name="T9" fmla="*/ 3 h 11"/>
                  <a:gd name="T10" fmla="*/ 5 w 7"/>
                  <a:gd name="T11" fmla="*/ 7 h 11"/>
                  <a:gd name="T12" fmla="*/ 2 w 7"/>
                  <a:gd name="T1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1">
                    <a:moveTo>
                      <a:pt x="2" y="11"/>
                    </a:moveTo>
                    <a:cubicBezTo>
                      <a:pt x="2" y="11"/>
                      <a:pt x="7" y="11"/>
                      <a:pt x="7" y="8"/>
                    </a:cubicBezTo>
                    <a:cubicBezTo>
                      <a:pt x="7" y="8"/>
                      <a:pt x="7" y="7"/>
                      <a:pt x="7" y="7"/>
                    </a:cubicBezTo>
                    <a:cubicBezTo>
                      <a:pt x="6" y="6"/>
                      <a:pt x="7" y="5"/>
                      <a:pt x="7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5" y="0"/>
                      <a:pt x="0" y="0"/>
                      <a:pt x="5" y="7"/>
                    </a:cubicBezTo>
                    <a:cubicBezTo>
                      <a:pt x="6" y="9"/>
                      <a:pt x="2" y="10"/>
                      <a:pt x="2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5" name="Freeform 890"/>
              <p:cNvSpPr>
                <a:spLocks/>
              </p:cNvSpPr>
              <p:nvPr/>
            </p:nvSpPr>
            <p:spPr bwMode="auto">
              <a:xfrm>
                <a:off x="3070" y="1923"/>
                <a:ext cx="20" cy="10"/>
              </a:xfrm>
              <a:custGeom>
                <a:avLst/>
                <a:gdLst>
                  <a:gd name="T0" fmla="*/ 4 w 30"/>
                  <a:gd name="T1" fmla="*/ 1 h 15"/>
                  <a:gd name="T2" fmla="*/ 0 w 30"/>
                  <a:gd name="T3" fmla="*/ 0 h 15"/>
                  <a:gd name="T4" fmla="*/ 6 w 30"/>
                  <a:gd name="T5" fmla="*/ 2 h 15"/>
                  <a:gd name="T6" fmla="*/ 15 w 30"/>
                  <a:gd name="T7" fmla="*/ 8 h 15"/>
                  <a:gd name="T8" fmla="*/ 13 w 30"/>
                  <a:gd name="T9" fmla="*/ 1 h 15"/>
                  <a:gd name="T10" fmla="*/ 13 w 30"/>
                  <a:gd name="T11" fmla="*/ 1 h 15"/>
                  <a:gd name="T12" fmla="*/ 4 w 30"/>
                  <a:gd name="T13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15">
                    <a:moveTo>
                      <a:pt x="4" y="1"/>
                    </a:moveTo>
                    <a:cubicBezTo>
                      <a:pt x="4" y="1"/>
                      <a:pt x="0" y="0"/>
                      <a:pt x="0" y="0"/>
                    </a:cubicBezTo>
                    <a:cubicBezTo>
                      <a:pt x="0" y="1"/>
                      <a:pt x="5" y="2"/>
                      <a:pt x="6" y="2"/>
                    </a:cubicBezTo>
                    <a:cubicBezTo>
                      <a:pt x="10" y="6"/>
                      <a:pt x="24" y="15"/>
                      <a:pt x="15" y="8"/>
                    </a:cubicBezTo>
                    <a:cubicBezTo>
                      <a:pt x="14" y="7"/>
                      <a:pt x="30" y="6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1" y="1"/>
                      <a:pt x="6" y="1"/>
                      <a:pt x="4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6" name="Freeform 891"/>
              <p:cNvSpPr>
                <a:spLocks/>
              </p:cNvSpPr>
              <p:nvPr/>
            </p:nvSpPr>
            <p:spPr bwMode="auto">
              <a:xfrm>
                <a:off x="3057" y="1942"/>
                <a:ext cx="6" cy="9"/>
              </a:xfrm>
              <a:custGeom>
                <a:avLst/>
                <a:gdLst>
                  <a:gd name="T0" fmla="*/ 8 w 8"/>
                  <a:gd name="T1" fmla="*/ 8 h 14"/>
                  <a:gd name="T2" fmla="*/ 8 w 8"/>
                  <a:gd name="T3" fmla="*/ 7 h 14"/>
                  <a:gd name="T4" fmla="*/ 1 w 8"/>
                  <a:gd name="T5" fmla="*/ 12 h 14"/>
                  <a:gd name="T6" fmla="*/ 8 w 8"/>
                  <a:gd name="T7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4">
                    <a:moveTo>
                      <a:pt x="8" y="8"/>
                    </a:moveTo>
                    <a:cubicBezTo>
                      <a:pt x="8" y="7"/>
                      <a:pt x="8" y="7"/>
                      <a:pt x="8" y="7"/>
                    </a:cubicBezTo>
                    <a:cubicBezTo>
                      <a:pt x="7" y="0"/>
                      <a:pt x="0" y="11"/>
                      <a:pt x="1" y="12"/>
                    </a:cubicBezTo>
                    <a:cubicBezTo>
                      <a:pt x="1" y="14"/>
                      <a:pt x="8" y="10"/>
                      <a:pt x="8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7" name="Freeform 892"/>
              <p:cNvSpPr>
                <a:spLocks/>
              </p:cNvSpPr>
              <p:nvPr/>
            </p:nvSpPr>
            <p:spPr bwMode="auto">
              <a:xfrm>
                <a:off x="3067" y="1947"/>
                <a:ext cx="9" cy="6"/>
              </a:xfrm>
              <a:custGeom>
                <a:avLst/>
                <a:gdLst>
                  <a:gd name="T0" fmla="*/ 12 w 14"/>
                  <a:gd name="T1" fmla="*/ 4 h 9"/>
                  <a:gd name="T2" fmla="*/ 12 w 14"/>
                  <a:gd name="T3" fmla="*/ 4 h 9"/>
                  <a:gd name="T4" fmla="*/ 4 w 14"/>
                  <a:gd name="T5" fmla="*/ 5 h 9"/>
                  <a:gd name="T6" fmla="*/ 12 w 14"/>
                  <a:gd name="T7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12" y="4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4" y="0"/>
                      <a:pt x="8" y="4"/>
                      <a:pt x="4" y="5"/>
                    </a:cubicBezTo>
                    <a:cubicBezTo>
                      <a:pt x="0" y="7"/>
                      <a:pt x="5" y="9"/>
                      <a:pt x="12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8" name="Freeform 893"/>
              <p:cNvSpPr>
                <a:spLocks/>
              </p:cNvSpPr>
              <p:nvPr/>
            </p:nvSpPr>
            <p:spPr bwMode="auto">
              <a:xfrm>
                <a:off x="3093" y="1545"/>
                <a:ext cx="13" cy="11"/>
              </a:xfrm>
              <a:custGeom>
                <a:avLst/>
                <a:gdLst>
                  <a:gd name="T0" fmla="*/ 9 w 20"/>
                  <a:gd name="T1" fmla="*/ 3 h 17"/>
                  <a:gd name="T2" fmla="*/ 5 w 20"/>
                  <a:gd name="T3" fmla="*/ 0 h 17"/>
                  <a:gd name="T4" fmla="*/ 16 w 20"/>
                  <a:gd name="T5" fmla="*/ 8 h 17"/>
                  <a:gd name="T6" fmla="*/ 9 w 20"/>
                  <a:gd name="T7" fmla="*/ 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7">
                    <a:moveTo>
                      <a:pt x="9" y="3"/>
                    </a:moveTo>
                    <a:cubicBezTo>
                      <a:pt x="7" y="2"/>
                      <a:pt x="6" y="1"/>
                      <a:pt x="5" y="0"/>
                    </a:cubicBezTo>
                    <a:cubicBezTo>
                      <a:pt x="7" y="3"/>
                      <a:pt x="0" y="17"/>
                      <a:pt x="16" y="8"/>
                    </a:cubicBezTo>
                    <a:cubicBezTo>
                      <a:pt x="20" y="5"/>
                      <a:pt x="11" y="3"/>
                      <a:pt x="9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79" name="Freeform 894"/>
              <p:cNvSpPr>
                <a:spLocks/>
              </p:cNvSpPr>
              <p:nvPr/>
            </p:nvSpPr>
            <p:spPr bwMode="auto">
              <a:xfrm>
                <a:off x="3092" y="1885"/>
                <a:ext cx="15" cy="10"/>
              </a:xfrm>
              <a:custGeom>
                <a:avLst/>
                <a:gdLst>
                  <a:gd name="T0" fmla="*/ 19 w 23"/>
                  <a:gd name="T1" fmla="*/ 4 h 16"/>
                  <a:gd name="T2" fmla="*/ 19 w 23"/>
                  <a:gd name="T3" fmla="*/ 3 h 16"/>
                  <a:gd name="T4" fmla="*/ 5 w 23"/>
                  <a:gd name="T5" fmla="*/ 14 h 16"/>
                  <a:gd name="T6" fmla="*/ 19 w 23"/>
                  <a:gd name="T7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6">
                    <a:moveTo>
                      <a:pt x="19" y="4"/>
                    </a:moveTo>
                    <a:cubicBezTo>
                      <a:pt x="19" y="3"/>
                      <a:pt x="19" y="3"/>
                      <a:pt x="19" y="3"/>
                    </a:cubicBezTo>
                    <a:cubicBezTo>
                      <a:pt x="23" y="0"/>
                      <a:pt x="0" y="12"/>
                      <a:pt x="5" y="14"/>
                    </a:cubicBezTo>
                    <a:cubicBezTo>
                      <a:pt x="9" y="16"/>
                      <a:pt x="16" y="6"/>
                      <a:pt x="19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0" name="Freeform 895"/>
              <p:cNvSpPr>
                <a:spLocks/>
              </p:cNvSpPr>
              <p:nvPr/>
            </p:nvSpPr>
            <p:spPr bwMode="auto">
              <a:xfrm>
                <a:off x="3083" y="1839"/>
                <a:ext cx="0" cy="1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1" name="Freeform 896"/>
              <p:cNvSpPr>
                <a:spLocks/>
              </p:cNvSpPr>
              <p:nvPr/>
            </p:nvSpPr>
            <p:spPr bwMode="auto">
              <a:xfrm>
                <a:off x="2954" y="2097"/>
                <a:ext cx="46" cy="108"/>
              </a:xfrm>
              <a:custGeom>
                <a:avLst/>
                <a:gdLst>
                  <a:gd name="T0" fmla="*/ 29 w 70"/>
                  <a:gd name="T1" fmla="*/ 70 h 164"/>
                  <a:gd name="T2" fmla="*/ 17 w 70"/>
                  <a:gd name="T3" fmla="*/ 85 h 164"/>
                  <a:gd name="T4" fmla="*/ 4 w 70"/>
                  <a:gd name="T5" fmla="*/ 129 h 164"/>
                  <a:gd name="T6" fmla="*/ 7 w 70"/>
                  <a:gd name="T7" fmla="*/ 164 h 164"/>
                  <a:gd name="T8" fmla="*/ 23 w 70"/>
                  <a:gd name="T9" fmla="*/ 131 h 164"/>
                  <a:gd name="T10" fmla="*/ 26 w 70"/>
                  <a:gd name="T11" fmla="*/ 114 h 164"/>
                  <a:gd name="T12" fmla="*/ 35 w 70"/>
                  <a:gd name="T13" fmla="*/ 88 h 164"/>
                  <a:gd name="T14" fmla="*/ 44 w 70"/>
                  <a:gd name="T15" fmla="*/ 74 h 164"/>
                  <a:gd name="T16" fmla="*/ 47 w 70"/>
                  <a:gd name="T17" fmla="*/ 62 h 164"/>
                  <a:gd name="T18" fmla="*/ 50 w 70"/>
                  <a:gd name="T19" fmla="*/ 51 h 164"/>
                  <a:gd name="T20" fmla="*/ 51 w 70"/>
                  <a:gd name="T21" fmla="*/ 48 h 164"/>
                  <a:gd name="T22" fmla="*/ 57 w 70"/>
                  <a:gd name="T23" fmla="*/ 36 h 164"/>
                  <a:gd name="T24" fmla="*/ 62 w 70"/>
                  <a:gd name="T25" fmla="*/ 19 h 164"/>
                  <a:gd name="T26" fmla="*/ 68 w 70"/>
                  <a:gd name="T27" fmla="*/ 6 h 164"/>
                  <a:gd name="T28" fmla="*/ 63 w 70"/>
                  <a:gd name="T29" fmla="*/ 4 h 164"/>
                  <a:gd name="T30" fmla="*/ 54 w 70"/>
                  <a:gd name="T31" fmla="*/ 18 h 164"/>
                  <a:gd name="T32" fmla="*/ 49 w 70"/>
                  <a:gd name="T33" fmla="*/ 29 h 164"/>
                  <a:gd name="T34" fmla="*/ 40 w 70"/>
                  <a:gd name="T35" fmla="*/ 54 h 164"/>
                  <a:gd name="T36" fmla="*/ 29 w 70"/>
                  <a:gd name="T37" fmla="*/ 7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0" h="164">
                    <a:moveTo>
                      <a:pt x="29" y="70"/>
                    </a:moveTo>
                    <a:cubicBezTo>
                      <a:pt x="22" y="69"/>
                      <a:pt x="23" y="71"/>
                      <a:pt x="17" y="85"/>
                    </a:cubicBezTo>
                    <a:cubicBezTo>
                      <a:pt x="10" y="99"/>
                      <a:pt x="2" y="112"/>
                      <a:pt x="4" y="129"/>
                    </a:cubicBezTo>
                    <a:cubicBezTo>
                      <a:pt x="6" y="146"/>
                      <a:pt x="0" y="164"/>
                      <a:pt x="7" y="164"/>
                    </a:cubicBezTo>
                    <a:cubicBezTo>
                      <a:pt x="16" y="163"/>
                      <a:pt x="19" y="138"/>
                      <a:pt x="23" y="131"/>
                    </a:cubicBezTo>
                    <a:cubicBezTo>
                      <a:pt x="26" y="125"/>
                      <a:pt x="22" y="117"/>
                      <a:pt x="26" y="114"/>
                    </a:cubicBezTo>
                    <a:cubicBezTo>
                      <a:pt x="30" y="111"/>
                      <a:pt x="30" y="106"/>
                      <a:pt x="35" y="88"/>
                    </a:cubicBezTo>
                    <a:cubicBezTo>
                      <a:pt x="40" y="70"/>
                      <a:pt x="44" y="83"/>
                      <a:pt x="44" y="74"/>
                    </a:cubicBezTo>
                    <a:cubicBezTo>
                      <a:pt x="44" y="63"/>
                      <a:pt x="47" y="73"/>
                      <a:pt x="47" y="62"/>
                    </a:cubicBezTo>
                    <a:cubicBezTo>
                      <a:pt x="47" y="51"/>
                      <a:pt x="52" y="52"/>
                      <a:pt x="50" y="51"/>
                    </a:cubicBezTo>
                    <a:cubicBezTo>
                      <a:pt x="48" y="49"/>
                      <a:pt x="48" y="47"/>
                      <a:pt x="51" y="48"/>
                    </a:cubicBezTo>
                    <a:cubicBezTo>
                      <a:pt x="53" y="48"/>
                      <a:pt x="55" y="48"/>
                      <a:pt x="57" y="36"/>
                    </a:cubicBezTo>
                    <a:cubicBezTo>
                      <a:pt x="60" y="25"/>
                      <a:pt x="65" y="28"/>
                      <a:pt x="62" y="19"/>
                    </a:cubicBezTo>
                    <a:cubicBezTo>
                      <a:pt x="60" y="10"/>
                      <a:pt x="70" y="11"/>
                      <a:pt x="68" y="6"/>
                    </a:cubicBezTo>
                    <a:cubicBezTo>
                      <a:pt x="67" y="2"/>
                      <a:pt x="65" y="8"/>
                      <a:pt x="63" y="4"/>
                    </a:cubicBezTo>
                    <a:cubicBezTo>
                      <a:pt x="61" y="0"/>
                      <a:pt x="52" y="10"/>
                      <a:pt x="54" y="18"/>
                    </a:cubicBezTo>
                    <a:cubicBezTo>
                      <a:pt x="56" y="25"/>
                      <a:pt x="48" y="23"/>
                      <a:pt x="49" y="29"/>
                    </a:cubicBezTo>
                    <a:cubicBezTo>
                      <a:pt x="50" y="36"/>
                      <a:pt x="49" y="39"/>
                      <a:pt x="40" y="54"/>
                    </a:cubicBezTo>
                    <a:cubicBezTo>
                      <a:pt x="31" y="68"/>
                      <a:pt x="37" y="70"/>
                      <a:pt x="29" y="7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2" name="Freeform 897"/>
              <p:cNvSpPr>
                <a:spLocks/>
              </p:cNvSpPr>
              <p:nvPr/>
            </p:nvSpPr>
            <p:spPr bwMode="auto">
              <a:xfrm>
                <a:off x="3020" y="1969"/>
                <a:ext cx="3" cy="4"/>
              </a:xfrm>
              <a:custGeom>
                <a:avLst/>
                <a:gdLst>
                  <a:gd name="T0" fmla="*/ 3 w 5"/>
                  <a:gd name="T1" fmla="*/ 6 h 7"/>
                  <a:gd name="T2" fmla="*/ 2 w 5"/>
                  <a:gd name="T3" fmla="*/ 1 h 7"/>
                  <a:gd name="T4" fmla="*/ 2 w 5"/>
                  <a:gd name="T5" fmla="*/ 1 h 7"/>
                  <a:gd name="T6" fmla="*/ 3 w 5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3" y="6"/>
                    </a:moveTo>
                    <a:cubicBezTo>
                      <a:pt x="5" y="5"/>
                      <a:pt x="3" y="2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0" y="0"/>
                      <a:pt x="1" y="7"/>
                      <a:pt x="3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3" name="Freeform 898"/>
              <p:cNvSpPr>
                <a:spLocks/>
              </p:cNvSpPr>
              <p:nvPr/>
            </p:nvSpPr>
            <p:spPr bwMode="auto">
              <a:xfrm>
                <a:off x="3055" y="2046"/>
                <a:ext cx="61" cy="95"/>
              </a:xfrm>
              <a:custGeom>
                <a:avLst/>
                <a:gdLst>
                  <a:gd name="T0" fmla="*/ 5 w 93"/>
                  <a:gd name="T1" fmla="*/ 88 h 145"/>
                  <a:gd name="T2" fmla="*/ 4 w 93"/>
                  <a:gd name="T3" fmla="*/ 97 h 145"/>
                  <a:gd name="T4" fmla="*/ 8 w 93"/>
                  <a:gd name="T5" fmla="*/ 107 h 145"/>
                  <a:gd name="T6" fmla="*/ 12 w 93"/>
                  <a:gd name="T7" fmla="*/ 118 h 145"/>
                  <a:gd name="T8" fmla="*/ 16 w 93"/>
                  <a:gd name="T9" fmla="*/ 121 h 145"/>
                  <a:gd name="T10" fmla="*/ 14 w 93"/>
                  <a:gd name="T11" fmla="*/ 127 h 145"/>
                  <a:gd name="T12" fmla="*/ 10 w 93"/>
                  <a:gd name="T13" fmla="*/ 137 h 145"/>
                  <a:gd name="T14" fmla="*/ 14 w 93"/>
                  <a:gd name="T15" fmla="*/ 143 h 145"/>
                  <a:gd name="T16" fmla="*/ 21 w 93"/>
                  <a:gd name="T17" fmla="*/ 138 h 145"/>
                  <a:gd name="T18" fmla="*/ 25 w 93"/>
                  <a:gd name="T19" fmla="*/ 134 h 145"/>
                  <a:gd name="T20" fmla="*/ 26 w 93"/>
                  <a:gd name="T21" fmla="*/ 130 h 145"/>
                  <a:gd name="T22" fmla="*/ 28 w 93"/>
                  <a:gd name="T23" fmla="*/ 118 h 145"/>
                  <a:gd name="T24" fmla="*/ 33 w 93"/>
                  <a:gd name="T25" fmla="*/ 114 h 145"/>
                  <a:gd name="T26" fmla="*/ 39 w 93"/>
                  <a:gd name="T27" fmla="*/ 108 h 145"/>
                  <a:gd name="T28" fmla="*/ 49 w 93"/>
                  <a:gd name="T29" fmla="*/ 100 h 145"/>
                  <a:gd name="T30" fmla="*/ 54 w 93"/>
                  <a:gd name="T31" fmla="*/ 93 h 145"/>
                  <a:gd name="T32" fmla="*/ 73 w 93"/>
                  <a:gd name="T33" fmla="*/ 78 h 145"/>
                  <a:gd name="T34" fmla="*/ 71 w 93"/>
                  <a:gd name="T35" fmla="*/ 70 h 145"/>
                  <a:gd name="T36" fmla="*/ 65 w 93"/>
                  <a:gd name="T37" fmla="*/ 52 h 145"/>
                  <a:gd name="T38" fmla="*/ 63 w 93"/>
                  <a:gd name="T39" fmla="*/ 41 h 145"/>
                  <a:gd name="T40" fmla="*/ 68 w 93"/>
                  <a:gd name="T41" fmla="*/ 29 h 145"/>
                  <a:gd name="T42" fmla="*/ 73 w 93"/>
                  <a:gd name="T43" fmla="*/ 30 h 145"/>
                  <a:gd name="T44" fmla="*/ 77 w 93"/>
                  <a:gd name="T45" fmla="*/ 25 h 145"/>
                  <a:gd name="T46" fmla="*/ 81 w 93"/>
                  <a:gd name="T47" fmla="*/ 21 h 145"/>
                  <a:gd name="T48" fmla="*/ 87 w 93"/>
                  <a:gd name="T49" fmla="*/ 15 h 145"/>
                  <a:gd name="T50" fmla="*/ 86 w 93"/>
                  <a:gd name="T51" fmla="*/ 10 h 145"/>
                  <a:gd name="T52" fmla="*/ 80 w 93"/>
                  <a:gd name="T53" fmla="*/ 3 h 145"/>
                  <a:gd name="T54" fmla="*/ 76 w 93"/>
                  <a:gd name="T55" fmla="*/ 8 h 145"/>
                  <a:gd name="T56" fmla="*/ 70 w 93"/>
                  <a:gd name="T57" fmla="*/ 2 h 145"/>
                  <a:gd name="T58" fmla="*/ 68 w 93"/>
                  <a:gd name="T59" fmla="*/ 9 h 145"/>
                  <a:gd name="T60" fmla="*/ 65 w 93"/>
                  <a:gd name="T61" fmla="*/ 15 h 145"/>
                  <a:gd name="T62" fmla="*/ 57 w 93"/>
                  <a:gd name="T63" fmla="*/ 2 h 145"/>
                  <a:gd name="T64" fmla="*/ 43 w 93"/>
                  <a:gd name="T65" fmla="*/ 14 h 145"/>
                  <a:gd name="T66" fmla="*/ 13 w 93"/>
                  <a:gd name="T67" fmla="*/ 46 h 145"/>
                  <a:gd name="T68" fmla="*/ 5 w 93"/>
                  <a:gd name="T69" fmla="*/ 69 h 145"/>
                  <a:gd name="T70" fmla="*/ 9 w 93"/>
                  <a:gd name="T71" fmla="*/ 79 h 145"/>
                  <a:gd name="T72" fmla="*/ 5 w 93"/>
                  <a:gd name="T73" fmla="*/ 8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3" h="145">
                    <a:moveTo>
                      <a:pt x="5" y="88"/>
                    </a:moveTo>
                    <a:cubicBezTo>
                      <a:pt x="1" y="93"/>
                      <a:pt x="0" y="95"/>
                      <a:pt x="4" y="97"/>
                    </a:cubicBezTo>
                    <a:cubicBezTo>
                      <a:pt x="8" y="99"/>
                      <a:pt x="7" y="98"/>
                      <a:pt x="8" y="107"/>
                    </a:cubicBezTo>
                    <a:cubicBezTo>
                      <a:pt x="9" y="115"/>
                      <a:pt x="15" y="111"/>
                      <a:pt x="12" y="118"/>
                    </a:cubicBezTo>
                    <a:cubicBezTo>
                      <a:pt x="10" y="125"/>
                      <a:pt x="11" y="125"/>
                      <a:pt x="16" y="121"/>
                    </a:cubicBezTo>
                    <a:cubicBezTo>
                      <a:pt x="21" y="116"/>
                      <a:pt x="20" y="125"/>
                      <a:pt x="14" y="127"/>
                    </a:cubicBezTo>
                    <a:cubicBezTo>
                      <a:pt x="9" y="129"/>
                      <a:pt x="14" y="130"/>
                      <a:pt x="10" y="137"/>
                    </a:cubicBezTo>
                    <a:cubicBezTo>
                      <a:pt x="5" y="145"/>
                      <a:pt x="3" y="145"/>
                      <a:pt x="14" y="143"/>
                    </a:cubicBezTo>
                    <a:cubicBezTo>
                      <a:pt x="19" y="141"/>
                      <a:pt x="20" y="142"/>
                      <a:pt x="21" y="138"/>
                    </a:cubicBezTo>
                    <a:cubicBezTo>
                      <a:pt x="22" y="134"/>
                      <a:pt x="25" y="137"/>
                      <a:pt x="25" y="134"/>
                    </a:cubicBezTo>
                    <a:cubicBezTo>
                      <a:pt x="24" y="131"/>
                      <a:pt x="29" y="132"/>
                      <a:pt x="26" y="130"/>
                    </a:cubicBezTo>
                    <a:cubicBezTo>
                      <a:pt x="24" y="129"/>
                      <a:pt x="23" y="120"/>
                      <a:pt x="28" y="118"/>
                    </a:cubicBezTo>
                    <a:cubicBezTo>
                      <a:pt x="33" y="116"/>
                      <a:pt x="37" y="113"/>
                      <a:pt x="33" y="114"/>
                    </a:cubicBezTo>
                    <a:cubicBezTo>
                      <a:pt x="28" y="114"/>
                      <a:pt x="25" y="113"/>
                      <a:pt x="39" y="108"/>
                    </a:cubicBezTo>
                    <a:cubicBezTo>
                      <a:pt x="53" y="103"/>
                      <a:pt x="35" y="104"/>
                      <a:pt x="49" y="100"/>
                    </a:cubicBezTo>
                    <a:cubicBezTo>
                      <a:pt x="59" y="98"/>
                      <a:pt x="61" y="96"/>
                      <a:pt x="54" y="93"/>
                    </a:cubicBezTo>
                    <a:cubicBezTo>
                      <a:pt x="47" y="89"/>
                      <a:pt x="69" y="75"/>
                      <a:pt x="73" y="78"/>
                    </a:cubicBezTo>
                    <a:cubicBezTo>
                      <a:pt x="77" y="80"/>
                      <a:pt x="82" y="67"/>
                      <a:pt x="71" y="70"/>
                    </a:cubicBezTo>
                    <a:cubicBezTo>
                      <a:pt x="61" y="73"/>
                      <a:pt x="60" y="61"/>
                      <a:pt x="65" y="52"/>
                    </a:cubicBezTo>
                    <a:cubicBezTo>
                      <a:pt x="69" y="43"/>
                      <a:pt x="58" y="48"/>
                      <a:pt x="63" y="41"/>
                    </a:cubicBezTo>
                    <a:cubicBezTo>
                      <a:pt x="67" y="34"/>
                      <a:pt x="64" y="27"/>
                      <a:pt x="68" y="29"/>
                    </a:cubicBezTo>
                    <a:cubicBezTo>
                      <a:pt x="72" y="31"/>
                      <a:pt x="71" y="28"/>
                      <a:pt x="73" y="30"/>
                    </a:cubicBezTo>
                    <a:cubicBezTo>
                      <a:pt x="74" y="32"/>
                      <a:pt x="76" y="32"/>
                      <a:pt x="77" y="25"/>
                    </a:cubicBezTo>
                    <a:cubicBezTo>
                      <a:pt x="77" y="18"/>
                      <a:pt x="80" y="25"/>
                      <a:pt x="81" y="21"/>
                    </a:cubicBezTo>
                    <a:cubicBezTo>
                      <a:pt x="82" y="17"/>
                      <a:pt x="83" y="13"/>
                      <a:pt x="87" y="15"/>
                    </a:cubicBezTo>
                    <a:cubicBezTo>
                      <a:pt x="92" y="17"/>
                      <a:pt x="93" y="15"/>
                      <a:pt x="86" y="10"/>
                    </a:cubicBezTo>
                    <a:cubicBezTo>
                      <a:pt x="80" y="5"/>
                      <a:pt x="85" y="3"/>
                      <a:pt x="80" y="3"/>
                    </a:cubicBezTo>
                    <a:cubicBezTo>
                      <a:pt x="75" y="4"/>
                      <a:pt x="79" y="8"/>
                      <a:pt x="76" y="8"/>
                    </a:cubicBezTo>
                    <a:cubicBezTo>
                      <a:pt x="73" y="8"/>
                      <a:pt x="76" y="0"/>
                      <a:pt x="70" y="2"/>
                    </a:cubicBezTo>
                    <a:cubicBezTo>
                      <a:pt x="65" y="5"/>
                      <a:pt x="72" y="8"/>
                      <a:pt x="68" y="9"/>
                    </a:cubicBezTo>
                    <a:cubicBezTo>
                      <a:pt x="65" y="11"/>
                      <a:pt x="68" y="14"/>
                      <a:pt x="65" y="15"/>
                    </a:cubicBezTo>
                    <a:cubicBezTo>
                      <a:pt x="61" y="16"/>
                      <a:pt x="64" y="2"/>
                      <a:pt x="57" y="2"/>
                    </a:cubicBezTo>
                    <a:cubicBezTo>
                      <a:pt x="48" y="2"/>
                      <a:pt x="53" y="15"/>
                      <a:pt x="43" y="14"/>
                    </a:cubicBezTo>
                    <a:cubicBezTo>
                      <a:pt x="30" y="14"/>
                      <a:pt x="27" y="36"/>
                      <a:pt x="13" y="46"/>
                    </a:cubicBezTo>
                    <a:cubicBezTo>
                      <a:pt x="0" y="56"/>
                      <a:pt x="3" y="59"/>
                      <a:pt x="5" y="69"/>
                    </a:cubicBezTo>
                    <a:cubicBezTo>
                      <a:pt x="6" y="79"/>
                      <a:pt x="11" y="76"/>
                      <a:pt x="9" y="79"/>
                    </a:cubicBezTo>
                    <a:cubicBezTo>
                      <a:pt x="7" y="81"/>
                      <a:pt x="10" y="84"/>
                      <a:pt x="5" y="8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4" name="Freeform 899"/>
              <p:cNvSpPr>
                <a:spLocks/>
              </p:cNvSpPr>
              <p:nvPr/>
            </p:nvSpPr>
            <p:spPr bwMode="auto">
              <a:xfrm>
                <a:off x="3038" y="1954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5" name="Freeform 900"/>
              <p:cNvSpPr>
                <a:spLocks/>
              </p:cNvSpPr>
              <p:nvPr/>
            </p:nvSpPr>
            <p:spPr bwMode="auto">
              <a:xfrm>
                <a:off x="3105" y="1901"/>
                <a:ext cx="3" cy="12"/>
              </a:xfrm>
              <a:custGeom>
                <a:avLst/>
                <a:gdLst>
                  <a:gd name="T0" fmla="*/ 5 w 5"/>
                  <a:gd name="T1" fmla="*/ 8 h 19"/>
                  <a:gd name="T2" fmla="*/ 5 w 5"/>
                  <a:gd name="T3" fmla="*/ 7 h 19"/>
                  <a:gd name="T4" fmla="*/ 5 w 5"/>
                  <a:gd name="T5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19">
                    <a:moveTo>
                      <a:pt x="5" y="8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0" y="0"/>
                      <a:pt x="0" y="19"/>
                      <a:pt x="5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6" name="Freeform 901"/>
              <p:cNvSpPr>
                <a:spLocks/>
              </p:cNvSpPr>
              <p:nvPr/>
            </p:nvSpPr>
            <p:spPr bwMode="auto">
              <a:xfrm>
                <a:off x="3111" y="2040"/>
                <a:ext cx="19" cy="16"/>
              </a:xfrm>
              <a:custGeom>
                <a:avLst/>
                <a:gdLst>
                  <a:gd name="T0" fmla="*/ 13 w 29"/>
                  <a:gd name="T1" fmla="*/ 2 h 24"/>
                  <a:gd name="T2" fmla="*/ 6 w 29"/>
                  <a:gd name="T3" fmla="*/ 4 h 24"/>
                  <a:gd name="T4" fmla="*/ 3 w 29"/>
                  <a:gd name="T5" fmla="*/ 10 h 24"/>
                  <a:gd name="T6" fmla="*/ 1 w 29"/>
                  <a:gd name="T7" fmla="*/ 14 h 24"/>
                  <a:gd name="T8" fmla="*/ 4 w 29"/>
                  <a:gd name="T9" fmla="*/ 17 h 24"/>
                  <a:gd name="T10" fmla="*/ 10 w 29"/>
                  <a:gd name="T11" fmla="*/ 22 h 24"/>
                  <a:gd name="T12" fmla="*/ 10 w 29"/>
                  <a:gd name="T13" fmla="*/ 20 h 24"/>
                  <a:gd name="T14" fmla="*/ 11 w 29"/>
                  <a:gd name="T15" fmla="*/ 11 h 24"/>
                  <a:gd name="T16" fmla="*/ 12 w 29"/>
                  <a:gd name="T17" fmla="*/ 10 h 24"/>
                  <a:gd name="T18" fmla="*/ 16 w 29"/>
                  <a:gd name="T19" fmla="*/ 10 h 24"/>
                  <a:gd name="T20" fmla="*/ 19 w 29"/>
                  <a:gd name="T21" fmla="*/ 7 h 24"/>
                  <a:gd name="T22" fmla="*/ 26 w 29"/>
                  <a:gd name="T23" fmla="*/ 7 h 24"/>
                  <a:gd name="T24" fmla="*/ 26 w 29"/>
                  <a:gd name="T25" fmla="*/ 7 h 24"/>
                  <a:gd name="T26" fmla="*/ 24 w 29"/>
                  <a:gd name="T27" fmla="*/ 3 h 24"/>
                  <a:gd name="T28" fmla="*/ 18 w 29"/>
                  <a:gd name="T29" fmla="*/ 4 h 24"/>
                  <a:gd name="T30" fmla="*/ 18 w 29"/>
                  <a:gd name="T31" fmla="*/ 3 h 24"/>
                  <a:gd name="T32" fmla="*/ 15 w 29"/>
                  <a:gd name="T33" fmla="*/ 4 h 24"/>
                  <a:gd name="T34" fmla="*/ 13 w 29"/>
                  <a:gd name="T3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9" h="24">
                    <a:moveTo>
                      <a:pt x="13" y="2"/>
                    </a:moveTo>
                    <a:cubicBezTo>
                      <a:pt x="12" y="2"/>
                      <a:pt x="6" y="3"/>
                      <a:pt x="6" y="4"/>
                    </a:cubicBezTo>
                    <a:cubicBezTo>
                      <a:pt x="4" y="5"/>
                      <a:pt x="4" y="8"/>
                      <a:pt x="3" y="10"/>
                    </a:cubicBezTo>
                    <a:cubicBezTo>
                      <a:pt x="3" y="12"/>
                      <a:pt x="0" y="11"/>
                      <a:pt x="1" y="14"/>
                    </a:cubicBezTo>
                    <a:cubicBezTo>
                      <a:pt x="1" y="15"/>
                      <a:pt x="4" y="15"/>
                      <a:pt x="4" y="17"/>
                    </a:cubicBezTo>
                    <a:cubicBezTo>
                      <a:pt x="4" y="18"/>
                      <a:pt x="8" y="24"/>
                      <a:pt x="10" y="22"/>
                    </a:cubicBezTo>
                    <a:cubicBezTo>
                      <a:pt x="10" y="21"/>
                      <a:pt x="9" y="20"/>
                      <a:pt x="10" y="20"/>
                    </a:cubicBezTo>
                    <a:cubicBezTo>
                      <a:pt x="18" y="13"/>
                      <a:pt x="8" y="17"/>
                      <a:pt x="11" y="11"/>
                    </a:cubicBezTo>
                    <a:cubicBezTo>
                      <a:pt x="11" y="11"/>
                      <a:pt x="12" y="10"/>
                      <a:pt x="12" y="10"/>
                    </a:cubicBezTo>
                    <a:cubicBezTo>
                      <a:pt x="14" y="9"/>
                      <a:pt x="14" y="10"/>
                      <a:pt x="16" y="10"/>
                    </a:cubicBezTo>
                    <a:cubicBezTo>
                      <a:pt x="17" y="10"/>
                      <a:pt x="18" y="8"/>
                      <a:pt x="19" y="7"/>
                    </a:cubicBezTo>
                    <a:cubicBezTo>
                      <a:pt x="22" y="5"/>
                      <a:pt x="22" y="10"/>
                      <a:pt x="26" y="7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9" y="5"/>
                      <a:pt x="27" y="3"/>
                      <a:pt x="24" y="3"/>
                    </a:cubicBezTo>
                    <a:cubicBezTo>
                      <a:pt x="23" y="3"/>
                      <a:pt x="19" y="5"/>
                      <a:pt x="18" y="4"/>
                    </a:cubicBezTo>
                    <a:cubicBezTo>
                      <a:pt x="18" y="4"/>
                      <a:pt x="18" y="3"/>
                      <a:pt x="18" y="3"/>
                    </a:cubicBezTo>
                    <a:cubicBezTo>
                      <a:pt x="17" y="0"/>
                      <a:pt x="17" y="4"/>
                      <a:pt x="15" y="4"/>
                    </a:cubicBezTo>
                    <a:cubicBezTo>
                      <a:pt x="14" y="4"/>
                      <a:pt x="14" y="2"/>
                      <a:pt x="13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7" name="Freeform 902"/>
              <p:cNvSpPr>
                <a:spLocks/>
              </p:cNvSpPr>
              <p:nvPr/>
            </p:nvSpPr>
            <p:spPr bwMode="auto">
              <a:xfrm>
                <a:off x="3118" y="2004"/>
                <a:ext cx="11" cy="5"/>
              </a:xfrm>
              <a:custGeom>
                <a:avLst/>
                <a:gdLst>
                  <a:gd name="T0" fmla="*/ 7 w 17"/>
                  <a:gd name="T1" fmla="*/ 8 h 8"/>
                  <a:gd name="T2" fmla="*/ 17 w 17"/>
                  <a:gd name="T3" fmla="*/ 4 h 8"/>
                  <a:gd name="T4" fmla="*/ 7 w 17"/>
                  <a:gd name="T5" fmla="*/ 0 h 8"/>
                  <a:gd name="T6" fmla="*/ 7 w 17"/>
                  <a:gd name="T7" fmla="*/ 0 h 8"/>
                  <a:gd name="T8" fmla="*/ 7 w 17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8">
                    <a:moveTo>
                      <a:pt x="7" y="8"/>
                    </a:moveTo>
                    <a:cubicBezTo>
                      <a:pt x="9" y="8"/>
                      <a:pt x="17" y="6"/>
                      <a:pt x="17" y="4"/>
                    </a:cubicBezTo>
                    <a:cubicBezTo>
                      <a:pt x="16" y="2"/>
                      <a:pt x="9" y="1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0"/>
                      <a:pt x="7" y="8"/>
                      <a:pt x="7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8" name="Freeform 903"/>
              <p:cNvSpPr>
                <a:spLocks/>
              </p:cNvSpPr>
              <p:nvPr/>
            </p:nvSpPr>
            <p:spPr bwMode="auto">
              <a:xfrm>
                <a:off x="3074" y="1933"/>
                <a:ext cx="8" cy="11"/>
              </a:xfrm>
              <a:custGeom>
                <a:avLst/>
                <a:gdLst>
                  <a:gd name="T0" fmla="*/ 13 w 13"/>
                  <a:gd name="T1" fmla="*/ 4 h 16"/>
                  <a:gd name="T2" fmla="*/ 13 w 13"/>
                  <a:gd name="T3" fmla="*/ 4 h 16"/>
                  <a:gd name="T4" fmla="*/ 4 w 13"/>
                  <a:gd name="T5" fmla="*/ 12 h 16"/>
                  <a:gd name="T6" fmla="*/ 13 w 13"/>
                  <a:gd name="T7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6">
                    <a:moveTo>
                      <a:pt x="13" y="4"/>
                    </a:moveTo>
                    <a:cubicBezTo>
                      <a:pt x="13" y="4"/>
                      <a:pt x="13" y="4"/>
                      <a:pt x="13" y="4"/>
                    </a:cubicBezTo>
                    <a:cubicBezTo>
                      <a:pt x="12" y="0"/>
                      <a:pt x="4" y="12"/>
                      <a:pt x="4" y="12"/>
                    </a:cubicBezTo>
                    <a:cubicBezTo>
                      <a:pt x="0" y="14"/>
                      <a:pt x="10" y="16"/>
                      <a:pt x="13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89" name="Freeform 904"/>
              <p:cNvSpPr>
                <a:spLocks/>
              </p:cNvSpPr>
              <p:nvPr/>
            </p:nvSpPr>
            <p:spPr bwMode="auto">
              <a:xfrm>
                <a:off x="3090" y="1926"/>
                <a:ext cx="9" cy="5"/>
              </a:xfrm>
              <a:custGeom>
                <a:avLst/>
                <a:gdLst>
                  <a:gd name="T0" fmla="*/ 6 w 14"/>
                  <a:gd name="T1" fmla="*/ 2 h 8"/>
                  <a:gd name="T2" fmla="*/ 12 w 14"/>
                  <a:gd name="T3" fmla="*/ 3 h 8"/>
                  <a:gd name="T4" fmla="*/ 12 w 14"/>
                  <a:gd name="T5" fmla="*/ 3 h 8"/>
                  <a:gd name="T6" fmla="*/ 6 w 14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8">
                    <a:moveTo>
                      <a:pt x="6" y="2"/>
                    </a:moveTo>
                    <a:cubicBezTo>
                      <a:pt x="0" y="8"/>
                      <a:pt x="8" y="7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4" y="0"/>
                      <a:pt x="7" y="1"/>
                      <a:pt x="6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0" name="Freeform 905"/>
              <p:cNvSpPr>
                <a:spLocks/>
              </p:cNvSpPr>
              <p:nvPr/>
            </p:nvSpPr>
            <p:spPr bwMode="auto">
              <a:xfrm>
                <a:off x="3099" y="1885"/>
                <a:ext cx="13" cy="7"/>
              </a:xfrm>
              <a:custGeom>
                <a:avLst/>
                <a:gdLst>
                  <a:gd name="T0" fmla="*/ 13 w 20"/>
                  <a:gd name="T1" fmla="*/ 4 h 11"/>
                  <a:gd name="T2" fmla="*/ 20 w 20"/>
                  <a:gd name="T3" fmla="*/ 4 h 11"/>
                  <a:gd name="T4" fmla="*/ 20 w 20"/>
                  <a:gd name="T5" fmla="*/ 4 h 11"/>
                  <a:gd name="T6" fmla="*/ 13 w 20"/>
                  <a:gd name="T7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1">
                    <a:moveTo>
                      <a:pt x="13" y="4"/>
                    </a:moveTo>
                    <a:cubicBezTo>
                      <a:pt x="0" y="11"/>
                      <a:pt x="16" y="5"/>
                      <a:pt x="20" y="4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0" y="0"/>
                      <a:pt x="15" y="3"/>
                      <a:pt x="13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1" name="Freeform 906"/>
              <p:cNvSpPr>
                <a:spLocks/>
              </p:cNvSpPr>
              <p:nvPr/>
            </p:nvSpPr>
            <p:spPr bwMode="auto">
              <a:xfrm>
                <a:off x="3080" y="1895"/>
                <a:ext cx="17" cy="14"/>
              </a:xfrm>
              <a:custGeom>
                <a:avLst/>
                <a:gdLst>
                  <a:gd name="T0" fmla="*/ 1 w 26"/>
                  <a:gd name="T1" fmla="*/ 14 h 20"/>
                  <a:gd name="T2" fmla="*/ 20 w 26"/>
                  <a:gd name="T3" fmla="*/ 4 h 20"/>
                  <a:gd name="T4" fmla="*/ 20 w 26"/>
                  <a:gd name="T5" fmla="*/ 4 h 20"/>
                  <a:gd name="T6" fmla="*/ 1 w 26"/>
                  <a:gd name="T7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20">
                    <a:moveTo>
                      <a:pt x="1" y="14"/>
                    </a:moveTo>
                    <a:cubicBezTo>
                      <a:pt x="3" y="20"/>
                      <a:pt x="12" y="8"/>
                      <a:pt x="20" y="4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26" y="0"/>
                      <a:pt x="0" y="7"/>
                      <a:pt x="1" y="1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2" name="Freeform 907"/>
              <p:cNvSpPr>
                <a:spLocks/>
              </p:cNvSpPr>
              <p:nvPr/>
            </p:nvSpPr>
            <p:spPr bwMode="auto">
              <a:xfrm>
                <a:off x="3081" y="1920"/>
                <a:ext cx="12" cy="6"/>
              </a:xfrm>
              <a:custGeom>
                <a:avLst/>
                <a:gdLst>
                  <a:gd name="T0" fmla="*/ 2 w 18"/>
                  <a:gd name="T1" fmla="*/ 3 h 9"/>
                  <a:gd name="T2" fmla="*/ 14 w 18"/>
                  <a:gd name="T3" fmla="*/ 2 h 9"/>
                  <a:gd name="T4" fmla="*/ 14 w 18"/>
                  <a:gd name="T5" fmla="*/ 2 h 9"/>
                  <a:gd name="T6" fmla="*/ 2 w 18"/>
                  <a:gd name="T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9">
                    <a:moveTo>
                      <a:pt x="2" y="3"/>
                    </a:moveTo>
                    <a:cubicBezTo>
                      <a:pt x="5" y="9"/>
                      <a:pt x="12" y="4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8" y="0"/>
                      <a:pt x="0" y="0"/>
                      <a:pt x="2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3" name="Freeform 908"/>
              <p:cNvSpPr>
                <a:spLocks/>
              </p:cNvSpPr>
              <p:nvPr/>
            </p:nvSpPr>
            <p:spPr bwMode="auto">
              <a:xfrm>
                <a:off x="2669" y="2033"/>
                <a:ext cx="16" cy="20"/>
              </a:xfrm>
              <a:custGeom>
                <a:avLst/>
                <a:gdLst>
                  <a:gd name="T0" fmla="*/ 23 w 25"/>
                  <a:gd name="T1" fmla="*/ 13 h 30"/>
                  <a:gd name="T2" fmla="*/ 23 w 25"/>
                  <a:gd name="T3" fmla="*/ 12 h 30"/>
                  <a:gd name="T4" fmla="*/ 2 w 25"/>
                  <a:gd name="T5" fmla="*/ 8 h 30"/>
                  <a:gd name="T6" fmla="*/ 8 w 25"/>
                  <a:gd name="T7" fmla="*/ 12 h 30"/>
                  <a:gd name="T8" fmla="*/ 23 w 25"/>
                  <a:gd name="T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30">
                    <a:moveTo>
                      <a:pt x="23" y="13"/>
                    </a:moveTo>
                    <a:cubicBezTo>
                      <a:pt x="23" y="12"/>
                      <a:pt x="23" y="12"/>
                      <a:pt x="23" y="12"/>
                    </a:cubicBezTo>
                    <a:cubicBezTo>
                      <a:pt x="25" y="0"/>
                      <a:pt x="2" y="6"/>
                      <a:pt x="2" y="8"/>
                    </a:cubicBezTo>
                    <a:cubicBezTo>
                      <a:pt x="0" y="14"/>
                      <a:pt x="8" y="9"/>
                      <a:pt x="8" y="12"/>
                    </a:cubicBezTo>
                    <a:cubicBezTo>
                      <a:pt x="6" y="30"/>
                      <a:pt x="19" y="18"/>
                      <a:pt x="23" y="1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4" name="Freeform 909"/>
              <p:cNvSpPr>
                <a:spLocks/>
              </p:cNvSpPr>
              <p:nvPr/>
            </p:nvSpPr>
            <p:spPr bwMode="auto">
              <a:xfrm>
                <a:off x="2660" y="2015"/>
                <a:ext cx="39" cy="27"/>
              </a:xfrm>
              <a:custGeom>
                <a:avLst/>
                <a:gdLst>
                  <a:gd name="T0" fmla="*/ 13 w 59"/>
                  <a:gd name="T1" fmla="*/ 30 h 41"/>
                  <a:gd name="T2" fmla="*/ 20 w 59"/>
                  <a:gd name="T3" fmla="*/ 24 h 41"/>
                  <a:gd name="T4" fmla="*/ 38 w 59"/>
                  <a:gd name="T5" fmla="*/ 1 h 41"/>
                  <a:gd name="T6" fmla="*/ 38 w 59"/>
                  <a:gd name="T7" fmla="*/ 1 h 41"/>
                  <a:gd name="T8" fmla="*/ 13 w 59"/>
                  <a:gd name="T9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" h="41">
                    <a:moveTo>
                      <a:pt x="13" y="30"/>
                    </a:moveTo>
                    <a:cubicBezTo>
                      <a:pt x="15" y="32"/>
                      <a:pt x="17" y="26"/>
                      <a:pt x="20" y="24"/>
                    </a:cubicBezTo>
                    <a:cubicBezTo>
                      <a:pt x="24" y="20"/>
                      <a:pt x="59" y="41"/>
                      <a:pt x="38" y="1"/>
                    </a:cubicBezTo>
                    <a:cubicBezTo>
                      <a:pt x="38" y="1"/>
                      <a:pt x="38" y="1"/>
                      <a:pt x="38" y="1"/>
                    </a:cubicBezTo>
                    <a:cubicBezTo>
                      <a:pt x="33" y="0"/>
                      <a:pt x="0" y="17"/>
                      <a:pt x="13" y="3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5" name="Freeform 910"/>
              <p:cNvSpPr>
                <a:spLocks/>
              </p:cNvSpPr>
              <p:nvPr/>
            </p:nvSpPr>
            <p:spPr bwMode="auto">
              <a:xfrm>
                <a:off x="2099" y="3380"/>
                <a:ext cx="0" cy="0"/>
              </a:xfrm>
              <a:custGeom>
                <a:avLst/>
                <a:gdLst>
                  <a:gd name="T0" fmla="*/ 1 w 1"/>
                  <a:gd name="T1" fmla="*/ 0 h 1"/>
                  <a:gd name="T2" fmla="*/ 1 w 1"/>
                  <a:gd name="T3" fmla="*/ 0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6" name="Freeform 911"/>
              <p:cNvSpPr>
                <a:spLocks noEditPoints="1"/>
              </p:cNvSpPr>
              <p:nvPr/>
            </p:nvSpPr>
            <p:spPr bwMode="auto">
              <a:xfrm>
                <a:off x="1450" y="3273"/>
                <a:ext cx="746" cy="626"/>
              </a:xfrm>
              <a:custGeom>
                <a:avLst/>
                <a:gdLst>
                  <a:gd name="T0" fmla="*/ 1064 w 1138"/>
                  <a:gd name="T1" fmla="*/ 179 h 955"/>
                  <a:gd name="T2" fmla="*/ 1016 w 1138"/>
                  <a:gd name="T3" fmla="*/ 177 h 955"/>
                  <a:gd name="T4" fmla="*/ 970 w 1138"/>
                  <a:gd name="T5" fmla="*/ 160 h 955"/>
                  <a:gd name="T6" fmla="*/ 852 w 1138"/>
                  <a:gd name="T7" fmla="*/ 131 h 955"/>
                  <a:gd name="T8" fmla="*/ 772 w 1138"/>
                  <a:gd name="T9" fmla="*/ 102 h 955"/>
                  <a:gd name="T10" fmla="*/ 699 w 1138"/>
                  <a:gd name="T11" fmla="*/ 65 h 955"/>
                  <a:gd name="T12" fmla="*/ 577 w 1138"/>
                  <a:gd name="T13" fmla="*/ 44 h 955"/>
                  <a:gd name="T14" fmla="*/ 527 w 1138"/>
                  <a:gd name="T15" fmla="*/ 48 h 955"/>
                  <a:gd name="T16" fmla="*/ 498 w 1138"/>
                  <a:gd name="T17" fmla="*/ 37 h 955"/>
                  <a:gd name="T18" fmla="*/ 331 w 1138"/>
                  <a:gd name="T19" fmla="*/ 29 h 955"/>
                  <a:gd name="T20" fmla="*/ 214 w 1138"/>
                  <a:gd name="T21" fmla="*/ 29 h 955"/>
                  <a:gd name="T22" fmla="*/ 169 w 1138"/>
                  <a:gd name="T23" fmla="*/ 9 h 955"/>
                  <a:gd name="T24" fmla="*/ 135 w 1138"/>
                  <a:gd name="T25" fmla="*/ 17 h 955"/>
                  <a:gd name="T26" fmla="*/ 107 w 1138"/>
                  <a:gd name="T27" fmla="*/ 38 h 955"/>
                  <a:gd name="T28" fmla="*/ 61 w 1138"/>
                  <a:gd name="T29" fmla="*/ 63 h 955"/>
                  <a:gd name="T30" fmla="*/ 40 w 1138"/>
                  <a:gd name="T31" fmla="*/ 71 h 955"/>
                  <a:gd name="T32" fmla="*/ 22 w 1138"/>
                  <a:gd name="T33" fmla="*/ 111 h 955"/>
                  <a:gd name="T34" fmla="*/ 31 w 1138"/>
                  <a:gd name="T35" fmla="*/ 158 h 955"/>
                  <a:gd name="T36" fmla="*/ 53 w 1138"/>
                  <a:gd name="T37" fmla="*/ 151 h 955"/>
                  <a:gd name="T38" fmla="*/ 64 w 1138"/>
                  <a:gd name="T39" fmla="*/ 171 h 955"/>
                  <a:gd name="T40" fmla="*/ 47 w 1138"/>
                  <a:gd name="T41" fmla="*/ 204 h 955"/>
                  <a:gd name="T42" fmla="*/ 105 w 1138"/>
                  <a:gd name="T43" fmla="*/ 212 h 955"/>
                  <a:gd name="T44" fmla="*/ 132 w 1138"/>
                  <a:gd name="T45" fmla="*/ 239 h 955"/>
                  <a:gd name="T46" fmla="*/ 194 w 1138"/>
                  <a:gd name="T47" fmla="*/ 226 h 955"/>
                  <a:gd name="T48" fmla="*/ 236 w 1138"/>
                  <a:gd name="T49" fmla="*/ 230 h 955"/>
                  <a:gd name="T50" fmla="*/ 245 w 1138"/>
                  <a:gd name="T51" fmla="*/ 317 h 955"/>
                  <a:gd name="T52" fmla="*/ 231 w 1138"/>
                  <a:gd name="T53" fmla="*/ 423 h 955"/>
                  <a:gd name="T54" fmla="*/ 206 w 1138"/>
                  <a:gd name="T55" fmla="*/ 508 h 955"/>
                  <a:gd name="T56" fmla="*/ 184 w 1138"/>
                  <a:gd name="T57" fmla="*/ 508 h 955"/>
                  <a:gd name="T58" fmla="*/ 163 w 1138"/>
                  <a:gd name="T59" fmla="*/ 508 h 955"/>
                  <a:gd name="T60" fmla="*/ 179 w 1138"/>
                  <a:gd name="T61" fmla="*/ 660 h 955"/>
                  <a:gd name="T62" fmla="*/ 188 w 1138"/>
                  <a:gd name="T63" fmla="*/ 714 h 955"/>
                  <a:gd name="T64" fmla="*/ 217 w 1138"/>
                  <a:gd name="T65" fmla="*/ 808 h 955"/>
                  <a:gd name="T66" fmla="*/ 222 w 1138"/>
                  <a:gd name="T67" fmla="*/ 802 h 955"/>
                  <a:gd name="T68" fmla="*/ 284 w 1138"/>
                  <a:gd name="T69" fmla="*/ 840 h 955"/>
                  <a:gd name="T70" fmla="*/ 265 w 1138"/>
                  <a:gd name="T71" fmla="*/ 874 h 955"/>
                  <a:gd name="T72" fmla="*/ 351 w 1138"/>
                  <a:gd name="T73" fmla="*/ 930 h 955"/>
                  <a:gd name="T74" fmla="*/ 421 w 1138"/>
                  <a:gd name="T75" fmla="*/ 891 h 955"/>
                  <a:gd name="T76" fmla="*/ 576 w 1138"/>
                  <a:gd name="T77" fmla="*/ 861 h 955"/>
                  <a:gd name="T78" fmla="*/ 688 w 1138"/>
                  <a:gd name="T79" fmla="*/ 786 h 955"/>
                  <a:gd name="T80" fmla="*/ 777 w 1138"/>
                  <a:gd name="T81" fmla="*/ 695 h 955"/>
                  <a:gd name="T82" fmla="*/ 814 w 1138"/>
                  <a:gd name="T83" fmla="*/ 576 h 955"/>
                  <a:gd name="T84" fmla="*/ 916 w 1138"/>
                  <a:gd name="T85" fmla="*/ 382 h 955"/>
                  <a:gd name="T86" fmla="*/ 1018 w 1138"/>
                  <a:gd name="T87" fmla="*/ 315 h 955"/>
                  <a:gd name="T88" fmla="*/ 1118 w 1138"/>
                  <a:gd name="T89" fmla="*/ 195 h 955"/>
                  <a:gd name="T90" fmla="*/ 1078 w 1138"/>
                  <a:gd name="T91" fmla="*/ 173 h 955"/>
                  <a:gd name="T92" fmla="*/ 323 w 1138"/>
                  <a:gd name="T93" fmla="*/ 490 h 955"/>
                  <a:gd name="T94" fmla="*/ 369 w 1138"/>
                  <a:gd name="T95" fmla="*/ 495 h 955"/>
                  <a:gd name="T96" fmla="*/ 353 w 1138"/>
                  <a:gd name="T97" fmla="*/ 589 h 955"/>
                  <a:gd name="T98" fmla="*/ 354 w 1138"/>
                  <a:gd name="T99" fmla="*/ 596 h 955"/>
                  <a:gd name="T100" fmla="*/ 382 w 1138"/>
                  <a:gd name="T101" fmla="*/ 562 h 955"/>
                  <a:gd name="T102" fmla="*/ 400 w 1138"/>
                  <a:gd name="T103" fmla="*/ 538 h 955"/>
                  <a:gd name="T104" fmla="*/ 417 w 1138"/>
                  <a:gd name="T105" fmla="*/ 559 h 955"/>
                  <a:gd name="T106" fmla="*/ 602 w 1138"/>
                  <a:gd name="T107" fmla="*/ 392 h 955"/>
                  <a:gd name="T108" fmla="*/ 619 w 1138"/>
                  <a:gd name="T109" fmla="*/ 415 h 955"/>
                  <a:gd name="T110" fmla="*/ 603 w 1138"/>
                  <a:gd name="T111" fmla="*/ 414 h 955"/>
                  <a:gd name="T112" fmla="*/ 605 w 1138"/>
                  <a:gd name="T113" fmla="*/ 413 h 955"/>
                  <a:gd name="T114" fmla="*/ 618 w 1138"/>
                  <a:gd name="T115" fmla="*/ 414 h 955"/>
                  <a:gd name="T116" fmla="*/ 637 w 1138"/>
                  <a:gd name="T117" fmla="*/ 501 h 955"/>
                  <a:gd name="T118" fmla="*/ 654 w 1138"/>
                  <a:gd name="T119" fmla="*/ 521 h 9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38" h="955">
                    <a:moveTo>
                      <a:pt x="1078" y="173"/>
                    </a:moveTo>
                    <a:cubicBezTo>
                      <a:pt x="1076" y="176"/>
                      <a:pt x="1079" y="181"/>
                      <a:pt x="1077" y="183"/>
                    </a:cubicBezTo>
                    <a:cubicBezTo>
                      <a:pt x="1075" y="185"/>
                      <a:pt x="1072" y="182"/>
                      <a:pt x="1070" y="181"/>
                    </a:cubicBezTo>
                    <a:cubicBezTo>
                      <a:pt x="1068" y="180"/>
                      <a:pt x="1066" y="180"/>
                      <a:pt x="1064" y="179"/>
                    </a:cubicBezTo>
                    <a:cubicBezTo>
                      <a:pt x="1038" y="170"/>
                      <a:pt x="1042" y="179"/>
                      <a:pt x="1020" y="179"/>
                    </a:cubicBezTo>
                    <a:cubicBezTo>
                      <a:pt x="1020" y="179"/>
                      <a:pt x="1020" y="179"/>
                      <a:pt x="1020" y="179"/>
                    </a:cubicBezTo>
                    <a:cubicBezTo>
                      <a:pt x="1019" y="179"/>
                      <a:pt x="1019" y="179"/>
                      <a:pt x="1019" y="178"/>
                    </a:cubicBezTo>
                    <a:cubicBezTo>
                      <a:pt x="1018" y="178"/>
                      <a:pt x="1017" y="178"/>
                      <a:pt x="1016" y="177"/>
                    </a:cubicBezTo>
                    <a:cubicBezTo>
                      <a:pt x="1009" y="173"/>
                      <a:pt x="996" y="165"/>
                      <a:pt x="990" y="163"/>
                    </a:cubicBezTo>
                    <a:cubicBezTo>
                      <a:pt x="990" y="163"/>
                      <a:pt x="990" y="163"/>
                      <a:pt x="990" y="163"/>
                    </a:cubicBezTo>
                    <a:cubicBezTo>
                      <a:pt x="988" y="164"/>
                      <a:pt x="980" y="168"/>
                      <a:pt x="977" y="169"/>
                    </a:cubicBezTo>
                    <a:cubicBezTo>
                      <a:pt x="967" y="169"/>
                      <a:pt x="970" y="164"/>
                      <a:pt x="970" y="160"/>
                    </a:cubicBezTo>
                    <a:cubicBezTo>
                      <a:pt x="970" y="158"/>
                      <a:pt x="970" y="155"/>
                      <a:pt x="970" y="153"/>
                    </a:cubicBezTo>
                    <a:cubicBezTo>
                      <a:pt x="965" y="142"/>
                      <a:pt x="919" y="113"/>
                      <a:pt x="904" y="115"/>
                    </a:cubicBezTo>
                    <a:cubicBezTo>
                      <a:pt x="892" y="116"/>
                      <a:pt x="903" y="135"/>
                      <a:pt x="900" y="136"/>
                    </a:cubicBezTo>
                    <a:cubicBezTo>
                      <a:pt x="882" y="138"/>
                      <a:pt x="867" y="131"/>
                      <a:pt x="852" y="131"/>
                    </a:cubicBezTo>
                    <a:cubicBezTo>
                      <a:pt x="852" y="131"/>
                      <a:pt x="839" y="138"/>
                      <a:pt x="839" y="138"/>
                    </a:cubicBezTo>
                    <a:cubicBezTo>
                      <a:pt x="826" y="137"/>
                      <a:pt x="831" y="126"/>
                      <a:pt x="823" y="121"/>
                    </a:cubicBezTo>
                    <a:cubicBezTo>
                      <a:pt x="810" y="113"/>
                      <a:pt x="797" y="129"/>
                      <a:pt x="785" y="123"/>
                    </a:cubicBezTo>
                    <a:cubicBezTo>
                      <a:pt x="779" y="120"/>
                      <a:pt x="778" y="106"/>
                      <a:pt x="772" y="102"/>
                    </a:cubicBezTo>
                    <a:cubicBezTo>
                      <a:pt x="752" y="91"/>
                      <a:pt x="745" y="107"/>
                      <a:pt x="723" y="84"/>
                    </a:cubicBezTo>
                    <a:cubicBezTo>
                      <a:pt x="721" y="82"/>
                      <a:pt x="717" y="94"/>
                      <a:pt x="711" y="92"/>
                    </a:cubicBezTo>
                    <a:cubicBezTo>
                      <a:pt x="704" y="90"/>
                      <a:pt x="720" y="73"/>
                      <a:pt x="714" y="65"/>
                    </a:cubicBezTo>
                    <a:cubicBezTo>
                      <a:pt x="709" y="58"/>
                      <a:pt x="700" y="65"/>
                      <a:pt x="699" y="65"/>
                    </a:cubicBezTo>
                    <a:cubicBezTo>
                      <a:pt x="695" y="65"/>
                      <a:pt x="684" y="55"/>
                      <a:pt x="680" y="52"/>
                    </a:cubicBezTo>
                    <a:cubicBezTo>
                      <a:pt x="664" y="58"/>
                      <a:pt x="639" y="61"/>
                      <a:pt x="627" y="61"/>
                    </a:cubicBezTo>
                    <a:cubicBezTo>
                      <a:pt x="619" y="60"/>
                      <a:pt x="606" y="43"/>
                      <a:pt x="597" y="48"/>
                    </a:cubicBezTo>
                    <a:cubicBezTo>
                      <a:pt x="593" y="50"/>
                      <a:pt x="597" y="42"/>
                      <a:pt x="577" y="44"/>
                    </a:cubicBezTo>
                    <a:cubicBezTo>
                      <a:pt x="576" y="44"/>
                      <a:pt x="567" y="49"/>
                      <a:pt x="566" y="51"/>
                    </a:cubicBezTo>
                    <a:cubicBezTo>
                      <a:pt x="566" y="52"/>
                      <a:pt x="568" y="58"/>
                      <a:pt x="567" y="58"/>
                    </a:cubicBezTo>
                    <a:cubicBezTo>
                      <a:pt x="562" y="58"/>
                      <a:pt x="553" y="50"/>
                      <a:pt x="546" y="48"/>
                    </a:cubicBezTo>
                    <a:cubicBezTo>
                      <a:pt x="540" y="46"/>
                      <a:pt x="531" y="52"/>
                      <a:pt x="527" y="48"/>
                    </a:cubicBezTo>
                    <a:cubicBezTo>
                      <a:pt x="524" y="45"/>
                      <a:pt x="532" y="39"/>
                      <a:pt x="518" y="34"/>
                    </a:cubicBezTo>
                    <a:cubicBezTo>
                      <a:pt x="518" y="34"/>
                      <a:pt x="516" y="33"/>
                      <a:pt x="515" y="34"/>
                    </a:cubicBezTo>
                    <a:cubicBezTo>
                      <a:pt x="505" y="37"/>
                      <a:pt x="501" y="47"/>
                      <a:pt x="496" y="46"/>
                    </a:cubicBezTo>
                    <a:cubicBezTo>
                      <a:pt x="489" y="44"/>
                      <a:pt x="503" y="39"/>
                      <a:pt x="498" y="37"/>
                    </a:cubicBezTo>
                    <a:cubicBezTo>
                      <a:pt x="490" y="33"/>
                      <a:pt x="452" y="56"/>
                      <a:pt x="436" y="50"/>
                    </a:cubicBezTo>
                    <a:cubicBezTo>
                      <a:pt x="417" y="44"/>
                      <a:pt x="392" y="44"/>
                      <a:pt x="373" y="38"/>
                    </a:cubicBezTo>
                    <a:cubicBezTo>
                      <a:pt x="370" y="37"/>
                      <a:pt x="367" y="32"/>
                      <a:pt x="364" y="31"/>
                    </a:cubicBezTo>
                    <a:cubicBezTo>
                      <a:pt x="359" y="30"/>
                      <a:pt x="342" y="35"/>
                      <a:pt x="331" y="29"/>
                    </a:cubicBezTo>
                    <a:cubicBezTo>
                      <a:pt x="327" y="27"/>
                      <a:pt x="322" y="18"/>
                      <a:pt x="315" y="16"/>
                    </a:cubicBezTo>
                    <a:cubicBezTo>
                      <a:pt x="313" y="15"/>
                      <a:pt x="309" y="18"/>
                      <a:pt x="310" y="20"/>
                    </a:cubicBezTo>
                    <a:cubicBezTo>
                      <a:pt x="311" y="21"/>
                      <a:pt x="311" y="25"/>
                      <a:pt x="309" y="26"/>
                    </a:cubicBezTo>
                    <a:cubicBezTo>
                      <a:pt x="294" y="32"/>
                      <a:pt x="236" y="28"/>
                      <a:pt x="214" y="29"/>
                    </a:cubicBezTo>
                    <a:cubicBezTo>
                      <a:pt x="210" y="29"/>
                      <a:pt x="212" y="40"/>
                      <a:pt x="208" y="39"/>
                    </a:cubicBezTo>
                    <a:cubicBezTo>
                      <a:pt x="204" y="38"/>
                      <a:pt x="211" y="30"/>
                      <a:pt x="208" y="29"/>
                    </a:cubicBezTo>
                    <a:cubicBezTo>
                      <a:pt x="204" y="26"/>
                      <a:pt x="192" y="31"/>
                      <a:pt x="188" y="29"/>
                    </a:cubicBezTo>
                    <a:cubicBezTo>
                      <a:pt x="183" y="25"/>
                      <a:pt x="178" y="13"/>
                      <a:pt x="169" y="9"/>
                    </a:cubicBezTo>
                    <a:cubicBezTo>
                      <a:pt x="159" y="4"/>
                      <a:pt x="158" y="21"/>
                      <a:pt x="155" y="7"/>
                    </a:cubicBezTo>
                    <a:cubicBezTo>
                      <a:pt x="154" y="4"/>
                      <a:pt x="150" y="10"/>
                      <a:pt x="150" y="9"/>
                    </a:cubicBezTo>
                    <a:cubicBezTo>
                      <a:pt x="149" y="8"/>
                      <a:pt x="155" y="0"/>
                      <a:pt x="151" y="0"/>
                    </a:cubicBezTo>
                    <a:cubicBezTo>
                      <a:pt x="145" y="0"/>
                      <a:pt x="135" y="17"/>
                      <a:pt x="135" y="17"/>
                    </a:cubicBezTo>
                    <a:cubicBezTo>
                      <a:pt x="126" y="17"/>
                      <a:pt x="143" y="6"/>
                      <a:pt x="133" y="4"/>
                    </a:cubicBezTo>
                    <a:cubicBezTo>
                      <a:pt x="130" y="3"/>
                      <a:pt x="108" y="25"/>
                      <a:pt x="99" y="29"/>
                    </a:cubicBezTo>
                    <a:cubicBezTo>
                      <a:pt x="98" y="30"/>
                      <a:pt x="95" y="28"/>
                      <a:pt x="95" y="29"/>
                    </a:cubicBezTo>
                    <a:cubicBezTo>
                      <a:pt x="87" y="46"/>
                      <a:pt x="104" y="35"/>
                      <a:pt x="107" y="38"/>
                    </a:cubicBezTo>
                    <a:cubicBezTo>
                      <a:pt x="111" y="40"/>
                      <a:pt x="95" y="42"/>
                      <a:pt x="95" y="43"/>
                    </a:cubicBezTo>
                    <a:cubicBezTo>
                      <a:pt x="95" y="47"/>
                      <a:pt x="114" y="48"/>
                      <a:pt x="105" y="60"/>
                    </a:cubicBezTo>
                    <a:cubicBezTo>
                      <a:pt x="101" y="64"/>
                      <a:pt x="99" y="48"/>
                      <a:pt x="94" y="49"/>
                    </a:cubicBezTo>
                    <a:cubicBezTo>
                      <a:pt x="93" y="49"/>
                      <a:pt x="76" y="60"/>
                      <a:pt x="61" y="63"/>
                    </a:cubicBezTo>
                    <a:cubicBezTo>
                      <a:pt x="56" y="64"/>
                      <a:pt x="50" y="56"/>
                      <a:pt x="47" y="57"/>
                    </a:cubicBezTo>
                    <a:cubicBezTo>
                      <a:pt x="47" y="57"/>
                      <a:pt x="47" y="57"/>
                      <a:pt x="47" y="58"/>
                    </a:cubicBezTo>
                    <a:cubicBezTo>
                      <a:pt x="47" y="59"/>
                      <a:pt x="38" y="63"/>
                      <a:pt x="37" y="63"/>
                    </a:cubicBezTo>
                    <a:cubicBezTo>
                      <a:pt x="31" y="65"/>
                      <a:pt x="44" y="69"/>
                      <a:pt x="40" y="71"/>
                    </a:cubicBezTo>
                    <a:cubicBezTo>
                      <a:pt x="37" y="72"/>
                      <a:pt x="15" y="75"/>
                      <a:pt x="15" y="81"/>
                    </a:cubicBezTo>
                    <a:cubicBezTo>
                      <a:pt x="14" y="84"/>
                      <a:pt x="25" y="79"/>
                      <a:pt x="24" y="82"/>
                    </a:cubicBezTo>
                    <a:cubicBezTo>
                      <a:pt x="21" y="91"/>
                      <a:pt x="0" y="91"/>
                      <a:pt x="8" y="110"/>
                    </a:cubicBezTo>
                    <a:cubicBezTo>
                      <a:pt x="10" y="117"/>
                      <a:pt x="16" y="101"/>
                      <a:pt x="22" y="111"/>
                    </a:cubicBezTo>
                    <a:cubicBezTo>
                      <a:pt x="26" y="116"/>
                      <a:pt x="18" y="126"/>
                      <a:pt x="26" y="131"/>
                    </a:cubicBezTo>
                    <a:cubicBezTo>
                      <a:pt x="32" y="135"/>
                      <a:pt x="39" y="116"/>
                      <a:pt x="44" y="121"/>
                    </a:cubicBezTo>
                    <a:cubicBezTo>
                      <a:pt x="46" y="122"/>
                      <a:pt x="43" y="124"/>
                      <a:pt x="43" y="126"/>
                    </a:cubicBezTo>
                    <a:cubicBezTo>
                      <a:pt x="42" y="133"/>
                      <a:pt x="17" y="146"/>
                      <a:pt x="31" y="158"/>
                    </a:cubicBezTo>
                    <a:cubicBezTo>
                      <a:pt x="31" y="159"/>
                      <a:pt x="32" y="159"/>
                      <a:pt x="32" y="159"/>
                    </a:cubicBezTo>
                    <a:cubicBezTo>
                      <a:pt x="44" y="160"/>
                      <a:pt x="41" y="136"/>
                      <a:pt x="51" y="145"/>
                    </a:cubicBezTo>
                    <a:cubicBezTo>
                      <a:pt x="53" y="147"/>
                      <a:pt x="55" y="137"/>
                      <a:pt x="58" y="139"/>
                    </a:cubicBezTo>
                    <a:cubicBezTo>
                      <a:pt x="59" y="140"/>
                      <a:pt x="53" y="150"/>
                      <a:pt x="53" y="151"/>
                    </a:cubicBezTo>
                    <a:cubicBezTo>
                      <a:pt x="50" y="155"/>
                      <a:pt x="48" y="174"/>
                      <a:pt x="46" y="164"/>
                    </a:cubicBezTo>
                    <a:cubicBezTo>
                      <a:pt x="46" y="162"/>
                      <a:pt x="37" y="165"/>
                      <a:pt x="39" y="168"/>
                    </a:cubicBezTo>
                    <a:cubicBezTo>
                      <a:pt x="41" y="170"/>
                      <a:pt x="49" y="175"/>
                      <a:pt x="54" y="175"/>
                    </a:cubicBezTo>
                    <a:cubicBezTo>
                      <a:pt x="56" y="175"/>
                      <a:pt x="63" y="166"/>
                      <a:pt x="64" y="171"/>
                    </a:cubicBezTo>
                    <a:cubicBezTo>
                      <a:pt x="66" y="176"/>
                      <a:pt x="38" y="190"/>
                      <a:pt x="46" y="193"/>
                    </a:cubicBezTo>
                    <a:cubicBezTo>
                      <a:pt x="50" y="194"/>
                      <a:pt x="62" y="190"/>
                      <a:pt x="64" y="185"/>
                    </a:cubicBezTo>
                    <a:cubicBezTo>
                      <a:pt x="64" y="185"/>
                      <a:pt x="66" y="180"/>
                      <a:pt x="67" y="181"/>
                    </a:cubicBezTo>
                    <a:cubicBezTo>
                      <a:pt x="72" y="186"/>
                      <a:pt x="50" y="201"/>
                      <a:pt x="47" y="204"/>
                    </a:cubicBezTo>
                    <a:cubicBezTo>
                      <a:pt x="44" y="208"/>
                      <a:pt x="44" y="223"/>
                      <a:pt x="45" y="238"/>
                    </a:cubicBezTo>
                    <a:cubicBezTo>
                      <a:pt x="45" y="242"/>
                      <a:pt x="52" y="226"/>
                      <a:pt x="56" y="229"/>
                    </a:cubicBezTo>
                    <a:cubicBezTo>
                      <a:pt x="64" y="220"/>
                      <a:pt x="92" y="202"/>
                      <a:pt x="105" y="206"/>
                    </a:cubicBezTo>
                    <a:cubicBezTo>
                      <a:pt x="107" y="206"/>
                      <a:pt x="103" y="211"/>
                      <a:pt x="105" y="212"/>
                    </a:cubicBezTo>
                    <a:cubicBezTo>
                      <a:pt x="107" y="214"/>
                      <a:pt x="110" y="211"/>
                      <a:pt x="112" y="212"/>
                    </a:cubicBezTo>
                    <a:cubicBezTo>
                      <a:pt x="120" y="217"/>
                      <a:pt x="88" y="241"/>
                      <a:pt x="109" y="245"/>
                    </a:cubicBezTo>
                    <a:cubicBezTo>
                      <a:pt x="122" y="247"/>
                      <a:pt x="121" y="233"/>
                      <a:pt x="130" y="230"/>
                    </a:cubicBezTo>
                    <a:cubicBezTo>
                      <a:pt x="133" y="230"/>
                      <a:pt x="129" y="238"/>
                      <a:pt x="132" y="239"/>
                    </a:cubicBezTo>
                    <a:cubicBezTo>
                      <a:pt x="134" y="239"/>
                      <a:pt x="137" y="237"/>
                      <a:pt x="140" y="237"/>
                    </a:cubicBezTo>
                    <a:cubicBezTo>
                      <a:pt x="143" y="236"/>
                      <a:pt x="145" y="235"/>
                      <a:pt x="148" y="235"/>
                    </a:cubicBezTo>
                    <a:cubicBezTo>
                      <a:pt x="148" y="235"/>
                      <a:pt x="166" y="243"/>
                      <a:pt x="173" y="245"/>
                    </a:cubicBezTo>
                    <a:cubicBezTo>
                      <a:pt x="187" y="249"/>
                      <a:pt x="194" y="227"/>
                      <a:pt x="194" y="226"/>
                    </a:cubicBezTo>
                    <a:cubicBezTo>
                      <a:pt x="196" y="225"/>
                      <a:pt x="215" y="229"/>
                      <a:pt x="216" y="229"/>
                    </a:cubicBezTo>
                    <a:cubicBezTo>
                      <a:pt x="220" y="230"/>
                      <a:pt x="224" y="232"/>
                      <a:pt x="227" y="230"/>
                    </a:cubicBezTo>
                    <a:cubicBezTo>
                      <a:pt x="229" y="230"/>
                      <a:pt x="226" y="224"/>
                      <a:pt x="228" y="224"/>
                    </a:cubicBezTo>
                    <a:cubicBezTo>
                      <a:pt x="231" y="224"/>
                      <a:pt x="233" y="229"/>
                      <a:pt x="236" y="230"/>
                    </a:cubicBezTo>
                    <a:cubicBezTo>
                      <a:pt x="240" y="232"/>
                      <a:pt x="245" y="226"/>
                      <a:pt x="249" y="228"/>
                    </a:cubicBezTo>
                    <a:cubicBezTo>
                      <a:pt x="255" y="232"/>
                      <a:pt x="251" y="251"/>
                      <a:pt x="254" y="261"/>
                    </a:cubicBezTo>
                    <a:cubicBezTo>
                      <a:pt x="255" y="266"/>
                      <a:pt x="285" y="259"/>
                      <a:pt x="283" y="278"/>
                    </a:cubicBezTo>
                    <a:cubicBezTo>
                      <a:pt x="281" y="298"/>
                      <a:pt x="257" y="307"/>
                      <a:pt x="245" y="317"/>
                    </a:cubicBezTo>
                    <a:cubicBezTo>
                      <a:pt x="237" y="322"/>
                      <a:pt x="237" y="336"/>
                      <a:pt x="230" y="341"/>
                    </a:cubicBezTo>
                    <a:cubicBezTo>
                      <a:pt x="227" y="344"/>
                      <a:pt x="220" y="340"/>
                      <a:pt x="218" y="343"/>
                    </a:cubicBezTo>
                    <a:cubicBezTo>
                      <a:pt x="217" y="345"/>
                      <a:pt x="220" y="347"/>
                      <a:pt x="221" y="348"/>
                    </a:cubicBezTo>
                    <a:cubicBezTo>
                      <a:pt x="235" y="372"/>
                      <a:pt x="228" y="398"/>
                      <a:pt x="231" y="423"/>
                    </a:cubicBezTo>
                    <a:cubicBezTo>
                      <a:pt x="233" y="436"/>
                      <a:pt x="204" y="434"/>
                      <a:pt x="210" y="451"/>
                    </a:cubicBezTo>
                    <a:cubicBezTo>
                      <a:pt x="212" y="457"/>
                      <a:pt x="223" y="460"/>
                      <a:pt x="224" y="468"/>
                    </a:cubicBezTo>
                    <a:cubicBezTo>
                      <a:pt x="225" y="475"/>
                      <a:pt x="219" y="503"/>
                      <a:pt x="212" y="508"/>
                    </a:cubicBezTo>
                    <a:cubicBezTo>
                      <a:pt x="210" y="509"/>
                      <a:pt x="208" y="508"/>
                      <a:pt x="206" y="508"/>
                    </a:cubicBezTo>
                    <a:cubicBezTo>
                      <a:pt x="204" y="508"/>
                      <a:pt x="203" y="508"/>
                      <a:pt x="201" y="508"/>
                    </a:cubicBezTo>
                    <a:cubicBezTo>
                      <a:pt x="199" y="508"/>
                      <a:pt x="197" y="508"/>
                      <a:pt x="195" y="508"/>
                    </a:cubicBezTo>
                    <a:cubicBezTo>
                      <a:pt x="193" y="508"/>
                      <a:pt x="191" y="508"/>
                      <a:pt x="190" y="508"/>
                    </a:cubicBezTo>
                    <a:cubicBezTo>
                      <a:pt x="188" y="508"/>
                      <a:pt x="186" y="508"/>
                      <a:pt x="184" y="508"/>
                    </a:cubicBezTo>
                    <a:cubicBezTo>
                      <a:pt x="182" y="508"/>
                      <a:pt x="180" y="508"/>
                      <a:pt x="178" y="508"/>
                    </a:cubicBezTo>
                    <a:cubicBezTo>
                      <a:pt x="177" y="508"/>
                      <a:pt x="175" y="508"/>
                      <a:pt x="173" y="508"/>
                    </a:cubicBezTo>
                    <a:cubicBezTo>
                      <a:pt x="171" y="508"/>
                      <a:pt x="169" y="508"/>
                      <a:pt x="167" y="508"/>
                    </a:cubicBezTo>
                    <a:cubicBezTo>
                      <a:pt x="166" y="508"/>
                      <a:pt x="163" y="507"/>
                      <a:pt x="163" y="508"/>
                    </a:cubicBezTo>
                    <a:cubicBezTo>
                      <a:pt x="164" y="517"/>
                      <a:pt x="180" y="526"/>
                      <a:pt x="184" y="534"/>
                    </a:cubicBezTo>
                    <a:cubicBezTo>
                      <a:pt x="188" y="546"/>
                      <a:pt x="182" y="561"/>
                      <a:pt x="197" y="577"/>
                    </a:cubicBezTo>
                    <a:cubicBezTo>
                      <a:pt x="201" y="581"/>
                      <a:pt x="212" y="574"/>
                      <a:pt x="213" y="583"/>
                    </a:cubicBezTo>
                    <a:cubicBezTo>
                      <a:pt x="217" y="611"/>
                      <a:pt x="172" y="628"/>
                      <a:pt x="179" y="660"/>
                    </a:cubicBezTo>
                    <a:cubicBezTo>
                      <a:pt x="180" y="664"/>
                      <a:pt x="187" y="663"/>
                      <a:pt x="189" y="667"/>
                    </a:cubicBezTo>
                    <a:cubicBezTo>
                      <a:pt x="191" y="671"/>
                      <a:pt x="198" y="688"/>
                      <a:pt x="202" y="690"/>
                    </a:cubicBezTo>
                    <a:cubicBezTo>
                      <a:pt x="206" y="692"/>
                      <a:pt x="213" y="682"/>
                      <a:pt x="216" y="686"/>
                    </a:cubicBezTo>
                    <a:cubicBezTo>
                      <a:pt x="229" y="700"/>
                      <a:pt x="190" y="711"/>
                      <a:pt x="188" y="714"/>
                    </a:cubicBezTo>
                    <a:cubicBezTo>
                      <a:pt x="185" y="718"/>
                      <a:pt x="186" y="729"/>
                      <a:pt x="182" y="734"/>
                    </a:cubicBezTo>
                    <a:cubicBezTo>
                      <a:pt x="163" y="762"/>
                      <a:pt x="171" y="776"/>
                      <a:pt x="175" y="810"/>
                    </a:cubicBezTo>
                    <a:cubicBezTo>
                      <a:pt x="177" y="810"/>
                      <a:pt x="179" y="810"/>
                      <a:pt x="182" y="808"/>
                    </a:cubicBezTo>
                    <a:cubicBezTo>
                      <a:pt x="194" y="803"/>
                      <a:pt x="219" y="812"/>
                      <a:pt x="217" y="808"/>
                    </a:cubicBezTo>
                    <a:cubicBezTo>
                      <a:pt x="215" y="803"/>
                      <a:pt x="223" y="793"/>
                      <a:pt x="225" y="797"/>
                    </a:cubicBezTo>
                    <a:cubicBezTo>
                      <a:pt x="225" y="798"/>
                      <a:pt x="223" y="800"/>
                      <a:pt x="223" y="801"/>
                    </a:cubicBezTo>
                    <a:cubicBezTo>
                      <a:pt x="223" y="801"/>
                      <a:pt x="223" y="801"/>
                      <a:pt x="223" y="801"/>
                    </a:cubicBezTo>
                    <a:cubicBezTo>
                      <a:pt x="222" y="801"/>
                      <a:pt x="222" y="802"/>
                      <a:pt x="222" y="802"/>
                    </a:cubicBezTo>
                    <a:cubicBezTo>
                      <a:pt x="215" y="813"/>
                      <a:pt x="234" y="820"/>
                      <a:pt x="243" y="826"/>
                    </a:cubicBezTo>
                    <a:cubicBezTo>
                      <a:pt x="250" y="830"/>
                      <a:pt x="265" y="855"/>
                      <a:pt x="269" y="855"/>
                    </a:cubicBezTo>
                    <a:cubicBezTo>
                      <a:pt x="271" y="856"/>
                      <a:pt x="269" y="847"/>
                      <a:pt x="270" y="844"/>
                    </a:cubicBezTo>
                    <a:cubicBezTo>
                      <a:pt x="271" y="843"/>
                      <a:pt x="283" y="840"/>
                      <a:pt x="284" y="840"/>
                    </a:cubicBezTo>
                    <a:cubicBezTo>
                      <a:pt x="285" y="840"/>
                      <a:pt x="273" y="845"/>
                      <a:pt x="272" y="846"/>
                    </a:cubicBezTo>
                    <a:cubicBezTo>
                      <a:pt x="272" y="848"/>
                      <a:pt x="274" y="853"/>
                      <a:pt x="272" y="857"/>
                    </a:cubicBezTo>
                    <a:cubicBezTo>
                      <a:pt x="270" y="860"/>
                      <a:pt x="266" y="858"/>
                      <a:pt x="265" y="861"/>
                    </a:cubicBezTo>
                    <a:cubicBezTo>
                      <a:pt x="264" y="865"/>
                      <a:pt x="263" y="869"/>
                      <a:pt x="265" y="874"/>
                    </a:cubicBezTo>
                    <a:cubicBezTo>
                      <a:pt x="267" y="879"/>
                      <a:pt x="284" y="886"/>
                      <a:pt x="285" y="889"/>
                    </a:cubicBezTo>
                    <a:cubicBezTo>
                      <a:pt x="287" y="900"/>
                      <a:pt x="272" y="885"/>
                      <a:pt x="273" y="888"/>
                    </a:cubicBezTo>
                    <a:cubicBezTo>
                      <a:pt x="278" y="913"/>
                      <a:pt x="312" y="945"/>
                      <a:pt x="335" y="951"/>
                    </a:cubicBezTo>
                    <a:cubicBezTo>
                      <a:pt x="350" y="955"/>
                      <a:pt x="347" y="931"/>
                      <a:pt x="351" y="930"/>
                    </a:cubicBezTo>
                    <a:cubicBezTo>
                      <a:pt x="356" y="930"/>
                      <a:pt x="357" y="939"/>
                      <a:pt x="357" y="939"/>
                    </a:cubicBezTo>
                    <a:cubicBezTo>
                      <a:pt x="359" y="939"/>
                      <a:pt x="358" y="930"/>
                      <a:pt x="358" y="929"/>
                    </a:cubicBezTo>
                    <a:cubicBezTo>
                      <a:pt x="360" y="922"/>
                      <a:pt x="367" y="906"/>
                      <a:pt x="374" y="901"/>
                    </a:cubicBezTo>
                    <a:cubicBezTo>
                      <a:pt x="389" y="889"/>
                      <a:pt x="407" y="898"/>
                      <a:pt x="421" y="891"/>
                    </a:cubicBezTo>
                    <a:cubicBezTo>
                      <a:pt x="429" y="887"/>
                      <a:pt x="435" y="868"/>
                      <a:pt x="442" y="866"/>
                    </a:cubicBezTo>
                    <a:cubicBezTo>
                      <a:pt x="459" y="860"/>
                      <a:pt x="496" y="859"/>
                      <a:pt x="511" y="862"/>
                    </a:cubicBezTo>
                    <a:cubicBezTo>
                      <a:pt x="517" y="862"/>
                      <a:pt x="523" y="868"/>
                      <a:pt x="529" y="868"/>
                    </a:cubicBezTo>
                    <a:cubicBezTo>
                      <a:pt x="544" y="868"/>
                      <a:pt x="558" y="858"/>
                      <a:pt x="576" y="861"/>
                    </a:cubicBezTo>
                    <a:cubicBezTo>
                      <a:pt x="581" y="862"/>
                      <a:pt x="583" y="868"/>
                      <a:pt x="589" y="869"/>
                    </a:cubicBezTo>
                    <a:cubicBezTo>
                      <a:pt x="598" y="870"/>
                      <a:pt x="604" y="853"/>
                      <a:pt x="624" y="851"/>
                    </a:cubicBezTo>
                    <a:cubicBezTo>
                      <a:pt x="633" y="851"/>
                      <a:pt x="636" y="866"/>
                      <a:pt x="643" y="864"/>
                    </a:cubicBezTo>
                    <a:cubicBezTo>
                      <a:pt x="663" y="859"/>
                      <a:pt x="672" y="804"/>
                      <a:pt x="688" y="786"/>
                    </a:cubicBezTo>
                    <a:cubicBezTo>
                      <a:pt x="719" y="753"/>
                      <a:pt x="754" y="775"/>
                      <a:pt x="771" y="760"/>
                    </a:cubicBezTo>
                    <a:cubicBezTo>
                      <a:pt x="779" y="753"/>
                      <a:pt x="757" y="756"/>
                      <a:pt x="759" y="744"/>
                    </a:cubicBezTo>
                    <a:cubicBezTo>
                      <a:pt x="761" y="734"/>
                      <a:pt x="774" y="727"/>
                      <a:pt x="777" y="714"/>
                    </a:cubicBezTo>
                    <a:cubicBezTo>
                      <a:pt x="779" y="708"/>
                      <a:pt x="774" y="701"/>
                      <a:pt x="777" y="695"/>
                    </a:cubicBezTo>
                    <a:cubicBezTo>
                      <a:pt x="779" y="689"/>
                      <a:pt x="788" y="690"/>
                      <a:pt x="789" y="687"/>
                    </a:cubicBezTo>
                    <a:cubicBezTo>
                      <a:pt x="791" y="683"/>
                      <a:pt x="787" y="676"/>
                      <a:pt x="789" y="672"/>
                    </a:cubicBezTo>
                    <a:cubicBezTo>
                      <a:pt x="798" y="657"/>
                      <a:pt x="853" y="634"/>
                      <a:pt x="856" y="623"/>
                    </a:cubicBezTo>
                    <a:cubicBezTo>
                      <a:pt x="858" y="616"/>
                      <a:pt x="815" y="598"/>
                      <a:pt x="814" y="576"/>
                    </a:cubicBezTo>
                    <a:cubicBezTo>
                      <a:pt x="813" y="562"/>
                      <a:pt x="802" y="543"/>
                      <a:pt x="807" y="528"/>
                    </a:cubicBezTo>
                    <a:cubicBezTo>
                      <a:pt x="810" y="519"/>
                      <a:pt x="887" y="395"/>
                      <a:pt x="890" y="393"/>
                    </a:cubicBezTo>
                    <a:cubicBezTo>
                      <a:pt x="897" y="388"/>
                      <a:pt x="903" y="393"/>
                      <a:pt x="900" y="396"/>
                    </a:cubicBezTo>
                    <a:cubicBezTo>
                      <a:pt x="906" y="391"/>
                      <a:pt x="915" y="384"/>
                      <a:pt x="916" y="382"/>
                    </a:cubicBezTo>
                    <a:cubicBezTo>
                      <a:pt x="917" y="381"/>
                      <a:pt x="909" y="375"/>
                      <a:pt x="908" y="374"/>
                    </a:cubicBezTo>
                    <a:cubicBezTo>
                      <a:pt x="906" y="370"/>
                      <a:pt x="902" y="379"/>
                      <a:pt x="900" y="372"/>
                    </a:cubicBezTo>
                    <a:cubicBezTo>
                      <a:pt x="898" y="368"/>
                      <a:pt x="921" y="346"/>
                      <a:pt x="924" y="342"/>
                    </a:cubicBezTo>
                    <a:cubicBezTo>
                      <a:pt x="934" y="333"/>
                      <a:pt x="999" y="321"/>
                      <a:pt x="1018" y="315"/>
                    </a:cubicBezTo>
                    <a:cubicBezTo>
                      <a:pt x="1019" y="315"/>
                      <a:pt x="1020" y="315"/>
                      <a:pt x="1021" y="314"/>
                    </a:cubicBezTo>
                    <a:cubicBezTo>
                      <a:pt x="1031" y="308"/>
                      <a:pt x="1032" y="295"/>
                      <a:pt x="1041" y="290"/>
                    </a:cubicBezTo>
                    <a:cubicBezTo>
                      <a:pt x="1066" y="275"/>
                      <a:pt x="1108" y="262"/>
                      <a:pt x="1123" y="238"/>
                    </a:cubicBezTo>
                    <a:cubicBezTo>
                      <a:pt x="1134" y="221"/>
                      <a:pt x="1112" y="211"/>
                      <a:pt x="1118" y="195"/>
                    </a:cubicBezTo>
                    <a:cubicBezTo>
                      <a:pt x="1120" y="190"/>
                      <a:pt x="1138" y="197"/>
                      <a:pt x="1135" y="184"/>
                    </a:cubicBezTo>
                    <a:cubicBezTo>
                      <a:pt x="1134" y="180"/>
                      <a:pt x="1124" y="183"/>
                      <a:pt x="1122" y="179"/>
                    </a:cubicBezTo>
                    <a:cubicBezTo>
                      <a:pt x="1121" y="177"/>
                      <a:pt x="1120" y="174"/>
                      <a:pt x="1118" y="170"/>
                    </a:cubicBezTo>
                    <a:cubicBezTo>
                      <a:pt x="1107" y="168"/>
                      <a:pt x="1087" y="162"/>
                      <a:pt x="1078" y="173"/>
                    </a:cubicBezTo>
                    <a:close/>
                    <a:moveTo>
                      <a:pt x="322" y="495"/>
                    </a:moveTo>
                    <a:cubicBezTo>
                      <a:pt x="321" y="496"/>
                      <a:pt x="306" y="484"/>
                      <a:pt x="309" y="486"/>
                    </a:cubicBezTo>
                    <a:cubicBezTo>
                      <a:pt x="309" y="486"/>
                      <a:pt x="309" y="486"/>
                      <a:pt x="309" y="486"/>
                    </a:cubicBezTo>
                    <a:cubicBezTo>
                      <a:pt x="313" y="485"/>
                      <a:pt x="320" y="490"/>
                      <a:pt x="323" y="490"/>
                    </a:cubicBezTo>
                    <a:cubicBezTo>
                      <a:pt x="338" y="493"/>
                      <a:pt x="355" y="479"/>
                      <a:pt x="362" y="480"/>
                    </a:cubicBezTo>
                    <a:cubicBezTo>
                      <a:pt x="368" y="480"/>
                      <a:pt x="359" y="488"/>
                      <a:pt x="366" y="490"/>
                    </a:cubicBezTo>
                    <a:cubicBezTo>
                      <a:pt x="369" y="491"/>
                      <a:pt x="377" y="486"/>
                      <a:pt x="377" y="490"/>
                    </a:cubicBezTo>
                    <a:cubicBezTo>
                      <a:pt x="378" y="494"/>
                      <a:pt x="371" y="495"/>
                      <a:pt x="369" y="495"/>
                    </a:cubicBezTo>
                    <a:cubicBezTo>
                      <a:pt x="355" y="493"/>
                      <a:pt x="343" y="490"/>
                      <a:pt x="322" y="495"/>
                    </a:cubicBezTo>
                    <a:close/>
                    <a:moveTo>
                      <a:pt x="360" y="582"/>
                    </a:moveTo>
                    <a:cubicBezTo>
                      <a:pt x="361" y="582"/>
                      <a:pt x="372" y="573"/>
                      <a:pt x="366" y="579"/>
                    </a:cubicBezTo>
                    <a:cubicBezTo>
                      <a:pt x="362" y="583"/>
                      <a:pt x="359" y="587"/>
                      <a:pt x="353" y="589"/>
                    </a:cubicBezTo>
                    <a:cubicBezTo>
                      <a:pt x="353" y="589"/>
                      <a:pt x="353" y="589"/>
                      <a:pt x="353" y="589"/>
                    </a:cubicBezTo>
                    <a:cubicBezTo>
                      <a:pt x="343" y="598"/>
                      <a:pt x="350" y="582"/>
                      <a:pt x="360" y="582"/>
                    </a:cubicBezTo>
                    <a:close/>
                    <a:moveTo>
                      <a:pt x="378" y="601"/>
                    </a:moveTo>
                    <a:cubicBezTo>
                      <a:pt x="378" y="602"/>
                      <a:pt x="345" y="598"/>
                      <a:pt x="354" y="596"/>
                    </a:cubicBezTo>
                    <a:cubicBezTo>
                      <a:pt x="354" y="596"/>
                      <a:pt x="354" y="596"/>
                      <a:pt x="354" y="596"/>
                    </a:cubicBezTo>
                    <a:cubicBezTo>
                      <a:pt x="359" y="594"/>
                      <a:pt x="380" y="594"/>
                      <a:pt x="378" y="601"/>
                    </a:cubicBezTo>
                    <a:close/>
                    <a:moveTo>
                      <a:pt x="397" y="546"/>
                    </a:moveTo>
                    <a:cubicBezTo>
                      <a:pt x="397" y="546"/>
                      <a:pt x="386" y="561"/>
                      <a:pt x="382" y="562"/>
                    </a:cubicBezTo>
                    <a:cubicBezTo>
                      <a:pt x="381" y="563"/>
                      <a:pt x="380" y="570"/>
                      <a:pt x="379" y="570"/>
                    </a:cubicBezTo>
                    <a:cubicBezTo>
                      <a:pt x="367" y="561"/>
                      <a:pt x="397" y="551"/>
                      <a:pt x="393" y="541"/>
                    </a:cubicBezTo>
                    <a:cubicBezTo>
                      <a:pt x="391" y="537"/>
                      <a:pt x="392" y="540"/>
                      <a:pt x="394" y="540"/>
                    </a:cubicBezTo>
                    <a:cubicBezTo>
                      <a:pt x="397" y="540"/>
                      <a:pt x="399" y="538"/>
                      <a:pt x="400" y="538"/>
                    </a:cubicBezTo>
                    <a:cubicBezTo>
                      <a:pt x="401" y="538"/>
                      <a:pt x="401" y="538"/>
                      <a:pt x="401" y="538"/>
                    </a:cubicBezTo>
                    <a:cubicBezTo>
                      <a:pt x="417" y="547"/>
                      <a:pt x="399" y="540"/>
                      <a:pt x="399" y="541"/>
                    </a:cubicBezTo>
                    <a:cubicBezTo>
                      <a:pt x="399" y="541"/>
                      <a:pt x="409" y="552"/>
                      <a:pt x="411" y="554"/>
                    </a:cubicBezTo>
                    <a:cubicBezTo>
                      <a:pt x="411" y="554"/>
                      <a:pt x="417" y="559"/>
                      <a:pt x="417" y="559"/>
                    </a:cubicBezTo>
                    <a:cubicBezTo>
                      <a:pt x="410" y="565"/>
                      <a:pt x="403" y="545"/>
                      <a:pt x="397" y="546"/>
                    </a:cubicBezTo>
                    <a:close/>
                    <a:moveTo>
                      <a:pt x="605" y="385"/>
                    </a:moveTo>
                    <a:cubicBezTo>
                      <a:pt x="606" y="384"/>
                      <a:pt x="612" y="382"/>
                      <a:pt x="612" y="383"/>
                    </a:cubicBezTo>
                    <a:cubicBezTo>
                      <a:pt x="610" y="387"/>
                      <a:pt x="605" y="388"/>
                      <a:pt x="602" y="392"/>
                    </a:cubicBezTo>
                    <a:cubicBezTo>
                      <a:pt x="601" y="394"/>
                      <a:pt x="605" y="398"/>
                      <a:pt x="603" y="400"/>
                    </a:cubicBezTo>
                    <a:cubicBezTo>
                      <a:pt x="601" y="401"/>
                      <a:pt x="600" y="408"/>
                      <a:pt x="598" y="407"/>
                    </a:cubicBezTo>
                    <a:cubicBezTo>
                      <a:pt x="594" y="403"/>
                      <a:pt x="602" y="388"/>
                      <a:pt x="605" y="385"/>
                    </a:cubicBezTo>
                    <a:close/>
                    <a:moveTo>
                      <a:pt x="619" y="415"/>
                    </a:moveTo>
                    <a:cubicBezTo>
                      <a:pt x="619" y="415"/>
                      <a:pt x="619" y="414"/>
                      <a:pt x="618" y="414"/>
                    </a:cubicBezTo>
                    <a:cubicBezTo>
                      <a:pt x="617" y="414"/>
                      <a:pt x="615" y="413"/>
                      <a:pt x="613" y="413"/>
                    </a:cubicBezTo>
                    <a:cubicBezTo>
                      <a:pt x="610" y="413"/>
                      <a:pt x="608" y="413"/>
                      <a:pt x="605" y="413"/>
                    </a:cubicBezTo>
                    <a:cubicBezTo>
                      <a:pt x="604" y="414"/>
                      <a:pt x="603" y="414"/>
                      <a:pt x="603" y="414"/>
                    </a:cubicBezTo>
                    <a:cubicBezTo>
                      <a:pt x="602" y="415"/>
                      <a:pt x="603" y="436"/>
                      <a:pt x="600" y="425"/>
                    </a:cubicBezTo>
                    <a:cubicBezTo>
                      <a:pt x="599" y="425"/>
                      <a:pt x="598" y="415"/>
                      <a:pt x="597" y="418"/>
                    </a:cubicBezTo>
                    <a:cubicBezTo>
                      <a:pt x="597" y="419"/>
                      <a:pt x="595" y="419"/>
                      <a:pt x="594" y="418"/>
                    </a:cubicBezTo>
                    <a:cubicBezTo>
                      <a:pt x="592" y="414"/>
                      <a:pt x="598" y="414"/>
                      <a:pt x="605" y="413"/>
                    </a:cubicBezTo>
                    <a:cubicBezTo>
                      <a:pt x="607" y="413"/>
                      <a:pt x="610" y="413"/>
                      <a:pt x="613" y="413"/>
                    </a:cubicBezTo>
                    <a:cubicBezTo>
                      <a:pt x="614" y="413"/>
                      <a:pt x="615" y="413"/>
                      <a:pt x="616" y="413"/>
                    </a:cubicBezTo>
                    <a:cubicBezTo>
                      <a:pt x="616" y="413"/>
                      <a:pt x="616" y="413"/>
                      <a:pt x="616" y="413"/>
                    </a:cubicBezTo>
                    <a:cubicBezTo>
                      <a:pt x="617" y="413"/>
                      <a:pt x="618" y="414"/>
                      <a:pt x="618" y="414"/>
                    </a:cubicBezTo>
                    <a:cubicBezTo>
                      <a:pt x="620" y="415"/>
                      <a:pt x="620" y="415"/>
                      <a:pt x="619" y="415"/>
                    </a:cubicBezTo>
                    <a:close/>
                    <a:moveTo>
                      <a:pt x="654" y="521"/>
                    </a:moveTo>
                    <a:cubicBezTo>
                      <a:pt x="647" y="522"/>
                      <a:pt x="643" y="507"/>
                      <a:pt x="640" y="503"/>
                    </a:cubicBezTo>
                    <a:cubicBezTo>
                      <a:pt x="639" y="503"/>
                      <a:pt x="634" y="503"/>
                      <a:pt x="637" y="501"/>
                    </a:cubicBezTo>
                    <a:cubicBezTo>
                      <a:pt x="640" y="500"/>
                      <a:pt x="637" y="488"/>
                      <a:pt x="639" y="491"/>
                    </a:cubicBezTo>
                    <a:cubicBezTo>
                      <a:pt x="639" y="491"/>
                      <a:pt x="639" y="491"/>
                      <a:pt x="639" y="491"/>
                    </a:cubicBezTo>
                    <a:cubicBezTo>
                      <a:pt x="642" y="499"/>
                      <a:pt x="650" y="509"/>
                      <a:pt x="650" y="510"/>
                    </a:cubicBezTo>
                    <a:cubicBezTo>
                      <a:pt x="649" y="514"/>
                      <a:pt x="658" y="520"/>
                      <a:pt x="654" y="52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7" name="Freeform 912"/>
              <p:cNvSpPr>
                <a:spLocks/>
              </p:cNvSpPr>
              <p:nvPr/>
            </p:nvSpPr>
            <p:spPr bwMode="auto">
              <a:xfrm>
                <a:off x="2134" y="3583"/>
                <a:ext cx="69" cy="56"/>
              </a:xfrm>
              <a:custGeom>
                <a:avLst/>
                <a:gdLst>
                  <a:gd name="T0" fmla="*/ 102 w 105"/>
                  <a:gd name="T1" fmla="*/ 29 h 86"/>
                  <a:gd name="T2" fmla="*/ 101 w 105"/>
                  <a:gd name="T3" fmla="*/ 26 h 86"/>
                  <a:gd name="T4" fmla="*/ 90 w 105"/>
                  <a:gd name="T5" fmla="*/ 22 h 86"/>
                  <a:gd name="T6" fmla="*/ 85 w 105"/>
                  <a:gd name="T7" fmla="*/ 27 h 86"/>
                  <a:gd name="T8" fmla="*/ 71 w 105"/>
                  <a:gd name="T9" fmla="*/ 17 h 86"/>
                  <a:gd name="T10" fmla="*/ 76 w 105"/>
                  <a:gd name="T11" fmla="*/ 14 h 86"/>
                  <a:gd name="T12" fmla="*/ 77 w 105"/>
                  <a:gd name="T13" fmla="*/ 10 h 86"/>
                  <a:gd name="T14" fmla="*/ 74 w 105"/>
                  <a:gd name="T15" fmla="*/ 10 h 86"/>
                  <a:gd name="T16" fmla="*/ 69 w 105"/>
                  <a:gd name="T17" fmla="*/ 6 h 86"/>
                  <a:gd name="T18" fmla="*/ 77 w 105"/>
                  <a:gd name="T19" fmla="*/ 1 h 86"/>
                  <a:gd name="T20" fmla="*/ 70 w 105"/>
                  <a:gd name="T21" fmla="*/ 3 h 86"/>
                  <a:gd name="T22" fmla="*/ 65 w 105"/>
                  <a:gd name="T23" fmla="*/ 3 h 86"/>
                  <a:gd name="T24" fmla="*/ 57 w 105"/>
                  <a:gd name="T25" fmla="*/ 5 h 86"/>
                  <a:gd name="T26" fmla="*/ 44 w 105"/>
                  <a:gd name="T27" fmla="*/ 12 h 86"/>
                  <a:gd name="T28" fmla="*/ 37 w 105"/>
                  <a:gd name="T29" fmla="*/ 16 h 86"/>
                  <a:gd name="T30" fmla="*/ 32 w 105"/>
                  <a:gd name="T31" fmla="*/ 20 h 86"/>
                  <a:gd name="T32" fmla="*/ 20 w 105"/>
                  <a:gd name="T33" fmla="*/ 32 h 86"/>
                  <a:gd name="T34" fmla="*/ 6 w 105"/>
                  <a:gd name="T35" fmla="*/ 42 h 86"/>
                  <a:gd name="T36" fmla="*/ 3 w 105"/>
                  <a:gd name="T37" fmla="*/ 49 h 86"/>
                  <a:gd name="T38" fmla="*/ 6 w 105"/>
                  <a:gd name="T39" fmla="*/ 53 h 86"/>
                  <a:gd name="T40" fmla="*/ 13 w 105"/>
                  <a:gd name="T41" fmla="*/ 53 h 86"/>
                  <a:gd name="T42" fmla="*/ 12 w 105"/>
                  <a:gd name="T43" fmla="*/ 56 h 86"/>
                  <a:gd name="T44" fmla="*/ 14 w 105"/>
                  <a:gd name="T45" fmla="*/ 58 h 86"/>
                  <a:gd name="T46" fmla="*/ 17 w 105"/>
                  <a:gd name="T47" fmla="*/ 61 h 86"/>
                  <a:gd name="T48" fmla="*/ 18 w 105"/>
                  <a:gd name="T49" fmla="*/ 58 h 86"/>
                  <a:gd name="T50" fmla="*/ 22 w 105"/>
                  <a:gd name="T51" fmla="*/ 52 h 86"/>
                  <a:gd name="T52" fmla="*/ 26 w 105"/>
                  <a:gd name="T53" fmla="*/ 50 h 86"/>
                  <a:gd name="T54" fmla="*/ 28 w 105"/>
                  <a:gd name="T55" fmla="*/ 48 h 86"/>
                  <a:gd name="T56" fmla="*/ 36 w 105"/>
                  <a:gd name="T57" fmla="*/ 53 h 86"/>
                  <a:gd name="T58" fmla="*/ 37 w 105"/>
                  <a:gd name="T59" fmla="*/ 61 h 86"/>
                  <a:gd name="T60" fmla="*/ 40 w 105"/>
                  <a:gd name="T61" fmla="*/ 71 h 86"/>
                  <a:gd name="T62" fmla="*/ 50 w 105"/>
                  <a:gd name="T63" fmla="*/ 73 h 86"/>
                  <a:gd name="T64" fmla="*/ 59 w 105"/>
                  <a:gd name="T65" fmla="*/ 76 h 86"/>
                  <a:gd name="T66" fmla="*/ 63 w 105"/>
                  <a:gd name="T67" fmla="*/ 81 h 86"/>
                  <a:gd name="T68" fmla="*/ 70 w 105"/>
                  <a:gd name="T69" fmla="*/ 80 h 86"/>
                  <a:gd name="T70" fmla="*/ 78 w 105"/>
                  <a:gd name="T71" fmla="*/ 76 h 86"/>
                  <a:gd name="T72" fmla="*/ 84 w 105"/>
                  <a:gd name="T73" fmla="*/ 67 h 86"/>
                  <a:gd name="T74" fmla="*/ 93 w 105"/>
                  <a:gd name="T75" fmla="*/ 50 h 86"/>
                  <a:gd name="T76" fmla="*/ 96 w 105"/>
                  <a:gd name="T77" fmla="*/ 42 h 86"/>
                  <a:gd name="T78" fmla="*/ 100 w 105"/>
                  <a:gd name="T79" fmla="*/ 39 h 86"/>
                  <a:gd name="T80" fmla="*/ 101 w 105"/>
                  <a:gd name="T81" fmla="*/ 34 h 86"/>
                  <a:gd name="T82" fmla="*/ 102 w 105"/>
                  <a:gd name="T83" fmla="*/ 2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5" h="86">
                    <a:moveTo>
                      <a:pt x="102" y="29"/>
                    </a:moveTo>
                    <a:cubicBezTo>
                      <a:pt x="99" y="28"/>
                      <a:pt x="105" y="27"/>
                      <a:pt x="101" y="26"/>
                    </a:cubicBezTo>
                    <a:cubicBezTo>
                      <a:pt x="97" y="26"/>
                      <a:pt x="91" y="19"/>
                      <a:pt x="90" y="22"/>
                    </a:cubicBezTo>
                    <a:cubicBezTo>
                      <a:pt x="90" y="26"/>
                      <a:pt x="88" y="24"/>
                      <a:pt x="85" y="27"/>
                    </a:cubicBezTo>
                    <a:cubicBezTo>
                      <a:pt x="81" y="30"/>
                      <a:pt x="71" y="22"/>
                      <a:pt x="71" y="17"/>
                    </a:cubicBezTo>
                    <a:cubicBezTo>
                      <a:pt x="71" y="13"/>
                      <a:pt x="72" y="16"/>
                      <a:pt x="76" y="14"/>
                    </a:cubicBezTo>
                    <a:cubicBezTo>
                      <a:pt x="80" y="12"/>
                      <a:pt x="76" y="11"/>
                      <a:pt x="77" y="10"/>
                    </a:cubicBezTo>
                    <a:cubicBezTo>
                      <a:pt x="79" y="9"/>
                      <a:pt x="80" y="5"/>
                      <a:pt x="74" y="10"/>
                    </a:cubicBezTo>
                    <a:cubicBezTo>
                      <a:pt x="68" y="15"/>
                      <a:pt x="66" y="7"/>
                      <a:pt x="69" y="6"/>
                    </a:cubicBezTo>
                    <a:cubicBezTo>
                      <a:pt x="72" y="6"/>
                      <a:pt x="81" y="1"/>
                      <a:pt x="77" y="1"/>
                    </a:cubicBezTo>
                    <a:cubicBezTo>
                      <a:pt x="72" y="0"/>
                      <a:pt x="72" y="4"/>
                      <a:pt x="70" y="3"/>
                    </a:cubicBezTo>
                    <a:cubicBezTo>
                      <a:pt x="68" y="1"/>
                      <a:pt x="68" y="6"/>
                      <a:pt x="65" y="3"/>
                    </a:cubicBezTo>
                    <a:cubicBezTo>
                      <a:pt x="61" y="1"/>
                      <a:pt x="61" y="7"/>
                      <a:pt x="57" y="5"/>
                    </a:cubicBezTo>
                    <a:cubicBezTo>
                      <a:pt x="53" y="3"/>
                      <a:pt x="50" y="12"/>
                      <a:pt x="44" y="12"/>
                    </a:cubicBezTo>
                    <a:cubicBezTo>
                      <a:pt x="37" y="12"/>
                      <a:pt x="41" y="15"/>
                      <a:pt x="37" y="16"/>
                    </a:cubicBezTo>
                    <a:cubicBezTo>
                      <a:pt x="33" y="16"/>
                      <a:pt x="34" y="21"/>
                      <a:pt x="32" y="20"/>
                    </a:cubicBezTo>
                    <a:cubicBezTo>
                      <a:pt x="30" y="19"/>
                      <a:pt x="24" y="32"/>
                      <a:pt x="20" y="32"/>
                    </a:cubicBezTo>
                    <a:cubicBezTo>
                      <a:pt x="15" y="31"/>
                      <a:pt x="10" y="41"/>
                      <a:pt x="6" y="42"/>
                    </a:cubicBezTo>
                    <a:cubicBezTo>
                      <a:pt x="2" y="43"/>
                      <a:pt x="0" y="46"/>
                      <a:pt x="3" y="49"/>
                    </a:cubicBezTo>
                    <a:cubicBezTo>
                      <a:pt x="6" y="52"/>
                      <a:pt x="1" y="51"/>
                      <a:pt x="6" y="53"/>
                    </a:cubicBezTo>
                    <a:cubicBezTo>
                      <a:pt x="9" y="54"/>
                      <a:pt x="10" y="51"/>
                      <a:pt x="13" y="53"/>
                    </a:cubicBezTo>
                    <a:cubicBezTo>
                      <a:pt x="15" y="55"/>
                      <a:pt x="12" y="54"/>
                      <a:pt x="12" y="56"/>
                    </a:cubicBezTo>
                    <a:cubicBezTo>
                      <a:pt x="12" y="58"/>
                      <a:pt x="14" y="56"/>
                      <a:pt x="14" y="58"/>
                    </a:cubicBezTo>
                    <a:cubicBezTo>
                      <a:pt x="13" y="59"/>
                      <a:pt x="15" y="59"/>
                      <a:pt x="17" y="61"/>
                    </a:cubicBezTo>
                    <a:cubicBezTo>
                      <a:pt x="19" y="63"/>
                      <a:pt x="17" y="59"/>
                      <a:pt x="18" y="58"/>
                    </a:cubicBezTo>
                    <a:cubicBezTo>
                      <a:pt x="20" y="56"/>
                      <a:pt x="18" y="53"/>
                      <a:pt x="22" y="52"/>
                    </a:cubicBezTo>
                    <a:cubicBezTo>
                      <a:pt x="26" y="52"/>
                      <a:pt x="24" y="49"/>
                      <a:pt x="26" y="50"/>
                    </a:cubicBezTo>
                    <a:cubicBezTo>
                      <a:pt x="28" y="51"/>
                      <a:pt x="26" y="49"/>
                      <a:pt x="28" y="48"/>
                    </a:cubicBezTo>
                    <a:cubicBezTo>
                      <a:pt x="30" y="48"/>
                      <a:pt x="32" y="50"/>
                      <a:pt x="36" y="53"/>
                    </a:cubicBezTo>
                    <a:cubicBezTo>
                      <a:pt x="40" y="57"/>
                      <a:pt x="34" y="58"/>
                      <a:pt x="37" y="61"/>
                    </a:cubicBezTo>
                    <a:cubicBezTo>
                      <a:pt x="40" y="65"/>
                      <a:pt x="34" y="65"/>
                      <a:pt x="40" y="71"/>
                    </a:cubicBezTo>
                    <a:cubicBezTo>
                      <a:pt x="45" y="77"/>
                      <a:pt x="48" y="71"/>
                      <a:pt x="50" y="73"/>
                    </a:cubicBezTo>
                    <a:cubicBezTo>
                      <a:pt x="53" y="75"/>
                      <a:pt x="59" y="70"/>
                      <a:pt x="59" y="76"/>
                    </a:cubicBezTo>
                    <a:cubicBezTo>
                      <a:pt x="59" y="82"/>
                      <a:pt x="61" y="77"/>
                      <a:pt x="63" y="81"/>
                    </a:cubicBezTo>
                    <a:cubicBezTo>
                      <a:pt x="65" y="85"/>
                      <a:pt x="66" y="86"/>
                      <a:pt x="70" y="80"/>
                    </a:cubicBezTo>
                    <a:cubicBezTo>
                      <a:pt x="75" y="75"/>
                      <a:pt x="72" y="79"/>
                      <a:pt x="78" y="76"/>
                    </a:cubicBezTo>
                    <a:cubicBezTo>
                      <a:pt x="84" y="72"/>
                      <a:pt x="82" y="68"/>
                      <a:pt x="84" y="67"/>
                    </a:cubicBezTo>
                    <a:cubicBezTo>
                      <a:pt x="87" y="66"/>
                      <a:pt x="84" y="57"/>
                      <a:pt x="93" y="50"/>
                    </a:cubicBezTo>
                    <a:cubicBezTo>
                      <a:pt x="100" y="44"/>
                      <a:pt x="95" y="48"/>
                      <a:pt x="96" y="42"/>
                    </a:cubicBezTo>
                    <a:cubicBezTo>
                      <a:pt x="96" y="37"/>
                      <a:pt x="100" y="42"/>
                      <a:pt x="100" y="39"/>
                    </a:cubicBezTo>
                    <a:cubicBezTo>
                      <a:pt x="99" y="36"/>
                      <a:pt x="102" y="39"/>
                      <a:pt x="101" y="34"/>
                    </a:cubicBezTo>
                    <a:cubicBezTo>
                      <a:pt x="100" y="29"/>
                      <a:pt x="105" y="31"/>
                      <a:pt x="102" y="2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8" name="Freeform 913"/>
              <p:cNvSpPr>
                <a:spLocks/>
              </p:cNvSpPr>
              <p:nvPr/>
            </p:nvSpPr>
            <p:spPr bwMode="auto">
              <a:xfrm>
                <a:off x="2067" y="3649"/>
                <a:ext cx="27" cy="26"/>
              </a:xfrm>
              <a:custGeom>
                <a:avLst/>
                <a:gdLst>
                  <a:gd name="T0" fmla="*/ 37 w 41"/>
                  <a:gd name="T1" fmla="*/ 5 h 39"/>
                  <a:gd name="T2" fmla="*/ 32 w 41"/>
                  <a:gd name="T3" fmla="*/ 3 h 39"/>
                  <a:gd name="T4" fmla="*/ 27 w 41"/>
                  <a:gd name="T5" fmla="*/ 3 h 39"/>
                  <a:gd name="T6" fmla="*/ 21 w 41"/>
                  <a:gd name="T7" fmla="*/ 5 h 39"/>
                  <a:gd name="T8" fmla="*/ 16 w 41"/>
                  <a:gd name="T9" fmla="*/ 7 h 39"/>
                  <a:gd name="T10" fmla="*/ 9 w 41"/>
                  <a:gd name="T11" fmla="*/ 14 h 39"/>
                  <a:gd name="T12" fmla="*/ 8 w 41"/>
                  <a:gd name="T13" fmla="*/ 19 h 39"/>
                  <a:gd name="T14" fmla="*/ 4 w 41"/>
                  <a:gd name="T15" fmla="*/ 22 h 39"/>
                  <a:gd name="T16" fmla="*/ 4 w 41"/>
                  <a:gd name="T17" fmla="*/ 31 h 39"/>
                  <a:gd name="T18" fmla="*/ 10 w 41"/>
                  <a:gd name="T19" fmla="*/ 32 h 39"/>
                  <a:gd name="T20" fmla="*/ 16 w 41"/>
                  <a:gd name="T21" fmla="*/ 34 h 39"/>
                  <a:gd name="T22" fmla="*/ 19 w 41"/>
                  <a:gd name="T23" fmla="*/ 36 h 39"/>
                  <a:gd name="T24" fmla="*/ 20 w 41"/>
                  <a:gd name="T25" fmla="*/ 29 h 39"/>
                  <a:gd name="T26" fmla="*/ 27 w 41"/>
                  <a:gd name="T27" fmla="*/ 25 h 39"/>
                  <a:gd name="T28" fmla="*/ 31 w 41"/>
                  <a:gd name="T29" fmla="*/ 20 h 39"/>
                  <a:gd name="T30" fmla="*/ 36 w 41"/>
                  <a:gd name="T31" fmla="*/ 15 h 39"/>
                  <a:gd name="T32" fmla="*/ 37 w 41"/>
                  <a:gd name="T33" fmla="*/ 10 h 39"/>
                  <a:gd name="T34" fmla="*/ 37 w 41"/>
                  <a:gd name="T35" fmla="*/ 5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39">
                    <a:moveTo>
                      <a:pt x="37" y="5"/>
                    </a:moveTo>
                    <a:cubicBezTo>
                      <a:pt x="35" y="2"/>
                      <a:pt x="34" y="5"/>
                      <a:pt x="32" y="3"/>
                    </a:cubicBezTo>
                    <a:cubicBezTo>
                      <a:pt x="29" y="0"/>
                      <a:pt x="29" y="4"/>
                      <a:pt x="27" y="3"/>
                    </a:cubicBezTo>
                    <a:cubicBezTo>
                      <a:pt x="26" y="1"/>
                      <a:pt x="26" y="4"/>
                      <a:pt x="21" y="5"/>
                    </a:cubicBezTo>
                    <a:cubicBezTo>
                      <a:pt x="16" y="6"/>
                      <a:pt x="18" y="8"/>
                      <a:pt x="16" y="7"/>
                    </a:cubicBezTo>
                    <a:cubicBezTo>
                      <a:pt x="14" y="6"/>
                      <a:pt x="10" y="11"/>
                      <a:pt x="9" y="14"/>
                    </a:cubicBezTo>
                    <a:cubicBezTo>
                      <a:pt x="8" y="18"/>
                      <a:pt x="12" y="19"/>
                      <a:pt x="8" y="19"/>
                    </a:cubicBezTo>
                    <a:cubicBezTo>
                      <a:pt x="5" y="19"/>
                      <a:pt x="2" y="19"/>
                      <a:pt x="4" y="22"/>
                    </a:cubicBezTo>
                    <a:cubicBezTo>
                      <a:pt x="5" y="25"/>
                      <a:pt x="0" y="26"/>
                      <a:pt x="4" y="31"/>
                    </a:cubicBezTo>
                    <a:cubicBezTo>
                      <a:pt x="7" y="36"/>
                      <a:pt x="5" y="28"/>
                      <a:pt x="10" y="32"/>
                    </a:cubicBezTo>
                    <a:cubicBezTo>
                      <a:pt x="13" y="34"/>
                      <a:pt x="15" y="30"/>
                      <a:pt x="16" y="34"/>
                    </a:cubicBezTo>
                    <a:cubicBezTo>
                      <a:pt x="16" y="39"/>
                      <a:pt x="17" y="35"/>
                      <a:pt x="19" y="36"/>
                    </a:cubicBezTo>
                    <a:cubicBezTo>
                      <a:pt x="21" y="37"/>
                      <a:pt x="18" y="32"/>
                      <a:pt x="20" y="29"/>
                    </a:cubicBezTo>
                    <a:cubicBezTo>
                      <a:pt x="22" y="25"/>
                      <a:pt x="23" y="30"/>
                      <a:pt x="27" y="25"/>
                    </a:cubicBezTo>
                    <a:cubicBezTo>
                      <a:pt x="30" y="20"/>
                      <a:pt x="30" y="25"/>
                      <a:pt x="31" y="20"/>
                    </a:cubicBezTo>
                    <a:cubicBezTo>
                      <a:pt x="32" y="15"/>
                      <a:pt x="35" y="20"/>
                      <a:pt x="36" y="15"/>
                    </a:cubicBezTo>
                    <a:cubicBezTo>
                      <a:pt x="36" y="11"/>
                      <a:pt x="41" y="13"/>
                      <a:pt x="37" y="10"/>
                    </a:cubicBezTo>
                    <a:cubicBezTo>
                      <a:pt x="34" y="7"/>
                      <a:pt x="39" y="7"/>
                      <a:pt x="37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99" name="Freeform 914"/>
              <p:cNvSpPr>
                <a:spLocks/>
              </p:cNvSpPr>
              <p:nvPr/>
            </p:nvSpPr>
            <p:spPr bwMode="auto">
              <a:xfrm>
                <a:off x="2034" y="3532"/>
                <a:ext cx="5" cy="2"/>
              </a:xfrm>
              <a:custGeom>
                <a:avLst/>
                <a:gdLst>
                  <a:gd name="T0" fmla="*/ 3 w 8"/>
                  <a:gd name="T1" fmla="*/ 3 h 3"/>
                  <a:gd name="T2" fmla="*/ 8 w 8"/>
                  <a:gd name="T3" fmla="*/ 0 h 3"/>
                  <a:gd name="T4" fmla="*/ 4 w 8"/>
                  <a:gd name="T5" fmla="*/ 1 h 3"/>
                  <a:gd name="T6" fmla="*/ 3 w 8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3">
                    <a:moveTo>
                      <a:pt x="3" y="3"/>
                    </a:moveTo>
                    <a:cubicBezTo>
                      <a:pt x="3" y="3"/>
                      <a:pt x="5" y="2"/>
                      <a:pt x="8" y="0"/>
                    </a:cubicBezTo>
                    <a:cubicBezTo>
                      <a:pt x="7" y="1"/>
                      <a:pt x="6" y="1"/>
                      <a:pt x="4" y="1"/>
                    </a:cubicBezTo>
                    <a:cubicBezTo>
                      <a:pt x="3" y="2"/>
                      <a:pt x="0" y="0"/>
                      <a:pt x="3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0" name="Freeform 915"/>
              <p:cNvSpPr>
                <a:spLocks/>
              </p:cNvSpPr>
              <p:nvPr/>
            </p:nvSpPr>
            <p:spPr bwMode="auto">
              <a:xfrm>
                <a:off x="2078" y="3677"/>
                <a:ext cx="14" cy="14"/>
              </a:xfrm>
              <a:custGeom>
                <a:avLst/>
                <a:gdLst>
                  <a:gd name="T0" fmla="*/ 15 w 21"/>
                  <a:gd name="T1" fmla="*/ 11 h 21"/>
                  <a:gd name="T2" fmla="*/ 9 w 21"/>
                  <a:gd name="T3" fmla="*/ 8 h 21"/>
                  <a:gd name="T4" fmla="*/ 5 w 21"/>
                  <a:gd name="T5" fmla="*/ 4 h 21"/>
                  <a:gd name="T6" fmla="*/ 3 w 21"/>
                  <a:gd name="T7" fmla="*/ 6 h 21"/>
                  <a:gd name="T8" fmla="*/ 1 w 21"/>
                  <a:gd name="T9" fmla="*/ 15 h 21"/>
                  <a:gd name="T10" fmla="*/ 7 w 21"/>
                  <a:gd name="T11" fmla="*/ 11 h 21"/>
                  <a:gd name="T12" fmla="*/ 16 w 21"/>
                  <a:gd name="T13" fmla="*/ 16 h 21"/>
                  <a:gd name="T14" fmla="*/ 15 w 21"/>
                  <a:gd name="T15" fmla="*/ 1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1">
                    <a:moveTo>
                      <a:pt x="15" y="11"/>
                    </a:moveTo>
                    <a:cubicBezTo>
                      <a:pt x="13" y="14"/>
                      <a:pt x="10" y="11"/>
                      <a:pt x="9" y="8"/>
                    </a:cubicBezTo>
                    <a:cubicBezTo>
                      <a:pt x="7" y="5"/>
                      <a:pt x="7" y="7"/>
                      <a:pt x="5" y="4"/>
                    </a:cubicBezTo>
                    <a:cubicBezTo>
                      <a:pt x="3" y="0"/>
                      <a:pt x="5" y="7"/>
                      <a:pt x="3" y="6"/>
                    </a:cubicBezTo>
                    <a:cubicBezTo>
                      <a:pt x="0" y="5"/>
                      <a:pt x="1" y="7"/>
                      <a:pt x="1" y="15"/>
                    </a:cubicBezTo>
                    <a:cubicBezTo>
                      <a:pt x="1" y="21"/>
                      <a:pt x="5" y="11"/>
                      <a:pt x="7" y="11"/>
                    </a:cubicBezTo>
                    <a:cubicBezTo>
                      <a:pt x="10" y="11"/>
                      <a:pt x="11" y="15"/>
                      <a:pt x="16" y="16"/>
                    </a:cubicBezTo>
                    <a:cubicBezTo>
                      <a:pt x="21" y="16"/>
                      <a:pt x="17" y="9"/>
                      <a:pt x="15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1" name="Freeform 916"/>
              <p:cNvSpPr>
                <a:spLocks/>
              </p:cNvSpPr>
              <p:nvPr/>
            </p:nvSpPr>
            <p:spPr bwMode="auto">
              <a:xfrm>
                <a:off x="2219" y="3570"/>
                <a:ext cx="33" cy="25"/>
              </a:xfrm>
              <a:custGeom>
                <a:avLst/>
                <a:gdLst>
                  <a:gd name="T0" fmla="*/ 44 w 50"/>
                  <a:gd name="T1" fmla="*/ 19 h 38"/>
                  <a:gd name="T2" fmla="*/ 41 w 50"/>
                  <a:gd name="T3" fmla="*/ 14 h 38"/>
                  <a:gd name="T4" fmla="*/ 37 w 50"/>
                  <a:gd name="T5" fmla="*/ 9 h 38"/>
                  <a:gd name="T6" fmla="*/ 32 w 50"/>
                  <a:gd name="T7" fmla="*/ 6 h 38"/>
                  <a:gd name="T8" fmla="*/ 27 w 50"/>
                  <a:gd name="T9" fmla="*/ 5 h 38"/>
                  <a:gd name="T10" fmla="*/ 21 w 50"/>
                  <a:gd name="T11" fmla="*/ 6 h 38"/>
                  <a:gd name="T12" fmla="*/ 14 w 50"/>
                  <a:gd name="T13" fmla="*/ 6 h 38"/>
                  <a:gd name="T14" fmla="*/ 9 w 50"/>
                  <a:gd name="T15" fmla="*/ 6 h 38"/>
                  <a:gd name="T16" fmla="*/ 2 w 50"/>
                  <a:gd name="T17" fmla="*/ 9 h 38"/>
                  <a:gd name="T18" fmla="*/ 4 w 50"/>
                  <a:gd name="T19" fmla="*/ 21 h 38"/>
                  <a:gd name="T20" fmla="*/ 5 w 50"/>
                  <a:gd name="T21" fmla="*/ 23 h 38"/>
                  <a:gd name="T22" fmla="*/ 8 w 50"/>
                  <a:gd name="T23" fmla="*/ 23 h 38"/>
                  <a:gd name="T24" fmla="*/ 12 w 50"/>
                  <a:gd name="T25" fmla="*/ 22 h 38"/>
                  <a:gd name="T26" fmla="*/ 25 w 50"/>
                  <a:gd name="T27" fmla="*/ 25 h 38"/>
                  <a:gd name="T28" fmla="*/ 40 w 50"/>
                  <a:gd name="T29" fmla="*/ 35 h 38"/>
                  <a:gd name="T30" fmla="*/ 47 w 50"/>
                  <a:gd name="T31" fmla="*/ 30 h 38"/>
                  <a:gd name="T32" fmla="*/ 47 w 50"/>
                  <a:gd name="T33" fmla="*/ 26 h 38"/>
                  <a:gd name="T34" fmla="*/ 44 w 50"/>
                  <a:gd name="T35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0" h="38">
                    <a:moveTo>
                      <a:pt x="44" y="19"/>
                    </a:moveTo>
                    <a:cubicBezTo>
                      <a:pt x="42" y="16"/>
                      <a:pt x="45" y="16"/>
                      <a:pt x="41" y="14"/>
                    </a:cubicBezTo>
                    <a:cubicBezTo>
                      <a:pt x="38" y="13"/>
                      <a:pt x="39" y="10"/>
                      <a:pt x="37" y="9"/>
                    </a:cubicBezTo>
                    <a:cubicBezTo>
                      <a:pt x="34" y="7"/>
                      <a:pt x="35" y="2"/>
                      <a:pt x="32" y="6"/>
                    </a:cubicBezTo>
                    <a:cubicBezTo>
                      <a:pt x="28" y="9"/>
                      <a:pt x="30" y="0"/>
                      <a:pt x="27" y="5"/>
                    </a:cubicBezTo>
                    <a:cubicBezTo>
                      <a:pt x="25" y="9"/>
                      <a:pt x="25" y="3"/>
                      <a:pt x="21" y="6"/>
                    </a:cubicBezTo>
                    <a:cubicBezTo>
                      <a:pt x="17" y="8"/>
                      <a:pt x="16" y="3"/>
                      <a:pt x="14" y="6"/>
                    </a:cubicBezTo>
                    <a:cubicBezTo>
                      <a:pt x="12" y="9"/>
                      <a:pt x="12" y="5"/>
                      <a:pt x="9" y="6"/>
                    </a:cubicBezTo>
                    <a:cubicBezTo>
                      <a:pt x="7" y="7"/>
                      <a:pt x="5" y="4"/>
                      <a:pt x="2" y="9"/>
                    </a:cubicBezTo>
                    <a:cubicBezTo>
                      <a:pt x="0" y="14"/>
                      <a:pt x="5" y="12"/>
                      <a:pt x="4" y="21"/>
                    </a:cubicBezTo>
                    <a:cubicBezTo>
                      <a:pt x="3" y="24"/>
                      <a:pt x="3" y="24"/>
                      <a:pt x="5" y="23"/>
                    </a:cubicBezTo>
                    <a:cubicBezTo>
                      <a:pt x="7" y="22"/>
                      <a:pt x="7" y="23"/>
                      <a:pt x="8" y="23"/>
                    </a:cubicBezTo>
                    <a:cubicBezTo>
                      <a:pt x="11" y="22"/>
                      <a:pt x="9" y="25"/>
                      <a:pt x="12" y="22"/>
                    </a:cubicBezTo>
                    <a:cubicBezTo>
                      <a:pt x="13" y="21"/>
                      <a:pt x="21" y="22"/>
                      <a:pt x="25" y="25"/>
                    </a:cubicBezTo>
                    <a:cubicBezTo>
                      <a:pt x="28" y="28"/>
                      <a:pt x="35" y="33"/>
                      <a:pt x="40" y="35"/>
                    </a:cubicBezTo>
                    <a:cubicBezTo>
                      <a:pt x="46" y="38"/>
                      <a:pt x="48" y="33"/>
                      <a:pt x="47" y="30"/>
                    </a:cubicBezTo>
                    <a:cubicBezTo>
                      <a:pt x="46" y="28"/>
                      <a:pt x="50" y="30"/>
                      <a:pt x="47" y="26"/>
                    </a:cubicBezTo>
                    <a:cubicBezTo>
                      <a:pt x="43" y="21"/>
                      <a:pt x="46" y="22"/>
                      <a:pt x="44" y="1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2" name="Freeform 917"/>
              <p:cNvSpPr>
                <a:spLocks/>
              </p:cNvSpPr>
              <p:nvPr/>
            </p:nvSpPr>
            <p:spPr bwMode="auto">
              <a:xfrm>
                <a:off x="2780" y="3018"/>
                <a:ext cx="186" cy="126"/>
              </a:xfrm>
              <a:custGeom>
                <a:avLst/>
                <a:gdLst>
                  <a:gd name="T0" fmla="*/ 99 w 284"/>
                  <a:gd name="T1" fmla="*/ 172 h 193"/>
                  <a:gd name="T2" fmla="*/ 107 w 284"/>
                  <a:gd name="T3" fmla="*/ 155 h 193"/>
                  <a:gd name="T4" fmla="*/ 124 w 284"/>
                  <a:gd name="T5" fmla="*/ 176 h 193"/>
                  <a:gd name="T6" fmla="*/ 139 w 284"/>
                  <a:gd name="T7" fmla="*/ 174 h 193"/>
                  <a:gd name="T8" fmla="*/ 175 w 284"/>
                  <a:gd name="T9" fmla="*/ 182 h 193"/>
                  <a:gd name="T10" fmla="*/ 173 w 284"/>
                  <a:gd name="T11" fmla="*/ 168 h 193"/>
                  <a:gd name="T12" fmla="*/ 181 w 284"/>
                  <a:gd name="T13" fmla="*/ 157 h 193"/>
                  <a:gd name="T14" fmla="*/ 171 w 284"/>
                  <a:gd name="T15" fmla="*/ 146 h 193"/>
                  <a:gd name="T16" fmla="*/ 206 w 284"/>
                  <a:gd name="T17" fmla="*/ 134 h 193"/>
                  <a:gd name="T18" fmla="*/ 199 w 284"/>
                  <a:gd name="T19" fmla="*/ 96 h 193"/>
                  <a:gd name="T20" fmla="*/ 240 w 284"/>
                  <a:gd name="T21" fmla="*/ 70 h 193"/>
                  <a:gd name="T22" fmla="*/ 257 w 284"/>
                  <a:gd name="T23" fmla="*/ 64 h 193"/>
                  <a:gd name="T24" fmla="*/ 261 w 284"/>
                  <a:gd name="T25" fmla="*/ 45 h 193"/>
                  <a:gd name="T26" fmla="*/ 284 w 284"/>
                  <a:gd name="T27" fmla="*/ 50 h 193"/>
                  <a:gd name="T28" fmla="*/ 270 w 284"/>
                  <a:gd name="T29" fmla="*/ 32 h 193"/>
                  <a:gd name="T30" fmla="*/ 260 w 284"/>
                  <a:gd name="T31" fmla="*/ 2 h 193"/>
                  <a:gd name="T32" fmla="*/ 247 w 284"/>
                  <a:gd name="T33" fmla="*/ 0 h 193"/>
                  <a:gd name="T34" fmla="*/ 237 w 284"/>
                  <a:gd name="T35" fmla="*/ 28 h 193"/>
                  <a:gd name="T36" fmla="*/ 212 w 284"/>
                  <a:gd name="T37" fmla="*/ 23 h 193"/>
                  <a:gd name="T38" fmla="*/ 190 w 284"/>
                  <a:gd name="T39" fmla="*/ 34 h 193"/>
                  <a:gd name="T40" fmla="*/ 154 w 284"/>
                  <a:gd name="T41" fmla="*/ 30 h 193"/>
                  <a:gd name="T42" fmla="*/ 107 w 284"/>
                  <a:gd name="T43" fmla="*/ 64 h 193"/>
                  <a:gd name="T44" fmla="*/ 95 w 284"/>
                  <a:gd name="T45" fmla="*/ 55 h 193"/>
                  <a:gd name="T46" fmla="*/ 71 w 284"/>
                  <a:gd name="T47" fmla="*/ 57 h 193"/>
                  <a:gd name="T48" fmla="*/ 31 w 284"/>
                  <a:gd name="T49" fmla="*/ 45 h 193"/>
                  <a:gd name="T50" fmla="*/ 1 w 284"/>
                  <a:gd name="T51" fmla="*/ 74 h 193"/>
                  <a:gd name="T52" fmla="*/ 26 w 284"/>
                  <a:gd name="T53" fmla="*/ 89 h 193"/>
                  <a:gd name="T54" fmla="*/ 10 w 284"/>
                  <a:gd name="T55" fmla="*/ 110 h 193"/>
                  <a:gd name="T56" fmla="*/ 16 w 284"/>
                  <a:gd name="T57" fmla="*/ 117 h 193"/>
                  <a:gd name="T58" fmla="*/ 19 w 284"/>
                  <a:gd name="T59" fmla="*/ 112 h 193"/>
                  <a:gd name="T60" fmla="*/ 20 w 284"/>
                  <a:gd name="T61" fmla="*/ 136 h 193"/>
                  <a:gd name="T62" fmla="*/ 49 w 284"/>
                  <a:gd name="T63" fmla="*/ 159 h 193"/>
                  <a:gd name="T64" fmla="*/ 32 w 284"/>
                  <a:gd name="T65" fmla="*/ 163 h 193"/>
                  <a:gd name="T66" fmla="*/ 28 w 284"/>
                  <a:gd name="T67" fmla="*/ 170 h 193"/>
                  <a:gd name="T68" fmla="*/ 18 w 284"/>
                  <a:gd name="T69" fmla="*/ 172 h 193"/>
                  <a:gd name="T70" fmla="*/ 19 w 284"/>
                  <a:gd name="T71" fmla="*/ 178 h 193"/>
                  <a:gd name="T72" fmla="*/ 99 w 284"/>
                  <a:gd name="T73" fmla="*/ 172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84" h="193">
                    <a:moveTo>
                      <a:pt x="99" y="172"/>
                    </a:moveTo>
                    <a:cubicBezTo>
                      <a:pt x="99" y="172"/>
                      <a:pt x="107" y="155"/>
                      <a:pt x="107" y="155"/>
                    </a:cubicBezTo>
                    <a:cubicBezTo>
                      <a:pt x="111" y="149"/>
                      <a:pt x="106" y="162"/>
                      <a:pt x="124" y="176"/>
                    </a:cubicBezTo>
                    <a:cubicBezTo>
                      <a:pt x="134" y="184"/>
                      <a:pt x="132" y="175"/>
                      <a:pt x="139" y="174"/>
                    </a:cubicBezTo>
                    <a:cubicBezTo>
                      <a:pt x="146" y="173"/>
                      <a:pt x="168" y="193"/>
                      <a:pt x="175" y="182"/>
                    </a:cubicBezTo>
                    <a:cubicBezTo>
                      <a:pt x="178" y="178"/>
                      <a:pt x="174" y="172"/>
                      <a:pt x="173" y="168"/>
                    </a:cubicBezTo>
                    <a:cubicBezTo>
                      <a:pt x="168" y="158"/>
                      <a:pt x="180" y="159"/>
                      <a:pt x="181" y="157"/>
                    </a:cubicBezTo>
                    <a:cubicBezTo>
                      <a:pt x="181" y="155"/>
                      <a:pt x="170" y="146"/>
                      <a:pt x="171" y="146"/>
                    </a:cubicBezTo>
                    <a:cubicBezTo>
                      <a:pt x="179" y="130"/>
                      <a:pt x="198" y="142"/>
                      <a:pt x="206" y="134"/>
                    </a:cubicBezTo>
                    <a:cubicBezTo>
                      <a:pt x="218" y="121"/>
                      <a:pt x="201" y="105"/>
                      <a:pt x="199" y="96"/>
                    </a:cubicBezTo>
                    <a:cubicBezTo>
                      <a:pt x="195" y="79"/>
                      <a:pt x="233" y="77"/>
                      <a:pt x="240" y="70"/>
                    </a:cubicBezTo>
                    <a:cubicBezTo>
                      <a:pt x="247" y="64"/>
                      <a:pt x="250" y="69"/>
                      <a:pt x="257" y="64"/>
                    </a:cubicBezTo>
                    <a:cubicBezTo>
                      <a:pt x="264" y="59"/>
                      <a:pt x="250" y="48"/>
                      <a:pt x="261" y="45"/>
                    </a:cubicBezTo>
                    <a:cubicBezTo>
                      <a:pt x="267" y="43"/>
                      <a:pt x="278" y="48"/>
                      <a:pt x="284" y="50"/>
                    </a:cubicBezTo>
                    <a:cubicBezTo>
                      <a:pt x="276" y="43"/>
                      <a:pt x="271" y="37"/>
                      <a:pt x="270" y="32"/>
                    </a:cubicBezTo>
                    <a:cubicBezTo>
                      <a:pt x="269" y="26"/>
                      <a:pt x="267" y="4"/>
                      <a:pt x="260" y="2"/>
                    </a:cubicBezTo>
                    <a:cubicBezTo>
                      <a:pt x="254" y="1"/>
                      <a:pt x="250" y="0"/>
                      <a:pt x="247" y="0"/>
                    </a:cubicBezTo>
                    <a:cubicBezTo>
                      <a:pt x="227" y="0"/>
                      <a:pt x="240" y="24"/>
                      <a:pt x="237" y="28"/>
                    </a:cubicBezTo>
                    <a:cubicBezTo>
                      <a:pt x="236" y="29"/>
                      <a:pt x="214" y="23"/>
                      <a:pt x="212" y="23"/>
                    </a:cubicBezTo>
                    <a:cubicBezTo>
                      <a:pt x="196" y="20"/>
                      <a:pt x="202" y="30"/>
                      <a:pt x="190" y="34"/>
                    </a:cubicBezTo>
                    <a:cubicBezTo>
                      <a:pt x="180" y="37"/>
                      <a:pt x="164" y="29"/>
                      <a:pt x="154" y="30"/>
                    </a:cubicBezTo>
                    <a:cubicBezTo>
                      <a:pt x="127" y="31"/>
                      <a:pt x="126" y="59"/>
                      <a:pt x="107" y="64"/>
                    </a:cubicBezTo>
                    <a:cubicBezTo>
                      <a:pt x="95" y="55"/>
                      <a:pt x="95" y="55"/>
                      <a:pt x="95" y="55"/>
                    </a:cubicBezTo>
                    <a:cubicBezTo>
                      <a:pt x="88" y="53"/>
                      <a:pt x="77" y="60"/>
                      <a:pt x="71" y="57"/>
                    </a:cubicBezTo>
                    <a:cubicBezTo>
                      <a:pt x="58" y="52"/>
                      <a:pt x="45" y="48"/>
                      <a:pt x="31" y="45"/>
                    </a:cubicBezTo>
                    <a:cubicBezTo>
                      <a:pt x="28" y="57"/>
                      <a:pt x="0" y="67"/>
                      <a:pt x="1" y="74"/>
                    </a:cubicBezTo>
                    <a:cubicBezTo>
                      <a:pt x="3" y="90"/>
                      <a:pt x="21" y="80"/>
                      <a:pt x="26" y="89"/>
                    </a:cubicBezTo>
                    <a:cubicBezTo>
                      <a:pt x="30" y="95"/>
                      <a:pt x="9" y="105"/>
                      <a:pt x="10" y="110"/>
                    </a:cubicBezTo>
                    <a:cubicBezTo>
                      <a:pt x="11" y="113"/>
                      <a:pt x="13" y="116"/>
                      <a:pt x="16" y="117"/>
                    </a:cubicBezTo>
                    <a:cubicBezTo>
                      <a:pt x="18" y="117"/>
                      <a:pt x="17" y="113"/>
                      <a:pt x="19" y="112"/>
                    </a:cubicBezTo>
                    <a:cubicBezTo>
                      <a:pt x="29" y="110"/>
                      <a:pt x="17" y="132"/>
                      <a:pt x="20" y="136"/>
                    </a:cubicBezTo>
                    <a:cubicBezTo>
                      <a:pt x="27" y="143"/>
                      <a:pt x="49" y="145"/>
                      <a:pt x="49" y="159"/>
                    </a:cubicBezTo>
                    <a:cubicBezTo>
                      <a:pt x="49" y="170"/>
                      <a:pt x="36" y="166"/>
                      <a:pt x="32" y="163"/>
                    </a:cubicBezTo>
                    <a:cubicBezTo>
                      <a:pt x="32" y="165"/>
                      <a:pt x="32" y="169"/>
                      <a:pt x="28" y="170"/>
                    </a:cubicBezTo>
                    <a:cubicBezTo>
                      <a:pt x="26" y="170"/>
                      <a:pt x="18" y="172"/>
                      <a:pt x="18" y="172"/>
                    </a:cubicBezTo>
                    <a:cubicBezTo>
                      <a:pt x="18" y="173"/>
                      <a:pt x="20" y="177"/>
                      <a:pt x="19" y="178"/>
                    </a:cubicBezTo>
                    <a:cubicBezTo>
                      <a:pt x="26" y="182"/>
                      <a:pt x="94" y="177"/>
                      <a:pt x="99" y="17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3" name="Freeform 918"/>
              <p:cNvSpPr>
                <a:spLocks/>
              </p:cNvSpPr>
              <p:nvPr/>
            </p:nvSpPr>
            <p:spPr bwMode="auto">
              <a:xfrm>
                <a:off x="2981" y="2786"/>
                <a:ext cx="335" cy="162"/>
              </a:xfrm>
              <a:custGeom>
                <a:avLst/>
                <a:gdLst>
                  <a:gd name="T0" fmla="*/ 461 w 511"/>
                  <a:gd name="T1" fmla="*/ 39 h 247"/>
                  <a:gd name="T2" fmla="*/ 453 w 511"/>
                  <a:gd name="T3" fmla="*/ 35 h 247"/>
                  <a:gd name="T4" fmla="*/ 398 w 511"/>
                  <a:gd name="T5" fmla="*/ 22 h 247"/>
                  <a:gd name="T6" fmla="*/ 396 w 511"/>
                  <a:gd name="T7" fmla="*/ 23 h 247"/>
                  <a:gd name="T8" fmla="*/ 394 w 511"/>
                  <a:gd name="T9" fmla="*/ 26 h 247"/>
                  <a:gd name="T10" fmla="*/ 391 w 511"/>
                  <a:gd name="T11" fmla="*/ 28 h 247"/>
                  <a:gd name="T12" fmla="*/ 380 w 511"/>
                  <a:gd name="T13" fmla="*/ 23 h 247"/>
                  <a:gd name="T14" fmla="*/ 378 w 511"/>
                  <a:gd name="T15" fmla="*/ 28 h 247"/>
                  <a:gd name="T16" fmla="*/ 375 w 511"/>
                  <a:gd name="T17" fmla="*/ 37 h 247"/>
                  <a:gd name="T18" fmla="*/ 366 w 511"/>
                  <a:gd name="T19" fmla="*/ 41 h 247"/>
                  <a:gd name="T20" fmla="*/ 346 w 511"/>
                  <a:gd name="T21" fmla="*/ 26 h 247"/>
                  <a:gd name="T22" fmla="*/ 323 w 511"/>
                  <a:gd name="T23" fmla="*/ 26 h 247"/>
                  <a:gd name="T24" fmla="*/ 310 w 511"/>
                  <a:gd name="T25" fmla="*/ 33 h 247"/>
                  <a:gd name="T26" fmla="*/ 295 w 511"/>
                  <a:gd name="T27" fmla="*/ 53 h 247"/>
                  <a:gd name="T28" fmla="*/ 290 w 511"/>
                  <a:gd name="T29" fmla="*/ 56 h 247"/>
                  <a:gd name="T30" fmla="*/ 278 w 511"/>
                  <a:gd name="T31" fmla="*/ 50 h 247"/>
                  <a:gd name="T32" fmla="*/ 272 w 511"/>
                  <a:gd name="T33" fmla="*/ 52 h 247"/>
                  <a:gd name="T34" fmla="*/ 266 w 511"/>
                  <a:gd name="T35" fmla="*/ 54 h 247"/>
                  <a:gd name="T36" fmla="*/ 266 w 511"/>
                  <a:gd name="T37" fmla="*/ 28 h 247"/>
                  <a:gd name="T38" fmla="*/ 259 w 511"/>
                  <a:gd name="T39" fmla="*/ 28 h 247"/>
                  <a:gd name="T40" fmla="*/ 251 w 511"/>
                  <a:gd name="T41" fmla="*/ 28 h 247"/>
                  <a:gd name="T42" fmla="*/ 238 w 511"/>
                  <a:gd name="T43" fmla="*/ 2 h 247"/>
                  <a:gd name="T44" fmla="*/ 222 w 511"/>
                  <a:gd name="T45" fmla="*/ 12 h 247"/>
                  <a:gd name="T46" fmla="*/ 215 w 511"/>
                  <a:gd name="T47" fmla="*/ 20 h 247"/>
                  <a:gd name="T48" fmla="*/ 193 w 511"/>
                  <a:gd name="T49" fmla="*/ 28 h 247"/>
                  <a:gd name="T50" fmla="*/ 193 w 511"/>
                  <a:gd name="T51" fmla="*/ 22 h 247"/>
                  <a:gd name="T52" fmla="*/ 193 w 511"/>
                  <a:gd name="T53" fmla="*/ 15 h 247"/>
                  <a:gd name="T54" fmla="*/ 181 w 511"/>
                  <a:gd name="T55" fmla="*/ 13 h 247"/>
                  <a:gd name="T56" fmla="*/ 125 w 511"/>
                  <a:gd name="T57" fmla="*/ 43 h 247"/>
                  <a:gd name="T58" fmla="*/ 113 w 511"/>
                  <a:gd name="T59" fmla="*/ 74 h 247"/>
                  <a:gd name="T60" fmla="*/ 110 w 511"/>
                  <a:gd name="T61" fmla="*/ 75 h 247"/>
                  <a:gd name="T62" fmla="*/ 108 w 511"/>
                  <a:gd name="T63" fmla="*/ 75 h 247"/>
                  <a:gd name="T64" fmla="*/ 107 w 511"/>
                  <a:gd name="T65" fmla="*/ 76 h 247"/>
                  <a:gd name="T66" fmla="*/ 106 w 511"/>
                  <a:gd name="T67" fmla="*/ 76 h 247"/>
                  <a:gd name="T68" fmla="*/ 100 w 511"/>
                  <a:gd name="T69" fmla="*/ 78 h 247"/>
                  <a:gd name="T70" fmla="*/ 97 w 511"/>
                  <a:gd name="T71" fmla="*/ 89 h 247"/>
                  <a:gd name="T72" fmla="*/ 97 w 511"/>
                  <a:gd name="T73" fmla="*/ 89 h 247"/>
                  <a:gd name="T74" fmla="*/ 12 w 511"/>
                  <a:gd name="T75" fmla="*/ 130 h 247"/>
                  <a:gd name="T76" fmla="*/ 2 w 511"/>
                  <a:gd name="T77" fmla="*/ 162 h 247"/>
                  <a:gd name="T78" fmla="*/ 30 w 511"/>
                  <a:gd name="T79" fmla="*/ 206 h 247"/>
                  <a:gd name="T80" fmla="*/ 39 w 511"/>
                  <a:gd name="T81" fmla="*/ 205 h 247"/>
                  <a:gd name="T82" fmla="*/ 86 w 511"/>
                  <a:gd name="T83" fmla="*/ 242 h 247"/>
                  <a:gd name="T84" fmla="*/ 146 w 511"/>
                  <a:gd name="T85" fmla="*/ 241 h 247"/>
                  <a:gd name="T86" fmla="*/ 181 w 511"/>
                  <a:gd name="T87" fmla="*/ 233 h 247"/>
                  <a:gd name="T88" fmla="*/ 180 w 511"/>
                  <a:gd name="T89" fmla="*/ 205 h 247"/>
                  <a:gd name="T90" fmla="*/ 238 w 511"/>
                  <a:gd name="T91" fmla="*/ 199 h 247"/>
                  <a:gd name="T92" fmla="*/ 254 w 511"/>
                  <a:gd name="T93" fmla="*/ 179 h 247"/>
                  <a:gd name="T94" fmla="*/ 277 w 511"/>
                  <a:gd name="T95" fmla="*/ 192 h 247"/>
                  <a:gd name="T96" fmla="*/ 297 w 511"/>
                  <a:gd name="T97" fmla="*/ 175 h 247"/>
                  <a:gd name="T98" fmla="*/ 317 w 511"/>
                  <a:gd name="T99" fmla="*/ 171 h 247"/>
                  <a:gd name="T100" fmla="*/ 330 w 511"/>
                  <a:gd name="T101" fmla="*/ 141 h 247"/>
                  <a:gd name="T102" fmla="*/ 385 w 511"/>
                  <a:gd name="T103" fmla="*/ 145 h 247"/>
                  <a:gd name="T104" fmla="*/ 413 w 511"/>
                  <a:gd name="T105" fmla="*/ 134 h 247"/>
                  <a:gd name="T106" fmla="*/ 439 w 511"/>
                  <a:gd name="T107" fmla="*/ 164 h 247"/>
                  <a:gd name="T108" fmla="*/ 444 w 511"/>
                  <a:gd name="T109" fmla="*/ 163 h 247"/>
                  <a:gd name="T110" fmla="*/ 450 w 511"/>
                  <a:gd name="T111" fmla="*/ 162 h 247"/>
                  <a:gd name="T112" fmla="*/ 471 w 511"/>
                  <a:gd name="T113" fmla="*/ 155 h 247"/>
                  <a:gd name="T114" fmla="*/ 476 w 511"/>
                  <a:gd name="T115" fmla="*/ 134 h 247"/>
                  <a:gd name="T116" fmla="*/ 498 w 511"/>
                  <a:gd name="T117" fmla="*/ 102 h 247"/>
                  <a:gd name="T118" fmla="*/ 511 w 511"/>
                  <a:gd name="T119" fmla="*/ 69 h 247"/>
                  <a:gd name="T120" fmla="*/ 465 w 511"/>
                  <a:gd name="T121" fmla="*/ 52 h 247"/>
                  <a:gd name="T122" fmla="*/ 461 w 511"/>
                  <a:gd name="T123" fmla="*/ 39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11" h="247">
                    <a:moveTo>
                      <a:pt x="461" y="39"/>
                    </a:moveTo>
                    <a:cubicBezTo>
                      <a:pt x="459" y="37"/>
                      <a:pt x="455" y="36"/>
                      <a:pt x="453" y="35"/>
                    </a:cubicBezTo>
                    <a:cubicBezTo>
                      <a:pt x="438" y="28"/>
                      <a:pt x="415" y="18"/>
                      <a:pt x="398" y="22"/>
                    </a:cubicBezTo>
                    <a:cubicBezTo>
                      <a:pt x="398" y="22"/>
                      <a:pt x="397" y="22"/>
                      <a:pt x="396" y="23"/>
                    </a:cubicBezTo>
                    <a:cubicBezTo>
                      <a:pt x="395" y="24"/>
                      <a:pt x="395" y="25"/>
                      <a:pt x="394" y="26"/>
                    </a:cubicBezTo>
                    <a:cubicBezTo>
                      <a:pt x="393" y="27"/>
                      <a:pt x="392" y="28"/>
                      <a:pt x="391" y="28"/>
                    </a:cubicBezTo>
                    <a:cubicBezTo>
                      <a:pt x="388" y="29"/>
                      <a:pt x="384" y="19"/>
                      <a:pt x="380" y="23"/>
                    </a:cubicBezTo>
                    <a:cubicBezTo>
                      <a:pt x="379" y="24"/>
                      <a:pt x="379" y="25"/>
                      <a:pt x="378" y="28"/>
                    </a:cubicBezTo>
                    <a:cubicBezTo>
                      <a:pt x="377" y="29"/>
                      <a:pt x="378" y="34"/>
                      <a:pt x="375" y="37"/>
                    </a:cubicBezTo>
                    <a:cubicBezTo>
                      <a:pt x="374" y="39"/>
                      <a:pt x="371" y="41"/>
                      <a:pt x="366" y="41"/>
                    </a:cubicBezTo>
                    <a:cubicBezTo>
                      <a:pt x="360" y="41"/>
                      <a:pt x="353" y="27"/>
                      <a:pt x="346" y="26"/>
                    </a:cubicBezTo>
                    <a:cubicBezTo>
                      <a:pt x="343" y="25"/>
                      <a:pt x="326" y="26"/>
                      <a:pt x="323" y="26"/>
                    </a:cubicBezTo>
                    <a:cubicBezTo>
                      <a:pt x="318" y="26"/>
                      <a:pt x="313" y="29"/>
                      <a:pt x="310" y="33"/>
                    </a:cubicBezTo>
                    <a:cubicBezTo>
                      <a:pt x="304" y="39"/>
                      <a:pt x="299" y="48"/>
                      <a:pt x="295" y="53"/>
                    </a:cubicBezTo>
                    <a:cubicBezTo>
                      <a:pt x="293" y="55"/>
                      <a:pt x="292" y="56"/>
                      <a:pt x="290" y="56"/>
                    </a:cubicBezTo>
                    <a:cubicBezTo>
                      <a:pt x="286" y="57"/>
                      <a:pt x="283" y="50"/>
                      <a:pt x="278" y="50"/>
                    </a:cubicBezTo>
                    <a:cubicBezTo>
                      <a:pt x="276" y="50"/>
                      <a:pt x="274" y="51"/>
                      <a:pt x="272" y="52"/>
                    </a:cubicBezTo>
                    <a:cubicBezTo>
                      <a:pt x="270" y="53"/>
                      <a:pt x="268" y="54"/>
                      <a:pt x="266" y="54"/>
                    </a:cubicBezTo>
                    <a:cubicBezTo>
                      <a:pt x="259" y="54"/>
                      <a:pt x="273" y="32"/>
                      <a:pt x="266" y="28"/>
                    </a:cubicBezTo>
                    <a:cubicBezTo>
                      <a:pt x="264" y="27"/>
                      <a:pt x="261" y="28"/>
                      <a:pt x="259" y="28"/>
                    </a:cubicBezTo>
                    <a:cubicBezTo>
                      <a:pt x="256" y="28"/>
                      <a:pt x="253" y="30"/>
                      <a:pt x="251" y="28"/>
                    </a:cubicBezTo>
                    <a:cubicBezTo>
                      <a:pt x="250" y="27"/>
                      <a:pt x="244" y="4"/>
                      <a:pt x="238" y="2"/>
                    </a:cubicBezTo>
                    <a:cubicBezTo>
                      <a:pt x="233" y="0"/>
                      <a:pt x="227" y="5"/>
                      <a:pt x="222" y="12"/>
                    </a:cubicBezTo>
                    <a:cubicBezTo>
                      <a:pt x="219" y="14"/>
                      <a:pt x="217" y="17"/>
                      <a:pt x="215" y="20"/>
                    </a:cubicBezTo>
                    <a:cubicBezTo>
                      <a:pt x="208" y="29"/>
                      <a:pt x="201" y="35"/>
                      <a:pt x="193" y="28"/>
                    </a:cubicBezTo>
                    <a:cubicBezTo>
                      <a:pt x="192" y="27"/>
                      <a:pt x="193" y="24"/>
                      <a:pt x="193" y="22"/>
                    </a:cubicBezTo>
                    <a:cubicBezTo>
                      <a:pt x="193" y="19"/>
                      <a:pt x="195" y="17"/>
                      <a:pt x="193" y="15"/>
                    </a:cubicBezTo>
                    <a:cubicBezTo>
                      <a:pt x="181" y="13"/>
                      <a:pt x="181" y="13"/>
                      <a:pt x="181" y="13"/>
                    </a:cubicBezTo>
                    <a:cubicBezTo>
                      <a:pt x="161" y="19"/>
                      <a:pt x="141" y="29"/>
                      <a:pt x="125" y="43"/>
                    </a:cubicBezTo>
                    <a:cubicBezTo>
                      <a:pt x="118" y="50"/>
                      <a:pt x="120" y="67"/>
                      <a:pt x="113" y="74"/>
                    </a:cubicBezTo>
                    <a:cubicBezTo>
                      <a:pt x="113" y="74"/>
                      <a:pt x="112" y="74"/>
                      <a:pt x="110" y="75"/>
                    </a:cubicBezTo>
                    <a:cubicBezTo>
                      <a:pt x="110" y="75"/>
                      <a:pt x="109" y="75"/>
                      <a:pt x="108" y="75"/>
                    </a:cubicBezTo>
                    <a:cubicBezTo>
                      <a:pt x="108" y="75"/>
                      <a:pt x="107" y="75"/>
                      <a:pt x="107" y="76"/>
                    </a:cubicBezTo>
                    <a:cubicBezTo>
                      <a:pt x="107" y="76"/>
                      <a:pt x="106" y="76"/>
                      <a:pt x="106" y="76"/>
                    </a:cubicBezTo>
                    <a:cubicBezTo>
                      <a:pt x="103" y="77"/>
                      <a:pt x="100" y="78"/>
                      <a:pt x="100" y="78"/>
                    </a:cubicBezTo>
                    <a:cubicBezTo>
                      <a:pt x="100" y="78"/>
                      <a:pt x="97" y="87"/>
                      <a:pt x="97" y="89"/>
                    </a:cubicBezTo>
                    <a:cubicBezTo>
                      <a:pt x="97" y="89"/>
                      <a:pt x="97" y="89"/>
                      <a:pt x="97" y="89"/>
                    </a:cubicBezTo>
                    <a:cubicBezTo>
                      <a:pt x="64" y="121"/>
                      <a:pt x="32" y="72"/>
                      <a:pt x="12" y="130"/>
                    </a:cubicBezTo>
                    <a:cubicBezTo>
                      <a:pt x="9" y="142"/>
                      <a:pt x="0" y="157"/>
                      <a:pt x="2" y="162"/>
                    </a:cubicBezTo>
                    <a:cubicBezTo>
                      <a:pt x="5" y="174"/>
                      <a:pt x="22" y="196"/>
                      <a:pt x="30" y="206"/>
                    </a:cubicBezTo>
                    <a:cubicBezTo>
                      <a:pt x="32" y="205"/>
                      <a:pt x="35" y="204"/>
                      <a:pt x="39" y="205"/>
                    </a:cubicBezTo>
                    <a:cubicBezTo>
                      <a:pt x="55" y="209"/>
                      <a:pt x="69" y="235"/>
                      <a:pt x="86" y="242"/>
                    </a:cubicBezTo>
                    <a:cubicBezTo>
                      <a:pt x="101" y="247"/>
                      <a:pt x="132" y="245"/>
                      <a:pt x="146" y="241"/>
                    </a:cubicBezTo>
                    <a:cubicBezTo>
                      <a:pt x="165" y="236"/>
                      <a:pt x="182" y="233"/>
                      <a:pt x="181" y="233"/>
                    </a:cubicBezTo>
                    <a:cubicBezTo>
                      <a:pt x="180" y="225"/>
                      <a:pt x="165" y="214"/>
                      <a:pt x="180" y="205"/>
                    </a:cubicBezTo>
                    <a:cubicBezTo>
                      <a:pt x="196" y="195"/>
                      <a:pt x="224" y="208"/>
                      <a:pt x="238" y="199"/>
                    </a:cubicBezTo>
                    <a:cubicBezTo>
                      <a:pt x="246" y="193"/>
                      <a:pt x="237" y="176"/>
                      <a:pt x="254" y="179"/>
                    </a:cubicBezTo>
                    <a:cubicBezTo>
                      <a:pt x="262" y="181"/>
                      <a:pt x="269" y="192"/>
                      <a:pt x="277" y="192"/>
                    </a:cubicBezTo>
                    <a:cubicBezTo>
                      <a:pt x="289" y="192"/>
                      <a:pt x="290" y="178"/>
                      <a:pt x="297" y="175"/>
                    </a:cubicBezTo>
                    <a:cubicBezTo>
                      <a:pt x="308" y="171"/>
                      <a:pt x="308" y="184"/>
                      <a:pt x="317" y="171"/>
                    </a:cubicBezTo>
                    <a:cubicBezTo>
                      <a:pt x="322" y="163"/>
                      <a:pt x="323" y="147"/>
                      <a:pt x="330" y="141"/>
                    </a:cubicBezTo>
                    <a:cubicBezTo>
                      <a:pt x="348" y="125"/>
                      <a:pt x="368" y="145"/>
                      <a:pt x="385" y="145"/>
                    </a:cubicBezTo>
                    <a:cubicBezTo>
                      <a:pt x="394" y="145"/>
                      <a:pt x="405" y="133"/>
                      <a:pt x="413" y="134"/>
                    </a:cubicBezTo>
                    <a:cubicBezTo>
                      <a:pt x="430" y="137"/>
                      <a:pt x="427" y="158"/>
                      <a:pt x="439" y="164"/>
                    </a:cubicBezTo>
                    <a:cubicBezTo>
                      <a:pt x="440" y="165"/>
                      <a:pt x="443" y="164"/>
                      <a:pt x="444" y="163"/>
                    </a:cubicBezTo>
                    <a:cubicBezTo>
                      <a:pt x="446" y="163"/>
                      <a:pt x="448" y="162"/>
                      <a:pt x="450" y="162"/>
                    </a:cubicBezTo>
                    <a:cubicBezTo>
                      <a:pt x="467" y="160"/>
                      <a:pt x="470" y="159"/>
                      <a:pt x="471" y="155"/>
                    </a:cubicBezTo>
                    <a:cubicBezTo>
                      <a:pt x="472" y="152"/>
                      <a:pt x="470" y="146"/>
                      <a:pt x="476" y="134"/>
                    </a:cubicBezTo>
                    <a:cubicBezTo>
                      <a:pt x="482" y="121"/>
                      <a:pt x="492" y="121"/>
                      <a:pt x="498" y="102"/>
                    </a:cubicBezTo>
                    <a:cubicBezTo>
                      <a:pt x="501" y="91"/>
                      <a:pt x="511" y="79"/>
                      <a:pt x="511" y="69"/>
                    </a:cubicBezTo>
                    <a:cubicBezTo>
                      <a:pt x="497" y="63"/>
                      <a:pt x="479" y="64"/>
                      <a:pt x="465" y="52"/>
                    </a:cubicBezTo>
                    <a:cubicBezTo>
                      <a:pt x="465" y="52"/>
                      <a:pt x="461" y="39"/>
                      <a:pt x="461" y="3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4" name="Freeform 919"/>
              <p:cNvSpPr>
                <a:spLocks/>
              </p:cNvSpPr>
              <p:nvPr/>
            </p:nvSpPr>
            <p:spPr bwMode="auto">
              <a:xfrm>
                <a:off x="3098" y="3075"/>
                <a:ext cx="247" cy="366"/>
              </a:xfrm>
              <a:custGeom>
                <a:avLst/>
                <a:gdLst>
                  <a:gd name="T0" fmla="*/ 67 w 377"/>
                  <a:gd name="T1" fmla="*/ 4 h 559"/>
                  <a:gd name="T2" fmla="*/ 0 w 377"/>
                  <a:gd name="T3" fmla="*/ 35 h 559"/>
                  <a:gd name="T4" fmla="*/ 8 w 377"/>
                  <a:gd name="T5" fmla="*/ 78 h 559"/>
                  <a:gd name="T6" fmla="*/ 26 w 377"/>
                  <a:gd name="T7" fmla="*/ 89 h 559"/>
                  <a:gd name="T8" fmla="*/ 17 w 377"/>
                  <a:gd name="T9" fmla="*/ 89 h 559"/>
                  <a:gd name="T10" fmla="*/ 34 w 377"/>
                  <a:gd name="T11" fmla="*/ 117 h 559"/>
                  <a:gd name="T12" fmla="*/ 54 w 377"/>
                  <a:gd name="T13" fmla="*/ 123 h 559"/>
                  <a:gd name="T14" fmla="*/ 32 w 377"/>
                  <a:gd name="T15" fmla="*/ 125 h 559"/>
                  <a:gd name="T16" fmla="*/ 24 w 377"/>
                  <a:gd name="T17" fmla="*/ 135 h 559"/>
                  <a:gd name="T18" fmla="*/ 30 w 377"/>
                  <a:gd name="T19" fmla="*/ 158 h 559"/>
                  <a:gd name="T20" fmla="*/ 20 w 377"/>
                  <a:gd name="T21" fmla="*/ 169 h 559"/>
                  <a:gd name="T22" fmla="*/ 48 w 377"/>
                  <a:gd name="T23" fmla="*/ 165 h 559"/>
                  <a:gd name="T24" fmla="*/ 26 w 377"/>
                  <a:gd name="T25" fmla="*/ 230 h 559"/>
                  <a:gd name="T26" fmla="*/ 72 w 377"/>
                  <a:gd name="T27" fmla="*/ 276 h 559"/>
                  <a:gd name="T28" fmla="*/ 38 w 377"/>
                  <a:gd name="T29" fmla="*/ 276 h 559"/>
                  <a:gd name="T30" fmla="*/ 42 w 377"/>
                  <a:gd name="T31" fmla="*/ 282 h 559"/>
                  <a:gd name="T32" fmla="*/ 61 w 377"/>
                  <a:gd name="T33" fmla="*/ 332 h 559"/>
                  <a:gd name="T34" fmla="*/ 56 w 377"/>
                  <a:gd name="T35" fmla="*/ 329 h 559"/>
                  <a:gd name="T36" fmla="*/ 38 w 377"/>
                  <a:gd name="T37" fmla="*/ 338 h 559"/>
                  <a:gd name="T38" fmla="*/ 114 w 377"/>
                  <a:gd name="T39" fmla="*/ 400 h 559"/>
                  <a:gd name="T40" fmla="*/ 140 w 377"/>
                  <a:gd name="T41" fmla="*/ 423 h 559"/>
                  <a:gd name="T42" fmla="*/ 105 w 377"/>
                  <a:gd name="T43" fmla="*/ 438 h 559"/>
                  <a:gd name="T44" fmla="*/ 112 w 377"/>
                  <a:gd name="T45" fmla="*/ 456 h 559"/>
                  <a:gd name="T46" fmla="*/ 128 w 377"/>
                  <a:gd name="T47" fmla="*/ 487 h 559"/>
                  <a:gd name="T48" fmla="*/ 154 w 377"/>
                  <a:gd name="T49" fmla="*/ 500 h 559"/>
                  <a:gd name="T50" fmla="*/ 157 w 377"/>
                  <a:gd name="T51" fmla="*/ 540 h 559"/>
                  <a:gd name="T52" fmla="*/ 177 w 377"/>
                  <a:gd name="T53" fmla="*/ 516 h 559"/>
                  <a:gd name="T54" fmla="*/ 212 w 377"/>
                  <a:gd name="T55" fmla="*/ 506 h 559"/>
                  <a:gd name="T56" fmla="*/ 225 w 377"/>
                  <a:gd name="T57" fmla="*/ 514 h 559"/>
                  <a:gd name="T58" fmla="*/ 237 w 377"/>
                  <a:gd name="T59" fmla="*/ 493 h 559"/>
                  <a:gd name="T60" fmla="*/ 259 w 377"/>
                  <a:gd name="T61" fmla="*/ 497 h 559"/>
                  <a:gd name="T62" fmla="*/ 317 w 377"/>
                  <a:gd name="T63" fmla="*/ 487 h 559"/>
                  <a:gd name="T64" fmla="*/ 333 w 377"/>
                  <a:gd name="T65" fmla="*/ 467 h 559"/>
                  <a:gd name="T66" fmla="*/ 327 w 377"/>
                  <a:gd name="T67" fmla="*/ 458 h 559"/>
                  <a:gd name="T68" fmla="*/ 323 w 377"/>
                  <a:gd name="T69" fmla="*/ 456 h 559"/>
                  <a:gd name="T70" fmla="*/ 323 w 377"/>
                  <a:gd name="T71" fmla="*/ 425 h 559"/>
                  <a:gd name="T72" fmla="*/ 350 w 377"/>
                  <a:gd name="T73" fmla="*/ 417 h 559"/>
                  <a:gd name="T74" fmla="*/ 373 w 377"/>
                  <a:gd name="T75" fmla="*/ 378 h 559"/>
                  <a:gd name="T76" fmla="*/ 333 w 377"/>
                  <a:gd name="T77" fmla="*/ 344 h 559"/>
                  <a:gd name="T78" fmla="*/ 321 w 377"/>
                  <a:gd name="T79" fmla="*/ 278 h 559"/>
                  <a:gd name="T80" fmla="*/ 339 w 377"/>
                  <a:gd name="T81" fmla="*/ 269 h 559"/>
                  <a:gd name="T82" fmla="*/ 345 w 377"/>
                  <a:gd name="T83" fmla="*/ 248 h 559"/>
                  <a:gd name="T84" fmla="*/ 326 w 377"/>
                  <a:gd name="T85" fmla="*/ 217 h 559"/>
                  <a:gd name="T86" fmla="*/ 351 w 377"/>
                  <a:gd name="T87" fmla="*/ 207 h 559"/>
                  <a:gd name="T88" fmla="*/ 298 w 377"/>
                  <a:gd name="T89" fmla="*/ 217 h 559"/>
                  <a:gd name="T90" fmla="*/ 275 w 377"/>
                  <a:gd name="T91" fmla="*/ 197 h 559"/>
                  <a:gd name="T92" fmla="*/ 250 w 377"/>
                  <a:gd name="T93" fmla="*/ 194 h 559"/>
                  <a:gd name="T94" fmla="*/ 249 w 377"/>
                  <a:gd name="T95" fmla="*/ 184 h 559"/>
                  <a:gd name="T96" fmla="*/ 228 w 377"/>
                  <a:gd name="T97" fmla="*/ 169 h 559"/>
                  <a:gd name="T98" fmla="*/ 244 w 377"/>
                  <a:gd name="T99" fmla="*/ 160 h 559"/>
                  <a:gd name="T100" fmla="*/ 229 w 377"/>
                  <a:gd name="T101" fmla="*/ 152 h 559"/>
                  <a:gd name="T102" fmla="*/ 238 w 377"/>
                  <a:gd name="T103" fmla="*/ 129 h 559"/>
                  <a:gd name="T104" fmla="*/ 176 w 377"/>
                  <a:gd name="T105" fmla="*/ 91 h 559"/>
                  <a:gd name="T106" fmla="*/ 176 w 377"/>
                  <a:gd name="T107" fmla="*/ 67 h 559"/>
                  <a:gd name="T108" fmla="*/ 177 w 377"/>
                  <a:gd name="T109" fmla="*/ 57 h 559"/>
                  <a:gd name="T110" fmla="*/ 177 w 377"/>
                  <a:gd name="T111" fmla="*/ 55 h 559"/>
                  <a:gd name="T112" fmla="*/ 170 w 377"/>
                  <a:gd name="T113" fmla="*/ 59 h 559"/>
                  <a:gd name="T114" fmla="*/ 167 w 377"/>
                  <a:gd name="T115" fmla="*/ 54 h 559"/>
                  <a:gd name="T116" fmla="*/ 130 w 377"/>
                  <a:gd name="T117" fmla="*/ 11 h 559"/>
                  <a:gd name="T118" fmla="*/ 67 w 377"/>
                  <a:gd name="T119" fmla="*/ 4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77" h="559">
                    <a:moveTo>
                      <a:pt x="67" y="4"/>
                    </a:moveTo>
                    <a:cubicBezTo>
                      <a:pt x="40" y="17"/>
                      <a:pt x="26" y="32"/>
                      <a:pt x="0" y="35"/>
                    </a:cubicBezTo>
                    <a:cubicBezTo>
                      <a:pt x="13" y="59"/>
                      <a:pt x="8" y="57"/>
                      <a:pt x="8" y="78"/>
                    </a:cubicBezTo>
                    <a:cubicBezTo>
                      <a:pt x="8" y="88"/>
                      <a:pt x="28" y="79"/>
                      <a:pt x="26" y="89"/>
                    </a:cubicBezTo>
                    <a:cubicBezTo>
                      <a:pt x="25" y="94"/>
                      <a:pt x="18" y="88"/>
                      <a:pt x="17" y="89"/>
                    </a:cubicBezTo>
                    <a:cubicBezTo>
                      <a:pt x="9" y="94"/>
                      <a:pt x="19" y="108"/>
                      <a:pt x="34" y="117"/>
                    </a:cubicBezTo>
                    <a:cubicBezTo>
                      <a:pt x="41" y="121"/>
                      <a:pt x="46" y="121"/>
                      <a:pt x="54" y="123"/>
                    </a:cubicBezTo>
                    <a:cubicBezTo>
                      <a:pt x="54" y="142"/>
                      <a:pt x="33" y="120"/>
                      <a:pt x="32" y="125"/>
                    </a:cubicBezTo>
                    <a:cubicBezTo>
                      <a:pt x="29" y="135"/>
                      <a:pt x="27" y="130"/>
                      <a:pt x="24" y="135"/>
                    </a:cubicBezTo>
                    <a:cubicBezTo>
                      <a:pt x="21" y="142"/>
                      <a:pt x="32" y="155"/>
                      <a:pt x="30" y="158"/>
                    </a:cubicBezTo>
                    <a:cubicBezTo>
                      <a:pt x="26" y="165"/>
                      <a:pt x="12" y="158"/>
                      <a:pt x="20" y="169"/>
                    </a:cubicBezTo>
                    <a:cubicBezTo>
                      <a:pt x="29" y="167"/>
                      <a:pt x="39" y="162"/>
                      <a:pt x="48" y="165"/>
                    </a:cubicBezTo>
                    <a:cubicBezTo>
                      <a:pt x="45" y="190"/>
                      <a:pt x="25" y="210"/>
                      <a:pt x="26" y="230"/>
                    </a:cubicBezTo>
                    <a:cubicBezTo>
                      <a:pt x="26" y="238"/>
                      <a:pt x="74" y="270"/>
                      <a:pt x="72" y="276"/>
                    </a:cubicBezTo>
                    <a:cubicBezTo>
                      <a:pt x="63" y="294"/>
                      <a:pt x="42" y="270"/>
                      <a:pt x="38" y="276"/>
                    </a:cubicBezTo>
                    <a:cubicBezTo>
                      <a:pt x="36" y="278"/>
                      <a:pt x="41" y="280"/>
                      <a:pt x="42" y="282"/>
                    </a:cubicBezTo>
                    <a:cubicBezTo>
                      <a:pt x="48" y="289"/>
                      <a:pt x="73" y="322"/>
                      <a:pt x="61" y="332"/>
                    </a:cubicBezTo>
                    <a:cubicBezTo>
                      <a:pt x="60" y="333"/>
                      <a:pt x="57" y="330"/>
                      <a:pt x="56" y="329"/>
                    </a:cubicBezTo>
                    <a:cubicBezTo>
                      <a:pt x="46" y="324"/>
                      <a:pt x="44" y="331"/>
                      <a:pt x="38" y="338"/>
                    </a:cubicBezTo>
                    <a:cubicBezTo>
                      <a:pt x="38" y="353"/>
                      <a:pt x="100" y="391"/>
                      <a:pt x="114" y="400"/>
                    </a:cubicBezTo>
                    <a:cubicBezTo>
                      <a:pt x="117" y="402"/>
                      <a:pt x="144" y="418"/>
                      <a:pt x="140" y="423"/>
                    </a:cubicBezTo>
                    <a:cubicBezTo>
                      <a:pt x="131" y="436"/>
                      <a:pt x="113" y="426"/>
                      <a:pt x="105" y="438"/>
                    </a:cubicBezTo>
                    <a:cubicBezTo>
                      <a:pt x="103" y="439"/>
                      <a:pt x="116" y="442"/>
                      <a:pt x="112" y="456"/>
                    </a:cubicBezTo>
                    <a:cubicBezTo>
                      <a:pt x="126" y="458"/>
                      <a:pt x="120" y="483"/>
                      <a:pt x="128" y="487"/>
                    </a:cubicBezTo>
                    <a:cubicBezTo>
                      <a:pt x="136" y="491"/>
                      <a:pt x="147" y="489"/>
                      <a:pt x="154" y="500"/>
                    </a:cubicBezTo>
                    <a:cubicBezTo>
                      <a:pt x="156" y="503"/>
                      <a:pt x="157" y="522"/>
                      <a:pt x="157" y="540"/>
                    </a:cubicBezTo>
                    <a:cubicBezTo>
                      <a:pt x="178" y="559"/>
                      <a:pt x="171" y="520"/>
                      <a:pt x="177" y="516"/>
                    </a:cubicBezTo>
                    <a:cubicBezTo>
                      <a:pt x="183" y="513"/>
                      <a:pt x="205" y="505"/>
                      <a:pt x="212" y="506"/>
                    </a:cubicBezTo>
                    <a:cubicBezTo>
                      <a:pt x="213" y="506"/>
                      <a:pt x="223" y="519"/>
                      <a:pt x="225" y="514"/>
                    </a:cubicBezTo>
                    <a:cubicBezTo>
                      <a:pt x="228" y="506"/>
                      <a:pt x="225" y="498"/>
                      <a:pt x="237" y="493"/>
                    </a:cubicBezTo>
                    <a:cubicBezTo>
                      <a:pt x="243" y="491"/>
                      <a:pt x="253" y="498"/>
                      <a:pt x="259" y="497"/>
                    </a:cubicBezTo>
                    <a:cubicBezTo>
                      <a:pt x="274" y="495"/>
                      <a:pt x="307" y="474"/>
                      <a:pt x="317" y="487"/>
                    </a:cubicBezTo>
                    <a:cubicBezTo>
                      <a:pt x="321" y="478"/>
                      <a:pt x="336" y="481"/>
                      <a:pt x="333" y="467"/>
                    </a:cubicBezTo>
                    <a:cubicBezTo>
                      <a:pt x="333" y="463"/>
                      <a:pt x="330" y="461"/>
                      <a:pt x="327" y="458"/>
                    </a:cubicBezTo>
                    <a:cubicBezTo>
                      <a:pt x="326" y="457"/>
                      <a:pt x="324" y="458"/>
                      <a:pt x="323" y="456"/>
                    </a:cubicBezTo>
                    <a:cubicBezTo>
                      <a:pt x="322" y="454"/>
                      <a:pt x="323" y="426"/>
                      <a:pt x="323" y="425"/>
                    </a:cubicBezTo>
                    <a:cubicBezTo>
                      <a:pt x="330" y="411"/>
                      <a:pt x="342" y="421"/>
                      <a:pt x="350" y="417"/>
                    </a:cubicBezTo>
                    <a:cubicBezTo>
                      <a:pt x="355" y="414"/>
                      <a:pt x="377" y="383"/>
                      <a:pt x="373" y="378"/>
                    </a:cubicBezTo>
                    <a:cubicBezTo>
                      <a:pt x="365" y="363"/>
                      <a:pt x="341" y="357"/>
                      <a:pt x="333" y="344"/>
                    </a:cubicBezTo>
                    <a:cubicBezTo>
                      <a:pt x="326" y="333"/>
                      <a:pt x="309" y="290"/>
                      <a:pt x="321" y="278"/>
                    </a:cubicBezTo>
                    <a:cubicBezTo>
                      <a:pt x="321" y="278"/>
                      <a:pt x="339" y="269"/>
                      <a:pt x="339" y="269"/>
                    </a:cubicBezTo>
                    <a:cubicBezTo>
                      <a:pt x="342" y="266"/>
                      <a:pt x="341" y="253"/>
                      <a:pt x="345" y="248"/>
                    </a:cubicBezTo>
                    <a:cubicBezTo>
                      <a:pt x="333" y="240"/>
                      <a:pt x="323" y="229"/>
                      <a:pt x="326" y="217"/>
                    </a:cubicBezTo>
                    <a:cubicBezTo>
                      <a:pt x="328" y="208"/>
                      <a:pt x="357" y="211"/>
                      <a:pt x="351" y="207"/>
                    </a:cubicBezTo>
                    <a:cubicBezTo>
                      <a:pt x="297" y="164"/>
                      <a:pt x="322" y="207"/>
                      <a:pt x="298" y="217"/>
                    </a:cubicBezTo>
                    <a:cubicBezTo>
                      <a:pt x="291" y="220"/>
                      <a:pt x="284" y="198"/>
                      <a:pt x="275" y="197"/>
                    </a:cubicBezTo>
                    <a:cubicBezTo>
                      <a:pt x="271" y="197"/>
                      <a:pt x="252" y="197"/>
                      <a:pt x="250" y="194"/>
                    </a:cubicBezTo>
                    <a:cubicBezTo>
                      <a:pt x="248" y="191"/>
                      <a:pt x="250" y="187"/>
                      <a:pt x="249" y="184"/>
                    </a:cubicBezTo>
                    <a:cubicBezTo>
                      <a:pt x="248" y="182"/>
                      <a:pt x="217" y="179"/>
                      <a:pt x="228" y="169"/>
                    </a:cubicBezTo>
                    <a:cubicBezTo>
                      <a:pt x="230" y="166"/>
                      <a:pt x="252" y="171"/>
                      <a:pt x="244" y="160"/>
                    </a:cubicBezTo>
                    <a:cubicBezTo>
                      <a:pt x="244" y="160"/>
                      <a:pt x="229" y="152"/>
                      <a:pt x="229" y="152"/>
                    </a:cubicBezTo>
                    <a:cubicBezTo>
                      <a:pt x="228" y="142"/>
                      <a:pt x="250" y="142"/>
                      <a:pt x="238" y="129"/>
                    </a:cubicBezTo>
                    <a:cubicBezTo>
                      <a:pt x="227" y="117"/>
                      <a:pt x="179" y="113"/>
                      <a:pt x="176" y="91"/>
                    </a:cubicBezTo>
                    <a:cubicBezTo>
                      <a:pt x="175" y="85"/>
                      <a:pt x="175" y="74"/>
                      <a:pt x="176" y="67"/>
                    </a:cubicBezTo>
                    <a:cubicBezTo>
                      <a:pt x="176" y="64"/>
                      <a:pt x="177" y="60"/>
                      <a:pt x="177" y="57"/>
                    </a:cubicBezTo>
                    <a:cubicBezTo>
                      <a:pt x="177" y="57"/>
                      <a:pt x="178" y="55"/>
                      <a:pt x="177" y="55"/>
                    </a:cubicBezTo>
                    <a:cubicBezTo>
                      <a:pt x="175" y="56"/>
                      <a:pt x="173" y="60"/>
                      <a:pt x="170" y="59"/>
                    </a:cubicBezTo>
                    <a:cubicBezTo>
                      <a:pt x="168" y="59"/>
                      <a:pt x="168" y="56"/>
                      <a:pt x="167" y="54"/>
                    </a:cubicBezTo>
                    <a:cubicBezTo>
                      <a:pt x="158" y="35"/>
                      <a:pt x="141" y="29"/>
                      <a:pt x="130" y="11"/>
                    </a:cubicBezTo>
                    <a:cubicBezTo>
                      <a:pt x="120" y="11"/>
                      <a:pt x="76" y="0"/>
                      <a:pt x="67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5" name="Freeform 920"/>
              <p:cNvSpPr>
                <a:spLocks/>
              </p:cNvSpPr>
              <p:nvPr/>
            </p:nvSpPr>
            <p:spPr bwMode="auto">
              <a:xfrm>
                <a:off x="5403" y="979"/>
                <a:ext cx="1" cy="4"/>
              </a:xfrm>
              <a:custGeom>
                <a:avLst/>
                <a:gdLst>
                  <a:gd name="T0" fmla="*/ 1 w 2"/>
                  <a:gd name="T1" fmla="*/ 7 h 7"/>
                  <a:gd name="T2" fmla="*/ 1 w 2"/>
                  <a:gd name="T3" fmla="*/ 0 h 7"/>
                  <a:gd name="T4" fmla="*/ 1 w 2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7">
                    <a:moveTo>
                      <a:pt x="1" y="7"/>
                    </a:moveTo>
                    <a:cubicBezTo>
                      <a:pt x="1" y="4"/>
                      <a:pt x="2" y="2"/>
                      <a:pt x="1" y="0"/>
                    </a:cubicBezTo>
                    <a:cubicBezTo>
                      <a:pt x="0" y="3"/>
                      <a:pt x="0" y="5"/>
                      <a:pt x="1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6" name="Freeform 921"/>
              <p:cNvSpPr>
                <a:spLocks/>
              </p:cNvSpPr>
              <p:nvPr/>
            </p:nvSpPr>
            <p:spPr bwMode="auto">
              <a:xfrm>
                <a:off x="6045" y="1186"/>
                <a:ext cx="12" cy="5"/>
              </a:xfrm>
              <a:custGeom>
                <a:avLst/>
                <a:gdLst>
                  <a:gd name="T0" fmla="*/ 0 w 19"/>
                  <a:gd name="T1" fmla="*/ 4 h 7"/>
                  <a:gd name="T2" fmla="*/ 19 w 19"/>
                  <a:gd name="T3" fmla="*/ 7 h 7"/>
                  <a:gd name="T4" fmla="*/ 0 w 19"/>
                  <a:gd name="T5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7">
                    <a:moveTo>
                      <a:pt x="0" y="4"/>
                    </a:moveTo>
                    <a:cubicBezTo>
                      <a:pt x="6" y="5"/>
                      <a:pt x="13" y="6"/>
                      <a:pt x="19" y="7"/>
                    </a:cubicBezTo>
                    <a:cubicBezTo>
                      <a:pt x="11" y="3"/>
                      <a:pt x="4" y="0"/>
                      <a:pt x="0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7" name="Freeform 922"/>
              <p:cNvSpPr>
                <a:spLocks/>
              </p:cNvSpPr>
              <p:nvPr/>
            </p:nvSpPr>
            <p:spPr bwMode="auto">
              <a:xfrm>
                <a:off x="6042" y="1189"/>
                <a:ext cx="60" cy="34"/>
              </a:xfrm>
              <a:custGeom>
                <a:avLst/>
                <a:gdLst>
                  <a:gd name="T0" fmla="*/ 1 w 91"/>
                  <a:gd name="T1" fmla="*/ 2 h 52"/>
                  <a:gd name="T2" fmla="*/ 6 w 91"/>
                  <a:gd name="T3" fmla="*/ 8 h 52"/>
                  <a:gd name="T4" fmla="*/ 29 w 91"/>
                  <a:gd name="T5" fmla="*/ 7 h 52"/>
                  <a:gd name="T6" fmla="*/ 65 w 91"/>
                  <a:gd name="T7" fmla="*/ 51 h 52"/>
                  <a:gd name="T8" fmla="*/ 64 w 91"/>
                  <a:gd name="T9" fmla="*/ 50 h 52"/>
                  <a:gd name="T10" fmla="*/ 89 w 91"/>
                  <a:gd name="T11" fmla="*/ 43 h 52"/>
                  <a:gd name="T12" fmla="*/ 84 w 91"/>
                  <a:gd name="T13" fmla="*/ 33 h 52"/>
                  <a:gd name="T14" fmla="*/ 82 w 91"/>
                  <a:gd name="T15" fmla="*/ 29 h 52"/>
                  <a:gd name="T16" fmla="*/ 87 w 91"/>
                  <a:gd name="T17" fmla="*/ 18 h 52"/>
                  <a:gd name="T18" fmla="*/ 39 w 91"/>
                  <a:gd name="T19" fmla="*/ 7 h 52"/>
                  <a:gd name="T20" fmla="*/ 48 w 91"/>
                  <a:gd name="T21" fmla="*/ 19 h 52"/>
                  <a:gd name="T22" fmla="*/ 23 w 91"/>
                  <a:gd name="T23" fmla="*/ 3 h 52"/>
                  <a:gd name="T24" fmla="*/ 4 w 91"/>
                  <a:gd name="T25" fmla="*/ 0 h 52"/>
                  <a:gd name="T26" fmla="*/ 1 w 91"/>
                  <a:gd name="T27" fmla="*/ 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1" h="52">
                    <a:moveTo>
                      <a:pt x="1" y="2"/>
                    </a:moveTo>
                    <a:cubicBezTo>
                      <a:pt x="0" y="4"/>
                      <a:pt x="5" y="7"/>
                      <a:pt x="6" y="8"/>
                    </a:cubicBezTo>
                    <a:cubicBezTo>
                      <a:pt x="13" y="10"/>
                      <a:pt x="24" y="3"/>
                      <a:pt x="29" y="7"/>
                    </a:cubicBezTo>
                    <a:cubicBezTo>
                      <a:pt x="52" y="29"/>
                      <a:pt x="24" y="25"/>
                      <a:pt x="65" y="51"/>
                    </a:cubicBezTo>
                    <a:cubicBezTo>
                      <a:pt x="64" y="50"/>
                      <a:pt x="64" y="50"/>
                      <a:pt x="64" y="50"/>
                    </a:cubicBezTo>
                    <a:cubicBezTo>
                      <a:pt x="69" y="52"/>
                      <a:pt x="89" y="48"/>
                      <a:pt x="89" y="43"/>
                    </a:cubicBezTo>
                    <a:cubicBezTo>
                      <a:pt x="88" y="41"/>
                      <a:pt x="86" y="35"/>
                      <a:pt x="84" y="33"/>
                    </a:cubicBezTo>
                    <a:cubicBezTo>
                      <a:pt x="84" y="32"/>
                      <a:pt x="81" y="30"/>
                      <a:pt x="82" y="29"/>
                    </a:cubicBezTo>
                    <a:cubicBezTo>
                      <a:pt x="83" y="27"/>
                      <a:pt x="91" y="23"/>
                      <a:pt x="87" y="18"/>
                    </a:cubicBezTo>
                    <a:cubicBezTo>
                      <a:pt x="85" y="16"/>
                      <a:pt x="40" y="7"/>
                      <a:pt x="39" y="7"/>
                    </a:cubicBezTo>
                    <a:cubicBezTo>
                      <a:pt x="34" y="10"/>
                      <a:pt x="51" y="19"/>
                      <a:pt x="48" y="19"/>
                    </a:cubicBezTo>
                    <a:cubicBezTo>
                      <a:pt x="46" y="19"/>
                      <a:pt x="34" y="9"/>
                      <a:pt x="23" y="3"/>
                    </a:cubicBezTo>
                    <a:cubicBezTo>
                      <a:pt x="17" y="2"/>
                      <a:pt x="10" y="1"/>
                      <a:pt x="4" y="0"/>
                    </a:cubicBezTo>
                    <a:cubicBezTo>
                      <a:pt x="3" y="0"/>
                      <a:pt x="2" y="1"/>
                      <a:pt x="1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8" name="Freeform 923"/>
              <p:cNvSpPr>
                <a:spLocks/>
              </p:cNvSpPr>
              <p:nvPr/>
            </p:nvSpPr>
            <p:spPr bwMode="auto">
              <a:xfrm>
                <a:off x="5918" y="923"/>
                <a:ext cx="1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09" name="Freeform 924"/>
              <p:cNvSpPr>
                <a:spLocks/>
              </p:cNvSpPr>
              <p:nvPr/>
            </p:nvSpPr>
            <p:spPr bwMode="auto">
              <a:xfrm>
                <a:off x="5906" y="917"/>
                <a:ext cx="29" cy="13"/>
              </a:xfrm>
              <a:custGeom>
                <a:avLst/>
                <a:gdLst>
                  <a:gd name="T0" fmla="*/ 18 w 43"/>
                  <a:gd name="T1" fmla="*/ 10 h 20"/>
                  <a:gd name="T2" fmla="*/ 18 w 43"/>
                  <a:gd name="T3" fmla="*/ 10 h 20"/>
                  <a:gd name="T4" fmla="*/ 20 w 43"/>
                  <a:gd name="T5" fmla="*/ 10 h 20"/>
                  <a:gd name="T6" fmla="*/ 18 w 43"/>
                  <a:gd name="T7" fmla="*/ 10 h 20"/>
                  <a:gd name="T8" fmla="*/ 35 w 43"/>
                  <a:gd name="T9" fmla="*/ 9 h 20"/>
                  <a:gd name="T10" fmla="*/ 42 w 43"/>
                  <a:gd name="T11" fmla="*/ 5 h 20"/>
                  <a:gd name="T12" fmla="*/ 18 w 43"/>
                  <a:gd name="T13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20">
                    <a:moveTo>
                      <a:pt x="18" y="10"/>
                    </a:moveTo>
                    <a:cubicBezTo>
                      <a:pt x="18" y="10"/>
                      <a:pt x="18" y="10"/>
                      <a:pt x="18" y="10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19" y="10"/>
                      <a:pt x="19" y="10"/>
                      <a:pt x="18" y="10"/>
                    </a:cubicBezTo>
                    <a:cubicBezTo>
                      <a:pt x="27" y="20"/>
                      <a:pt x="30" y="11"/>
                      <a:pt x="35" y="9"/>
                    </a:cubicBezTo>
                    <a:cubicBezTo>
                      <a:pt x="36" y="9"/>
                      <a:pt x="43" y="6"/>
                      <a:pt x="42" y="5"/>
                    </a:cubicBezTo>
                    <a:cubicBezTo>
                      <a:pt x="37" y="1"/>
                      <a:pt x="0" y="0"/>
                      <a:pt x="18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0" name="Freeform 925"/>
              <p:cNvSpPr>
                <a:spLocks/>
              </p:cNvSpPr>
              <p:nvPr/>
            </p:nvSpPr>
            <p:spPr bwMode="auto">
              <a:xfrm>
                <a:off x="5918" y="899"/>
                <a:ext cx="27" cy="21"/>
              </a:xfrm>
              <a:custGeom>
                <a:avLst/>
                <a:gdLst>
                  <a:gd name="T0" fmla="*/ 33 w 41"/>
                  <a:gd name="T1" fmla="*/ 19 h 32"/>
                  <a:gd name="T2" fmla="*/ 4 w 41"/>
                  <a:gd name="T3" fmla="*/ 22 h 32"/>
                  <a:gd name="T4" fmla="*/ 4 w 41"/>
                  <a:gd name="T5" fmla="*/ 21 h 32"/>
                  <a:gd name="T6" fmla="*/ 33 w 41"/>
                  <a:gd name="T7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32">
                    <a:moveTo>
                      <a:pt x="33" y="19"/>
                    </a:moveTo>
                    <a:cubicBezTo>
                      <a:pt x="41" y="0"/>
                      <a:pt x="8" y="8"/>
                      <a:pt x="4" y="22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0" y="30"/>
                      <a:pt x="27" y="32"/>
                      <a:pt x="33" y="1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1" name="Freeform 926"/>
              <p:cNvSpPr>
                <a:spLocks/>
              </p:cNvSpPr>
              <p:nvPr/>
            </p:nvSpPr>
            <p:spPr bwMode="auto">
              <a:xfrm>
                <a:off x="3669" y="1820"/>
                <a:ext cx="12" cy="14"/>
              </a:xfrm>
              <a:custGeom>
                <a:avLst/>
                <a:gdLst>
                  <a:gd name="T0" fmla="*/ 8 w 18"/>
                  <a:gd name="T1" fmla="*/ 6 h 21"/>
                  <a:gd name="T2" fmla="*/ 7 w 18"/>
                  <a:gd name="T3" fmla="*/ 6 h 21"/>
                  <a:gd name="T4" fmla="*/ 5 w 18"/>
                  <a:gd name="T5" fmla="*/ 14 h 21"/>
                  <a:gd name="T6" fmla="*/ 8 w 18"/>
                  <a:gd name="T7" fmla="*/ 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1">
                    <a:moveTo>
                      <a:pt x="8" y="6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1" y="0"/>
                      <a:pt x="0" y="10"/>
                      <a:pt x="5" y="14"/>
                    </a:cubicBezTo>
                    <a:cubicBezTo>
                      <a:pt x="15" y="21"/>
                      <a:pt x="18" y="12"/>
                      <a:pt x="8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2" name="Freeform 927"/>
              <p:cNvSpPr>
                <a:spLocks/>
              </p:cNvSpPr>
              <p:nvPr/>
            </p:nvSpPr>
            <p:spPr bwMode="auto">
              <a:xfrm>
                <a:off x="3737" y="1850"/>
                <a:ext cx="1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3" name="Freeform 928"/>
              <p:cNvSpPr>
                <a:spLocks/>
              </p:cNvSpPr>
              <p:nvPr/>
            </p:nvSpPr>
            <p:spPr bwMode="auto">
              <a:xfrm>
                <a:off x="3731" y="1848"/>
                <a:ext cx="13" cy="9"/>
              </a:xfrm>
              <a:custGeom>
                <a:avLst/>
                <a:gdLst>
                  <a:gd name="T0" fmla="*/ 12 w 19"/>
                  <a:gd name="T1" fmla="*/ 10 h 13"/>
                  <a:gd name="T2" fmla="*/ 8 w 19"/>
                  <a:gd name="T3" fmla="*/ 2 h 13"/>
                  <a:gd name="T4" fmla="*/ 12 w 19"/>
                  <a:gd name="T5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13">
                    <a:moveTo>
                      <a:pt x="12" y="10"/>
                    </a:moveTo>
                    <a:cubicBezTo>
                      <a:pt x="19" y="13"/>
                      <a:pt x="13" y="3"/>
                      <a:pt x="8" y="2"/>
                    </a:cubicBezTo>
                    <a:cubicBezTo>
                      <a:pt x="0" y="0"/>
                      <a:pt x="7" y="7"/>
                      <a:pt x="12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4" name="Freeform 929"/>
              <p:cNvSpPr>
                <a:spLocks/>
              </p:cNvSpPr>
              <p:nvPr/>
            </p:nvSpPr>
            <p:spPr bwMode="auto">
              <a:xfrm>
                <a:off x="3958" y="944"/>
                <a:ext cx="1" cy="2"/>
              </a:xfrm>
              <a:custGeom>
                <a:avLst/>
                <a:gdLst>
                  <a:gd name="T0" fmla="*/ 1 w 1"/>
                  <a:gd name="T1" fmla="*/ 0 h 3"/>
                  <a:gd name="T2" fmla="*/ 1 w 1"/>
                  <a:gd name="T3" fmla="*/ 0 h 3"/>
                  <a:gd name="T4" fmla="*/ 0 w 1"/>
                  <a:gd name="T5" fmla="*/ 3 h 3"/>
                  <a:gd name="T6" fmla="*/ 1 w 1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3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2"/>
                      <a:pt x="0" y="3"/>
                    </a:cubicBezTo>
                    <a:cubicBezTo>
                      <a:pt x="1" y="2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5" name="Freeform 930"/>
              <p:cNvSpPr>
                <a:spLocks/>
              </p:cNvSpPr>
              <p:nvPr/>
            </p:nvSpPr>
            <p:spPr bwMode="auto">
              <a:xfrm>
                <a:off x="3659" y="1845"/>
                <a:ext cx="6" cy="7"/>
              </a:xfrm>
              <a:custGeom>
                <a:avLst/>
                <a:gdLst>
                  <a:gd name="T0" fmla="*/ 4 w 8"/>
                  <a:gd name="T1" fmla="*/ 11 h 11"/>
                  <a:gd name="T2" fmla="*/ 3 w 8"/>
                  <a:gd name="T3" fmla="*/ 5 h 11"/>
                  <a:gd name="T4" fmla="*/ 4 w 8"/>
                  <a:gd name="T5" fmla="*/ 6 h 11"/>
                  <a:gd name="T6" fmla="*/ 4 w 8"/>
                  <a:gd name="T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4" y="11"/>
                    </a:moveTo>
                    <a:cubicBezTo>
                      <a:pt x="8" y="10"/>
                      <a:pt x="4" y="5"/>
                      <a:pt x="3" y="5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0" y="0"/>
                      <a:pt x="0" y="11"/>
                      <a:pt x="4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6" name="Freeform 931"/>
              <p:cNvSpPr>
                <a:spLocks/>
              </p:cNvSpPr>
              <p:nvPr/>
            </p:nvSpPr>
            <p:spPr bwMode="auto">
              <a:xfrm>
                <a:off x="3629" y="1850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0 h 1"/>
                  <a:gd name="T4" fmla="*/ 0 w 1"/>
                  <a:gd name="T5" fmla="*/ 0 h 1"/>
                  <a:gd name="T6" fmla="*/ 1 w 1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lnTo>
                      <a:pt x="1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7" name="Freeform 932"/>
              <p:cNvSpPr>
                <a:spLocks/>
              </p:cNvSpPr>
              <p:nvPr/>
            </p:nvSpPr>
            <p:spPr bwMode="auto">
              <a:xfrm>
                <a:off x="3589" y="1866"/>
                <a:ext cx="4" cy="5"/>
              </a:xfrm>
              <a:custGeom>
                <a:avLst/>
                <a:gdLst>
                  <a:gd name="T0" fmla="*/ 3 w 7"/>
                  <a:gd name="T1" fmla="*/ 5 h 8"/>
                  <a:gd name="T2" fmla="*/ 6 w 7"/>
                  <a:gd name="T3" fmla="*/ 1 h 8"/>
                  <a:gd name="T4" fmla="*/ 3 w 7"/>
                  <a:gd name="T5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3" y="5"/>
                    </a:moveTo>
                    <a:cubicBezTo>
                      <a:pt x="5" y="8"/>
                      <a:pt x="7" y="4"/>
                      <a:pt x="6" y="1"/>
                    </a:cubicBezTo>
                    <a:cubicBezTo>
                      <a:pt x="4" y="0"/>
                      <a:pt x="0" y="3"/>
                      <a:pt x="3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8" name="Freeform 933"/>
              <p:cNvSpPr>
                <a:spLocks/>
              </p:cNvSpPr>
              <p:nvPr/>
            </p:nvSpPr>
            <p:spPr bwMode="auto">
              <a:xfrm>
                <a:off x="3592" y="1867"/>
                <a:ext cx="1" cy="0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19" name="Freeform 934"/>
              <p:cNvSpPr>
                <a:spLocks/>
              </p:cNvSpPr>
              <p:nvPr/>
            </p:nvSpPr>
            <p:spPr bwMode="auto">
              <a:xfrm>
                <a:off x="3624" y="1846"/>
                <a:ext cx="10" cy="12"/>
              </a:xfrm>
              <a:custGeom>
                <a:avLst/>
                <a:gdLst>
                  <a:gd name="T0" fmla="*/ 10 w 15"/>
                  <a:gd name="T1" fmla="*/ 11 h 18"/>
                  <a:gd name="T2" fmla="*/ 13 w 15"/>
                  <a:gd name="T3" fmla="*/ 8 h 18"/>
                  <a:gd name="T4" fmla="*/ 9 w 15"/>
                  <a:gd name="T5" fmla="*/ 6 h 18"/>
                  <a:gd name="T6" fmla="*/ 9 w 15"/>
                  <a:gd name="T7" fmla="*/ 7 h 18"/>
                  <a:gd name="T8" fmla="*/ 8 w 15"/>
                  <a:gd name="T9" fmla="*/ 6 h 18"/>
                  <a:gd name="T10" fmla="*/ 9 w 15"/>
                  <a:gd name="T11" fmla="*/ 6 h 18"/>
                  <a:gd name="T12" fmla="*/ 10 w 15"/>
                  <a:gd name="T13" fmla="*/ 1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8">
                    <a:moveTo>
                      <a:pt x="10" y="11"/>
                    </a:moveTo>
                    <a:cubicBezTo>
                      <a:pt x="11" y="10"/>
                      <a:pt x="15" y="8"/>
                      <a:pt x="13" y="8"/>
                    </a:cubicBezTo>
                    <a:cubicBezTo>
                      <a:pt x="11" y="7"/>
                      <a:pt x="10" y="8"/>
                      <a:pt x="9" y="6"/>
                    </a:cubicBezTo>
                    <a:cubicBezTo>
                      <a:pt x="9" y="6"/>
                      <a:pt x="9" y="7"/>
                      <a:pt x="9" y="7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8" y="6"/>
                      <a:pt x="9" y="6"/>
                      <a:pt x="9" y="6"/>
                    </a:cubicBezTo>
                    <a:cubicBezTo>
                      <a:pt x="8" y="0"/>
                      <a:pt x="0" y="18"/>
                      <a:pt x="10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0" name="Freeform 935"/>
              <p:cNvSpPr>
                <a:spLocks/>
              </p:cNvSpPr>
              <p:nvPr/>
            </p:nvSpPr>
            <p:spPr bwMode="auto">
              <a:xfrm>
                <a:off x="3659" y="1820"/>
                <a:ext cx="17" cy="9"/>
              </a:xfrm>
              <a:custGeom>
                <a:avLst/>
                <a:gdLst>
                  <a:gd name="T0" fmla="*/ 5 w 26"/>
                  <a:gd name="T1" fmla="*/ 2 h 14"/>
                  <a:gd name="T2" fmla="*/ 7 w 26"/>
                  <a:gd name="T3" fmla="*/ 2 h 14"/>
                  <a:gd name="T4" fmla="*/ 7 w 26"/>
                  <a:gd name="T5" fmla="*/ 1 h 14"/>
                  <a:gd name="T6" fmla="*/ 5 w 26"/>
                  <a:gd name="T7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14">
                    <a:moveTo>
                      <a:pt x="5" y="2"/>
                    </a:moveTo>
                    <a:cubicBezTo>
                      <a:pt x="0" y="14"/>
                      <a:pt x="26" y="4"/>
                      <a:pt x="7" y="2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5" y="0"/>
                      <a:pt x="5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1" name="Freeform 936"/>
              <p:cNvSpPr>
                <a:spLocks/>
              </p:cNvSpPr>
              <p:nvPr/>
            </p:nvSpPr>
            <p:spPr bwMode="auto">
              <a:xfrm>
                <a:off x="3578" y="1844"/>
                <a:ext cx="1" cy="0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2" name="Freeform 937"/>
              <p:cNvSpPr>
                <a:spLocks/>
              </p:cNvSpPr>
              <p:nvPr/>
            </p:nvSpPr>
            <p:spPr bwMode="auto">
              <a:xfrm>
                <a:off x="3574" y="1838"/>
                <a:ext cx="9" cy="21"/>
              </a:xfrm>
              <a:custGeom>
                <a:avLst/>
                <a:gdLst>
                  <a:gd name="T0" fmla="*/ 11 w 14"/>
                  <a:gd name="T1" fmla="*/ 17 h 33"/>
                  <a:gd name="T2" fmla="*/ 6 w 14"/>
                  <a:gd name="T3" fmla="*/ 9 h 33"/>
                  <a:gd name="T4" fmla="*/ 11 w 14"/>
                  <a:gd name="T5" fmla="*/ 1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33">
                    <a:moveTo>
                      <a:pt x="11" y="17"/>
                    </a:moveTo>
                    <a:cubicBezTo>
                      <a:pt x="11" y="15"/>
                      <a:pt x="8" y="11"/>
                      <a:pt x="6" y="9"/>
                    </a:cubicBezTo>
                    <a:cubicBezTo>
                      <a:pt x="0" y="0"/>
                      <a:pt x="14" y="33"/>
                      <a:pt x="11" y="1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3" name="Freeform 938"/>
              <p:cNvSpPr>
                <a:spLocks/>
              </p:cNvSpPr>
              <p:nvPr/>
            </p:nvSpPr>
            <p:spPr bwMode="auto">
              <a:xfrm>
                <a:off x="3147" y="2288"/>
                <a:ext cx="190" cy="95"/>
              </a:xfrm>
              <a:custGeom>
                <a:avLst/>
                <a:gdLst>
                  <a:gd name="T0" fmla="*/ 12 w 290"/>
                  <a:gd name="T1" fmla="*/ 108 h 145"/>
                  <a:gd name="T2" fmla="*/ 36 w 290"/>
                  <a:gd name="T3" fmla="*/ 77 h 145"/>
                  <a:gd name="T4" fmla="*/ 44 w 290"/>
                  <a:gd name="T5" fmla="*/ 86 h 145"/>
                  <a:gd name="T6" fmla="*/ 60 w 290"/>
                  <a:gd name="T7" fmla="*/ 81 h 145"/>
                  <a:gd name="T8" fmla="*/ 73 w 290"/>
                  <a:gd name="T9" fmla="*/ 82 h 145"/>
                  <a:gd name="T10" fmla="*/ 48 w 290"/>
                  <a:gd name="T11" fmla="*/ 95 h 145"/>
                  <a:gd name="T12" fmla="*/ 18 w 290"/>
                  <a:gd name="T13" fmla="*/ 117 h 145"/>
                  <a:gd name="T14" fmla="*/ 18 w 290"/>
                  <a:gd name="T15" fmla="*/ 117 h 145"/>
                  <a:gd name="T16" fmla="*/ 18 w 290"/>
                  <a:gd name="T17" fmla="*/ 117 h 145"/>
                  <a:gd name="T18" fmla="*/ 278 w 290"/>
                  <a:gd name="T19" fmla="*/ 127 h 145"/>
                  <a:gd name="T20" fmla="*/ 285 w 290"/>
                  <a:gd name="T21" fmla="*/ 56 h 145"/>
                  <a:gd name="T22" fmla="*/ 267 w 290"/>
                  <a:gd name="T23" fmla="*/ 45 h 145"/>
                  <a:gd name="T24" fmla="*/ 263 w 290"/>
                  <a:gd name="T25" fmla="*/ 31 h 145"/>
                  <a:gd name="T26" fmla="*/ 256 w 290"/>
                  <a:gd name="T27" fmla="*/ 32 h 145"/>
                  <a:gd name="T28" fmla="*/ 217 w 290"/>
                  <a:gd name="T29" fmla="*/ 33 h 145"/>
                  <a:gd name="T30" fmla="*/ 211 w 290"/>
                  <a:gd name="T31" fmla="*/ 34 h 145"/>
                  <a:gd name="T32" fmla="*/ 160 w 290"/>
                  <a:gd name="T33" fmla="*/ 11 h 145"/>
                  <a:gd name="T34" fmla="*/ 154 w 290"/>
                  <a:gd name="T35" fmla="*/ 2 h 145"/>
                  <a:gd name="T36" fmla="*/ 145 w 290"/>
                  <a:gd name="T37" fmla="*/ 6 h 145"/>
                  <a:gd name="T38" fmla="*/ 145 w 290"/>
                  <a:gd name="T39" fmla="*/ 10 h 145"/>
                  <a:gd name="T40" fmla="*/ 136 w 290"/>
                  <a:gd name="T41" fmla="*/ 13 h 145"/>
                  <a:gd name="T42" fmla="*/ 140 w 290"/>
                  <a:gd name="T43" fmla="*/ 50 h 145"/>
                  <a:gd name="T44" fmla="*/ 81 w 290"/>
                  <a:gd name="T45" fmla="*/ 46 h 145"/>
                  <a:gd name="T46" fmla="*/ 87 w 290"/>
                  <a:gd name="T47" fmla="*/ 40 h 145"/>
                  <a:gd name="T48" fmla="*/ 120 w 290"/>
                  <a:gd name="T49" fmla="*/ 1 h 145"/>
                  <a:gd name="T50" fmla="*/ 116 w 290"/>
                  <a:gd name="T51" fmla="*/ 0 h 145"/>
                  <a:gd name="T52" fmla="*/ 104 w 290"/>
                  <a:gd name="T53" fmla="*/ 17 h 145"/>
                  <a:gd name="T54" fmla="*/ 68 w 290"/>
                  <a:gd name="T55" fmla="*/ 48 h 145"/>
                  <a:gd name="T56" fmla="*/ 28 w 290"/>
                  <a:gd name="T57" fmla="*/ 46 h 145"/>
                  <a:gd name="T58" fmla="*/ 25 w 290"/>
                  <a:gd name="T59" fmla="*/ 80 h 145"/>
                  <a:gd name="T60" fmla="*/ 0 w 290"/>
                  <a:gd name="T61" fmla="*/ 112 h 145"/>
                  <a:gd name="T62" fmla="*/ 4 w 290"/>
                  <a:gd name="T63" fmla="*/ 113 h 145"/>
                  <a:gd name="T64" fmla="*/ 12 w 290"/>
                  <a:gd name="T65" fmla="*/ 10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0" h="145">
                    <a:moveTo>
                      <a:pt x="12" y="108"/>
                    </a:moveTo>
                    <a:cubicBezTo>
                      <a:pt x="20" y="102"/>
                      <a:pt x="35" y="77"/>
                      <a:pt x="36" y="77"/>
                    </a:cubicBezTo>
                    <a:cubicBezTo>
                      <a:pt x="43" y="74"/>
                      <a:pt x="39" y="85"/>
                      <a:pt x="44" y="86"/>
                    </a:cubicBezTo>
                    <a:cubicBezTo>
                      <a:pt x="47" y="87"/>
                      <a:pt x="53" y="79"/>
                      <a:pt x="60" y="81"/>
                    </a:cubicBezTo>
                    <a:cubicBezTo>
                      <a:pt x="61" y="81"/>
                      <a:pt x="73" y="82"/>
                      <a:pt x="73" y="82"/>
                    </a:cubicBezTo>
                    <a:cubicBezTo>
                      <a:pt x="71" y="86"/>
                      <a:pt x="55" y="91"/>
                      <a:pt x="48" y="95"/>
                    </a:cubicBezTo>
                    <a:cubicBezTo>
                      <a:pt x="41" y="98"/>
                      <a:pt x="29" y="109"/>
                      <a:pt x="18" y="117"/>
                    </a:cubicBezTo>
                    <a:cubicBezTo>
                      <a:pt x="18" y="117"/>
                      <a:pt x="18" y="117"/>
                      <a:pt x="18" y="117"/>
                    </a:cubicBezTo>
                    <a:cubicBezTo>
                      <a:pt x="18" y="117"/>
                      <a:pt x="18" y="117"/>
                      <a:pt x="18" y="117"/>
                    </a:cubicBezTo>
                    <a:cubicBezTo>
                      <a:pt x="89" y="132"/>
                      <a:pt x="222" y="145"/>
                      <a:pt x="278" y="127"/>
                    </a:cubicBezTo>
                    <a:cubicBezTo>
                      <a:pt x="260" y="94"/>
                      <a:pt x="290" y="66"/>
                      <a:pt x="285" y="56"/>
                    </a:cubicBezTo>
                    <a:cubicBezTo>
                      <a:pt x="281" y="46"/>
                      <a:pt x="273" y="49"/>
                      <a:pt x="267" y="45"/>
                    </a:cubicBezTo>
                    <a:cubicBezTo>
                      <a:pt x="263" y="42"/>
                      <a:pt x="267" y="34"/>
                      <a:pt x="263" y="31"/>
                    </a:cubicBezTo>
                    <a:cubicBezTo>
                      <a:pt x="261" y="30"/>
                      <a:pt x="258" y="32"/>
                      <a:pt x="256" y="32"/>
                    </a:cubicBezTo>
                    <a:cubicBezTo>
                      <a:pt x="254" y="32"/>
                      <a:pt x="219" y="33"/>
                      <a:pt x="217" y="33"/>
                    </a:cubicBezTo>
                    <a:cubicBezTo>
                      <a:pt x="215" y="33"/>
                      <a:pt x="213" y="35"/>
                      <a:pt x="211" y="34"/>
                    </a:cubicBezTo>
                    <a:cubicBezTo>
                      <a:pt x="199" y="26"/>
                      <a:pt x="176" y="19"/>
                      <a:pt x="160" y="11"/>
                    </a:cubicBezTo>
                    <a:cubicBezTo>
                      <a:pt x="157" y="9"/>
                      <a:pt x="158" y="3"/>
                      <a:pt x="154" y="2"/>
                    </a:cubicBezTo>
                    <a:cubicBezTo>
                      <a:pt x="151" y="1"/>
                      <a:pt x="149" y="6"/>
                      <a:pt x="145" y="6"/>
                    </a:cubicBezTo>
                    <a:cubicBezTo>
                      <a:pt x="145" y="7"/>
                      <a:pt x="145" y="9"/>
                      <a:pt x="145" y="10"/>
                    </a:cubicBezTo>
                    <a:cubicBezTo>
                      <a:pt x="143" y="16"/>
                      <a:pt x="138" y="9"/>
                      <a:pt x="136" y="13"/>
                    </a:cubicBezTo>
                    <a:cubicBezTo>
                      <a:pt x="134" y="21"/>
                      <a:pt x="146" y="46"/>
                      <a:pt x="140" y="50"/>
                    </a:cubicBezTo>
                    <a:cubicBezTo>
                      <a:pt x="126" y="59"/>
                      <a:pt x="81" y="49"/>
                      <a:pt x="81" y="46"/>
                    </a:cubicBezTo>
                    <a:cubicBezTo>
                      <a:pt x="82" y="44"/>
                      <a:pt x="85" y="41"/>
                      <a:pt x="87" y="40"/>
                    </a:cubicBezTo>
                    <a:cubicBezTo>
                      <a:pt x="98" y="37"/>
                      <a:pt x="109" y="20"/>
                      <a:pt x="120" y="1"/>
                    </a:cubicBezTo>
                    <a:cubicBezTo>
                      <a:pt x="118" y="0"/>
                      <a:pt x="119" y="1"/>
                      <a:pt x="116" y="0"/>
                    </a:cubicBezTo>
                    <a:cubicBezTo>
                      <a:pt x="113" y="6"/>
                      <a:pt x="108" y="12"/>
                      <a:pt x="104" y="17"/>
                    </a:cubicBezTo>
                    <a:cubicBezTo>
                      <a:pt x="94" y="27"/>
                      <a:pt x="83" y="44"/>
                      <a:pt x="68" y="48"/>
                    </a:cubicBezTo>
                    <a:cubicBezTo>
                      <a:pt x="60" y="50"/>
                      <a:pt x="34" y="42"/>
                      <a:pt x="28" y="46"/>
                    </a:cubicBezTo>
                    <a:cubicBezTo>
                      <a:pt x="19" y="54"/>
                      <a:pt x="28" y="70"/>
                      <a:pt x="25" y="80"/>
                    </a:cubicBezTo>
                    <a:cubicBezTo>
                      <a:pt x="21" y="94"/>
                      <a:pt x="12" y="104"/>
                      <a:pt x="0" y="112"/>
                    </a:cubicBezTo>
                    <a:cubicBezTo>
                      <a:pt x="1" y="113"/>
                      <a:pt x="3" y="113"/>
                      <a:pt x="4" y="113"/>
                    </a:cubicBezTo>
                    <a:cubicBezTo>
                      <a:pt x="7" y="112"/>
                      <a:pt x="10" y="110"/>
                      <a:pt x="12" y="10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4" name="Freeform 939"/>
              <p:cNvSpPr>
                <a:spLocks/>
              </p:cNvSpPr>
              <p:nvPr/>
            </p:nvSpPr>
            <p:spPr bwMode="auto">
              <a:xfrm>
                <a:off x="3604" y="2017"/>
                <a:ext cx="1" cy="6"/>
              </a:xfrm>
              <a:custGeom>
                <a:avLst/>
                <a:gdLst>
                  <a:gd name="T0" fmla="*/ 2 w 2"/>
                  <a:gd name="T1" fmla="*/ 3 h 8"/>
                  <a:gd name="T2" fmla="*/ 0 w 2"/>
                  <a:gd name="T3" fmla="*/ 0 h 8"/>
                  <a:gd name="T4" fmla="*/ 0 w 2"/>
                  <a:gd name="T5" fmla="*/ 1 h 8"/>
                  <a:gd name="T6" fmla="*/ 0 w 2"/>
                  <a:gd name="T7" fmla="*/ 2 h 8"/>
                  <a:gd name="T8" fmla="*/ 0 w 2"/>
                  <a:gd name="T9" fmla="*/ 3 h 8"/>
                  <a:gd name="T10" fmla="*/ 0 w 2"/>
                  <a:gd name="T11" fmla="*/ 3 h 8"/>
                  <a:gd name="T12" fmla="*/ 0 w 2"/>
                  <a:gd name="T13" fmla="*/ 4 h 8"/>
                  <a:gd name="T14" fmla="*/ 1 w 2"/>
                  <a:gd name="T15" fmla="*/ 6 h 8"/>
                  <a:gd name="T16" fmla="*/ 2 w 2"/>
                  <a:gd name="T17" fmla="*/ 8 h 8"/>
                  <a:gd name="T18" fmla="*/ 2 w 2"/>
                  <a:gd name="T1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8">
                    <a:moveTo>
                      <a:pt x="2" y="3"/>
                    </a:moveTo>
                    <a:cubicBezTo>
                      <a:pt x="1" y="2"/>
                      <a:pt x="1" y="1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5"/>
                      <a:pt x="0" y="5"/>
                      <a:pt x="1" y="6"/>
                    </a:cubicBezTo>
                    <a:cubicBezTo>
                      <a:pt x="1" y="7"/>
                      <a:pt x="1" y="7"/>
                      <a:pt x="2" y="8"/>
                    </a:cubicBezTo>
                    <a:cubicBezTo>
                      <a:pt x="1" y="6"/>
                      <a:pt x="2" y="4"/>
                      <a:pt x="2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5" name="Freeform 940"/>
              <p:cNvSpPr>
                <a:spLocks noEditPoints="1"/>
              </p:cNvSpPr>
              <p:nvPr/>
            </p:nvSpPr>
            <p:spPr bwMode="auto">
              <a:xfrm>
                <a:off x="3598" y="541"/>
                <a:ext cx="3208" cy="2945"/>
              </a:xfrm>
              <a:custGeom>
                <a:avLst/>
                <a:gdLst>
                  <a:gd name="T0" fmla="*/ 4552 w 4892"/>
                  <a:gd name="T1" fmla="*/ 337 h 4491"/>
                  <a:gd name="T2" fmla="*/ 4137 w 4892"/>
                  <a:gd name="T3" fmla="*/ 475 h 4491"/>
                  <a:gd name="T4" fmla="*/ 4442 w 4892"/>
                  <a:gd name="T5" fmla="*/ 765 h 4491"/>
                  <a:gd name="T6" fmla="*/ 3867 w 4892"/>
                  <a:gd name="T7" fmla="*/ 1002 h 4491"/>
                  <a:gd name="T8" fmla="*/ 4048 w 4892"/>
                  <a:gd name="T9" fmla="*/ 422 h 4491"/>
                  <a:gd name="T10" fmla="*/ 3504 w 4892"/>
                  <a:gd name="T11" fmla="*/ 359 h 4491"/>
                  <a:gd name="T12" fmla="*/ 3354 w 4892"/>
                  <a:gd name="T13" fmla="*/ 600 h 4491"/>
                  <a:gd name="T14" fmla="*/ 2306 w 4892"/>
                  <a:gd name="T15" fmla="*/ 767 h 4491"/>
                  <a:gd name="T16" fmla="*/ 1811 w 4892"/>
                  <a:gd name="T17" fmla="*/ 932 h 4491"/>
                  <a:gd name="T18" fmla="*/ 1533 w 4892"/>
                  <a:gd name="T19" fmla="*/ 1012 h 4491"/>
                  <a:gd name="T20" fmla="*/ 847 w 4892"/>
                  <a:gd name="T21" fmla="*/ 1240 h 4491"/>
                  <a:gd name="T22" fmla="*/ 635 w 4892"/>
                  <a:gd name="T23" fmla="*/ 1200 h 4491"/>
                  <a:gd name="T24" fmla="*/ 499 w 4892"/>
                  <a:gd name="T25" fmla="*/ 948 h 4491"/>
                  <a:gd name="T26" fmla="*/ 982 w 4892"/>
                  <a:gd name="T27" fmla="*/ 752 h 4491"/>
                  <a:gd name="T28" fmla="*/ 425 w 4892"/>
                  <a:gd name="T29" fmla="*/ 529 h 4491"/>
                  <a:gd name="T30" fmla="*/ 221 w 4892"/>
                  <a:gd name="T31" fmla="*/ 1179 h 4491"/>
                  <a:gd name="T32" fmla="*/ 101 w 4892"/>
                  <a:gd name="T33" fmla="*/ 2025 h 4491"/>
                  <a:gd name="T34" fmla="*/ 48 w 4892"/>
                  <a:gd name="T35" fmla="*/ 2105 h 4491"/>
                  <a:gd name="T36" fmla="*/ 50 w 4892"/>
                  <a:gd name="T37" fmla="*/ 2303 h 4491"/>
                  <a:gd name="T38" fmla="*/ 319 w 4892"/>
                  <a:gd name="T39" fmla="*/ 2709 h 4491"/>
                  <a:gd name="T40" fmla="*/ 732 w 4892"/>
                  <a:gd name="T41" fmla="*/ 3323 h 4491"/>
                  <a:gd name="T42" fmla="*/ 1059 w 4892"/>
                  <a:gd name="T43" fmla="*/ 3744 h 4491"/>
                  <a:gd name="T44" fmla="*/ 876 w 4892"/>
                  <a:gd name="T45" fmla="*/ 4018 h 4491"/>
                  <a:gd name="T46" fmla="*/ 1803 w 4892"/>
                  <a:gd name="T47" fmla="*/ 4229 h 4491"/>
                  <a:gd name="T48" fmla="*/ 1917 w 4892"/>
                  <a:gd name="T49" fmla="*/ 3870 h 4491"/>
                  <a:gd name="T50" fmla="*/ 2038 w 4892"/>
                  <a:gd name="T51" fmla="*/ 3207 h 4491"/>
                  <a:gd name="T52" fmla="*/ 2790 w 4892"/>
                  <a:gd name="T53" fmla="*/ 3268 h 4491"/>
                  <a:gd name="T54" fmla="*/ 3090 w 4892"/>
                  <a:gd name="T55" fmla="*/ 2843 h 4491"/>
                  <a:gd name="T56" fmla="*/ 3909 w 4892"/>
                  <a:gd name="T57" fmla="*/ 2795 h 4491"/>
                  <a:gd name="T58" fmla="*/ 4367 w 4892"/>
                  <a:gd name="T59" fmla="*/ 2793 h 4491"/>
                  <a:gd name="T60" fmla="*/ 3931 w 4892"/>
                  <a:gd name="T61" fmla="*/ 825 h 4491"/>
                  <a:gd name="T62" fmla="*/ 707 w 4892"/>
                  <a:gd name="T63" fmla="*/ 796 h 4491"/>
                  <a:gd name="T64" fmla="*/ 712 w 4892"/>
                  <a:gd name="T65" fmla="*/ 1491 h 4491"/>
                  <a:gd name="T66" fmla="*/ 543 w 4892"/>
                  <a:gd name="T67" fmla="*/ 1147 h 4491"/>
                  <a:gd name="T68" fmla="*/ 501 w 4892"/>
                  <a:gd name="T69" fmla="*/ 1125 h 4491"/>
                  <a:gd name="T70" fmla="*/ 485 w 4892"/>
                  <a:gd name="T71" fmla="*/ 878 h 4491"/>
                  <a:gd name="T72" fmla="*/ 436 w 4892"/>
                  <a:gd name="T73" fmla="*/ 985 h 4491"/>
                  <a:gd name="T74" fmla="*/ 413 w 4892"/>
                  <a:gd name="T75" fmla="*/ 1085 h 4491"/>
                  <a:gd name="T76" fmla="*/ 446 w 4892"/>
                  <a:gd name="T77" fmla="*/ 1195 h 4491"/>
                  <a:gd name="T78" fmla="*/ 333 w 4892"/>
                  <a:gd name="T79" fmla="*/ 1075 h 4491"/>
                  <a:gd name="T80" fmla="*/ 315 w 4892"/>
                  <a:gd name="T81" fmla="*/ 1467 h 4491"/>
                  <a:gd name="T82" fmla="*/ 298 w 4892"/>
                  <a:gd name="T83" fmla="*/ 1271 h 4491"/>
                  <a:gd name="T84" fmla="*/ 378 w 4892"/>
                  <a:gd name="T85" fmla="*/ 1272 h 4491"/>
                  <a:gd name="T86" fmla="*/ 373 w 4892"/>
                  <a:gd name="T87" fmla="*/ 1353 h 4491"/>
                  <a:gd name="T88" fmla="*/ 374 w 4892"/>
                  <a:gd name="T89" fmla="*/ 2240 h 4491"/>
                  <a:gd name="T90" fmla="*/ 282 w 4892"/>
                  <a:gd name="T91" fmla="*/ 1914 h 4491"/>
                  <a:gd name="T92" fmla="*/ 289 w 4892"/>
                  <a:gd name="T93" fmla="*/ 1773 h 4491"/>
                  <a:gd name="T94" fmla="*/ 512 w 4892"/>
                  <a:gd name="T95" fmla="*/ 2382 h 4491"/>
                  <a:gd name="T96" fmla="*/ 529 w 4892"/>
                  <a:gd name="T97" fmla="*/ 1514 h 4491"/>
                  <a:gd name="T98" fmla="*/ 755 w 4892"/>
                  <a:gd name="T99" fmla="*/ 1873 h 4491"/>
                  <a:gd name="T100" fmla="*/ 736 w 4892"/>
                  <a:gd name="T101" fmla="*/ 1828 h 4491"/>
                  <a:gd name="T102" fmla="*/ 591 w 4892"/>
                  <a:gd name="T103" fmla="*/ 1637 h 4491"/>
                  <a:gd name="T104" fmla="*/ 694 w 4892"/>
                  <a:gd name="T105" fmla="*/ 1711 h 4491"/>
                  <a:gd name="T106" fmla="*/ 635 w 4892"/>
                  <a:gd name="T107" fmla="*/ 1590 h 4491"/>
                  <a:gd name="T108" fmla="*/ 811 w 4892"/>
                  <a:gd name="T109" fmla="*/ 1836 h 4491"/>
                  <a:gd name="T110" fmla="*/ 854 w 4892"/>
                  <a:gd name="T111" fmla="*/ 1647 h 4491"/>
                  <a:gd name="T112" fmla="*/ 906 w 4892"/>
                  <a:gd name="T113" fmla="*/ 2215 h 4491"/>
                  <a:gd name="T114" fmla="*/ 960 w 4892"/>
                  <a:gd name="T115" fmla="*/ 2203 h 4491"/>
                  <a:gd name="T116" fmla="*/ 964 w 4892"/>
                  <a:gd name="T117" fmla="*/ 2123 h 4491"/>
                  <a:gd name="T118" fmla="*/ 1033 w 4892"/>
                  <a:gd name="T119" fmla="*/ 1889 h 4491"/>
                  <a:gd name="T120" fmla="*/ 1345 w 4892"/>
                  <a:gd name="T121" fmla="*/ 3840 h 4491"/>
                  <a:gd name="T122" fmla="*/ 3711 w 4892"/>
                  <a:gd name="T123" fmla="*/ 1947 h 4491"/>
                  <a:gd name="T124" fmla="*/ 4645 w 4892"/>
                  <a:gd name="T125" fmla="*/ 2984 h 4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92" h="4491">
                    <a:moveTo>
                      <a:pt x="4892" y="447"/>
                    </a:moveTo>
                    <a:cubicBezTo>
                      <a:pt x="4887" y="435"/>
                      <a:pt x="4885" y="416"/>
                      <a:pt x="4884" y="408"/>
                    </a:cubicBezTo>
                    <a:cubicBezTo>
                      <a:pt x="4884" y="405"/>
                      <a:pt x="4877" y="400"/>
                      <a:pt x="4878" y="398"/>
                    </a:cubicBezTo>
                    <a:cubicBezTo>
                      <a:pt x="4880" y="391"/>
                      <a:pt x="4886" y="385"/>
                      <a:pt x="4892" y="379"/>
                    </a:cubicBezTo>
                    <a:cubicBezTo>
                      <a:pt x="4892" y="340"/>
                      <a:pt x="4892" y="340"/>
                      <a:pt x="4892" y="340"/>
                    </a:cubicBezTo>
                    <a:cubicBezTo>
                      <a:pt x="4889" y="335"/>
                      <a:pt x="4887" y="331"/>
                      <a:pt x="4888" y="327"/>
                    </a:cubicBezTo>
                    <a:cubicBezTo>
                      <a:pt x="4888" y="325"/>
                      <a:pt x="4890" y="323"/>
                      <a:pt x="4892" y="322"/>
                    </a:cubicBezTo>
                    <a:cubicBezTo>
                      <a:pt x="4892" y="210"/>
                      <a:pt x="4892" y="210"/>
                      <a:pt x="4892" y="210"/>
                    </a:cubicBezTo>
                    <a:cubicBezTo>
                      <a:pt x="4873" y="212"/>
                      <a:pt x="4855" y="215"/>
                      <a:pt x="4844" y="214"/>
                    </a:cubicBezTo>
                    <a:cubicBezTo>
                      <a:pt x="4836" y="214"/>
                      <a:pt x="4820" y="206"/>
                      <a:pt x="4811" y="203"/>
                    </a:cubicBezTo>
                    <a:cubicBezTo>
                      <a:pt x="4801" y="199"/>
                      <a:pt x="4809" y="192"/>
                      <a:pt x="4803" y="188"/>
                    </a:cubicBezTo>
                    <a:cubicBezTo>
                      <a:pt x="4794" y="182"/>
                      <a:pt x="4783" y="178"/>
                      <a:pt x="4774" y="172"/>
                    </a:cubicBezTo>
                    <a:cubicBezTo>
                      <a:pt x="4770" y="169"/>
                      <a:pt x="4747" y="161"/>
                      <a:pt x="4748" y="156"/>
                    </a:cubicBezTo>
                    <a:cubicBezTo>
                      <a:pt x="4749" y="153"/>
                      <a:pt x="4756" y="152"/>
                      <a:pt x="4759" y="152"/>
                    </a:cubicBezTo>
                    <a:cubicBezTo>
                      <a:pt x="4772" y="150"/>
                      <a:pt x="4755" y="156"/>
                      <a:pt x="4758" y="158"/>
                    </a:cubicBezTo>
                    <a:cubicBezTo>
                      <a:pt x="4764" y="162"/>
                      <a:pt x="4768" y="160"/>
                      <a:pt x="4768" y="153"/>
                    </a:cubicBezTo>
                    <a:cubicBezTo>
                      <a:pt x="4768" y="152"/>
                      <a:pt x="4767" y="151"/>
                      <a:pt x="4766" y="150"/>
                    </a:cubicBezTo>
                    <a:cubicBezTo>
                      <a:pt x="4742" y="140"/>
                      <a:pt x="4714" y="138"/>
                      <a:pt x="4689" y="128"/>
                    </a:cubicBezTo>
                    <a:cubicBezTo>
                      <a:pt x="4674" y="123"/>
                      <a:pt x="4661" y="107"/>
                      <a:pt x="4646" y="104"/>
                    </a:cubicBezTo>
                    <a:cubicBezTo>
                      <a:pt x="4604" y="95"/>
                      <a:pt x="4558" y="101"/>
                      <a:pt x="4525" y="101"/>
                    </a:cubicBezTo>
                    <a:cubicBezTo>
                      <a:pt x="4514" y="101"/>
                      <a:pt x="4500" y="125"/>
                      <a:pt x="4491" y="130"/>
                    </a:cubicBezTo>
                    <a:cubicBezTo>
                      <a:pt x="4483" y="134"/>
                      <a:pt x="4469" y="126"/>
                      <a:pt x="4465" y="130"/>
                    </a:cubicBezTo>
                    <a:cubicBezTo>
                      <a:pt x="4462" y="132"/>
                      <a:pt x="4469" y="133"/>
                      <a:pt x="4469" y="135"/>
                    </a:cubicBezTo>
                    <a:cubicBezTo>
                      <a:pt x="4468" y="140"/>
                      <a:pt x="4450" y="147"/>
                      <a:pt x="4461" y="152"/>
                    </a:cubicBezTo>
                    <a:cubicBezTo>
                      <a:pt x="4476" y="160"/>
                      <a:pt x="4492" y="141"/>
                      <a:pt x="4510" y="146"/>
                    </a:cubicBezTo>
                    <a:cubicBezTo>
                      <a:pt x="4522" y="149"/>
                      <a:pt x="4541" y="169"/>
                      <a:pt x="4529" y="181"/>
                    </a:cubicBezTo>
                    <a:cubicBezTo>
                      <a:pt x="4491" y="219"/>
                      <a:pt x="4447" y="166"/>
                      <a:pt x="4419" y="157"/>
                    </a:cubicBezTo>
                    <a:cubicBezTo>
                      <a:pt x="4402" y="151"/>
                      <a:pt x="4369" y="164"/>
                      <a:pt x="4354" y="172"/>
                    </a:cubicBezTo>
                    <a:cubicBezTo>
                      <a:pt x="4349" y="174"/>
                      <a:pt x="4339" y="175"/>
                      <a:pt x="4336" y="179"/>
                    </a:cubicBezTo>
                    <a:cubicBezTo>
                      <a:pt x="4334" y="180"/>
                      <a:pt x="4342" y="185"/>
                      <a:pt x="4343" y="187"/>
                    </a:cubicBezTo>
                    <a:cubicBezTo>
                      <a:pt x="4348" y="199"/>
                      <a:pt x="4351" y="210"/>
                      <a:pt x="4359" y="221"/>
                    </a:cubicBezTo>
                    <a:cubicBezTo>
                      <a:pt x="4362" y="226"/>
                      <a:pt x="4354" y="231"/>
                      <a:pt x="4360" y="235"/>
                    </a:cubicBezTo>
                    <a:cubicBezTo>
                      <a:pt x="4379" y="247"/>
                      <a:pt x="4419" y="251"/>
                      <a:pt x="4434" y="259"/>
                    </a:cubicBezTo>
                    <a:cubicBezTo>
                      <a:pt x="4446" y="265"/>
                      <a:pt x="4453" y="279"/>
                      <a:pt x="4470" y="279"/>
                    </a:cubicBezTo>
                    <a:cubicBezTo>
                      <a:pt x="4473" y="279"/>
                      <a:pt x="4457" y="274"/>
                      <a:pt x="4467" y="274"/>
                    </a:cubicBezTo>
                    <a:cubicBezTo>
                      <a:pt x="4475" y="274"/>
                      <a:pt x="4481" y="284"/>
                      <a:pt x="4490" y="282"/>
                    </a:cubicBezTo>
                    <a:cubicBezTo>
                      <a:pt x="4491" y="282"/>
                      <a:pt x="4503" y="268"/>
                      <a:pt x="4511" y="267"/>
                    </a:cubicBezTo>
                    <a:cubicBezTo>
                      <a:pt x="4512" y="267"/>
                      <a:pt x="4513" y="267"/>
                      <a:pt x="4513" y="267"/>
                    </a:cubicBezTo>
                    <a:cubicBezTo>
                      <a:pt x="4517" y="269"/>
                      <a:pt x="4500" y="278"/>
                      <a:pt x="4508" y="286"/>
                    </a:cubicBezTo>
                    <a:cubicBezTo>
                      <a:pt x="4509" y="288"/>
                      <a:pt x="4535" y="280"/>
                      <a:pt x="4541" y="288"/>
                    </a:cubicBezTo>
                    <a:cubicBezTo>
                      <a:pt x="4552" y="301"/>
                      <a:pt x="4521" y="311"/>
                      <a:pt x="4550" y="321"/>
                    </a:cubicBezTo>
                    <a:cubicBezTo>
                      <a:pt x="4567" y="328"/>
                      <a:pt x="4535" y="314"/>
                      <a:pt x="4553" y="310"/>
                    </a:cubicBezTo>
                    <a:cubicBezTo>
                      <a:pt x="4555" y="310"/>
                      <a:pt x="4558" y="309"/>
                      <a:pt x="4560" y="311"/>
                    </a:cubicBezTo>
                    <a:cubicBezTo>
                      <a:pt x="4567" y="317"/>
                      <a:pt x="4555" y="327"/>
                      <a:pt x="4552" y="337"/>
                    </a:cubicBezTo>
                    <a:cubicBezTo>
                      <a:pt x="4552" y="338"/>
                      <a:pt x="4551" y="342"/>
                      <a:pt x="4553" y="342"/>
                    </a:cubicBezTo>
                    <a:cubicBezTo>
                      <a:pt x="4555" y="343"/>
                      <a:pt x="4556" y="341"/>
                      <a:pt x="4557" y="340"/>
                    </a:cubicBezTo>
                    <a:cubicBezTo>
                      <a:pt x="4568" y="328"/>
                      <a:pt x="4580" y="345"/>
                      <a:pt x="4593" y="333"/>
                    </a:cubicBezTo>
                    <a:cubicBezTo>
                      <a:pt x="4594" y="332"/>
                      <a:pt x="4576" y="327"/>
                      <a:pt x="4589" y="326"/>
                    </a:cubicBezTo>
                    <a:cubicBezTo>
                      <a:pt x="4594" y="326"/>
                      <a:pt x="4599" y="334"/>
                      <a:pt x="4604" y="330"/>
                    </a:cubicBezTo>
                    <a:cubicBezTo>
                      <a:pt x="4611" y="325"/>
                      <a:pt x="4617" y="329"/>
                      <a:pt x="4609" y="332"/>
                    </a:cubicBezTo>
                    <a:cubicBezTo>
                      <a:pt x="4608" y="333"/>
                      <a:pt x="4604" y="332"/>
                      <a:pt x="4604" y="333"/>
                    </a:cubicBezTo>
                    <a:cubicBezTo>
                      <a:pt x="4605" y="334"/>
                      <a:pt x="4611" y="335"/>
                      <a:pt x="4607" y="338"/>
                    </a:cubicBezTo>
                    <a:cubicBezTo>
                      <a:pt x="4595" y="346"/>
                      <a:pt x="4526" y="345"/>
                      <a:pt x="4508" y="331"/>
                    </a:cubicBezTo>
                    <a:cubicBezTo>
                      <a:pt x="4495" y="322"/>
                      <a:pt x="4509" y="309"/>
                      <a:pt x="4486" y="303"/>
                    </a:cubicBezTo>
                    <a:cubicBezTo>
                      <a:pt x="4473" y="299"/>
                      <a:pt x="4437" y="295"/>
                      <a:pt x="4424" y="298"/>
                    </a:cubicBezTo>
                    <a:cubicBezTo>
                      <a:pt x="4419" y="300"/>
                      <a:pt x="4420" y="318"/>
                      <a:pt x="4417" y="316"/>
                    </a:cubicBezTo>
                    <a:cubicBezTo>
                      <a:pt x="4411" y="314"/>
                      <a:pt x="4422" y="300"/>
                      <a:pt x="4416" y="297"/>
                    </a:cubicBezTo>
                    <a:cubicBezTo>
                      <a:pt x="4395" y="288"/>
                      <a:pt x="4350" y="299"/>
                      <a:pt x="4342" y="292"/>
                    </a:cubicBezTo>
                    <a:cubicBezTo>
                      <a:pt x="4324" y="277"/>
                      <a:pt x="4280" y="289"/>
                      <a:pt x="4267" y="266"/>
                    </a:cubicBezTo>
                    <a:cubicBezTo>
                      <a:pt x="4258" y="250"/>
                      <a:pt x="4296" y="254"/>
                      <a:pt x="4294" y="240"/>
                    </a:cubicBezTo>
                    <a:cubicBezTo>
                      <a:pt x="4293" y="235"/>
                      <a:pt x="4283" y="233"/>
                      <a:pt x="4281" y="228"/>
                    </a:cubicBezTo>
                    <a:cubicBezTo>
                      <a:pt x="4280" y="226"/>
                      <a:pt x="4293" y="227"/>
                      <a:pt x="4291" y="221"/>
                    </a:cubicBezTo>
                    <a:cubicBezTo>
                      <a:pt x="4287" y="207"/>
                      <a:pt x="4265" y="211"/>
                      <a:pt x="4266" y="191"/>
                    </a:cubicBezTo>
                    <a:cubicBezTo>
                      <a:pt x="4266" y="187"/>
                      <a:pt x="4272" y="185"/>
                      <a:pt x="4272" y="181"/>
                    </a:cubicBezTo>
                    <a:cubicBezTo>
                      <a:pt x="4271" y="179"/>
                      <a:pt x="4268" y="177"/>
                      <a:pt x="4269" y="175"/>
                    </a:cubicBezTo>
                    <a:cubicBezTo>
                      <a:pt x="4272" y="168"/>
                      <a:pt x="4279" y="176"/>
                      <a:pt x="4285" y="168"/>
                    </a:cubicBezTo>
                    <a:cubicBezTo>
                      <a:pt x="4289" y="163"/>
                      <a:pt x="4288" y="146"/>
                      <a:pt x="4293" y="139"/>
                    </a:cubicBezTo>
                    <a:cubicBezTo>
                      <a:pt x="4295" y="135"/>
                      <a:pt x="4317" y="118"/>
                      <a:pt x="4314" y="115"/>
                    </a:cubicBezTo>
                    <a:cubicBezTo>
                      <a:pt x="4307" y="107"/>
                      <a:pt x="4300" y="100"/>
                      <a:pt x="4296" y="86"/>
                    </a:cubicBezTo>
                    <a:cubicBezTo>
                      <a:pt x="4291" y="70"/>
                      <a:pt x="4324" y="76"/>
                      <a:pt x="4301" y="65"/>
                    </a:cubicBezTo>
                    <a:cubicBezTo>
                      <a:pt x="4298" y="64"/>
                      <a:pt x="4296" y="63"/>
                      <a:pt x="4293" y="61"/>
                    </a:cubicBezTo>
                    <a:cubicBezTo>
                      <a:pt x="4285" y="55"/>
                      <a:pt x="4285" y="55"/>
                      <a:pt x="4276" y="52"/>
                    </a:cubicBezTo>
                    <a:cubicBezTo>
                      <a:pt x="4274" y="51"/>
                      <a:pt x="4280" y="49"/>
                      <a:pt x="4281" y="47"/>
                    </a:cubicBezTo>
                    <a:cubicBezTo>
                      <a:pt x="4284" y="43"/>
                      <a:pt x="4295" y="45"/>
                      <a:pt x="4294" y="41"/>
                    </a:cubicBezTo>
                    <a:cubicBezTo>
                      <a:pt x="4291" y="34"/>
                      <a:pt x="4251" y="17"/>
                      <a:pt x="4245" y="19"/>
                    </a:cubicBezTo>
                    <a:cubicBezTo>
                      <a:pt x="4243" y="20"/>
                      <a:pt x="4223" y="30"/>
                      <a:pt x="4223" y="31"/>
                    </a:cubicBezTo>
                    <a:cubicBezTo>
                      <a:pt x="4224" y="35"/>
                      <a:pt x="4243" y="51"/>
                      <a:pt x="4247" y="55"/>
                    </a:cubicBezTo>
                    <a:cubicBezTo>
                      <a:pt x="4262" y="71"/>
                      <a:pt x="4256" y="130"/>
                      <a:pt x="4243" y="146"/>
                    </a:cubicBezTo>
                    <a:cubicBezTo>
                      <a:pt x="4221" y="171"/>
                      <a:pt x="4146" y="173"/>
                      <a:pt x="4116" y="194"/>
                    </a:cubicBezTo>
                    <a:cubicBezTo>
                      <a:pt x="4110" y="198"/>
                      <a:pt x="4115" y="218"/>
                      <a:pt x="4101" y="233"/>
                    </a:cubicBezTo>
                    <a:cubicBezTo>
                      <a:pt x="4094" y="240"/>
                      <a:pt x="4072" y="250"/>
                      <a:pt x="4069" y="259"/>
                    </a:cubicBezTo>
                    <a:cubicBezTo>
                      <a:pt x="4069" y="262"/>
                      <a:pt x="4110" y="280"/>
                      <a:pt x="4115" y="285"/>
                    </a:cubicBezTo>
                    <a:cubicBezTo>
                      <a:pt x="4126" y="295"/>
                      <a:pt x="4125" y="309"/>
                      <a:pt x="4133" y="320"/>
                    </a:cubicBezTo>
                    <a:cubicBezTo>
                      <a:pt x="4136" y="325"/>
                      <a:pt x="4146" y="328"/>
                      <a:pt x="4148" y="334"/>
                    </a:cubicBezTo>
                    <a:cubicBezTo>
                      <a:pt x="4150" y="340"/>
                      <a:pt x="4148" y="348"/>
                      <a:pt x="4151" y="353"/>
                    </a:cubicBezTo>
                    <a:cubicBezTo>
                      <a:pt x="4164" y="372"/>
                      <a:pt x="4188" y="370"/>
                      <a:pt x="4188" y="397"/>
                    </a:cubicBezTo>
                    <a:cubicBezTo>
                      <a:pt x="4187" y="425"/>
                      <a:pt x="4143" y="444"/>
                      <a:pt x="4130" y="466"/>
                    </a:cubicBezTo>
                    <a:cubicBezTo>
                      <a:pt x="4127" y="470"/>
                      <a:pt x="4136" y="471"/>
                      <a:pt x="4137" y="475"/>
                    </a:cubicBezTo>
                    <a:cubicBezTo>
                      <a:pt x="4137" y="480"/>
                      <a:pt x="4131" y="489"/>
                      <a:pt x="4132" y="496"/>
                    </a:cubicBezTo>
                    <a:cubicBezTo>
                      <a:pt x="4132" y="509"/>
                      <a:pt x="4114" y="521"/>
                      <a:pt x="4114" y="531"/>
                    </a:cubicBezTo>
                    <a:cubicBezTo>
                      <a:pt x="4114" y="548"/>
                      <a:pt x="4142" y="564"/>
                      <a:pt x="4148" y="581"/>
                    </a:cubicBezTo>
                    <a:cubicBezTo>
                      <a:pt x="4152" y="595"/>
                      <a:pt x="4129" y="613"/>
                      <a:pt x="4136" y="624"/>
                    </a:cubicBezTo>
                    <a:cubicBezTo>
                      <a:pt x="4139" y="628"/>
                      <a:pt x="4146" y="635"/>
                      <a:pt x="4151" y="637"/>
                    </a:cubicBezTo>
                    <a:cubicBezTo>
                      <a:pt x="4159" y="640"/>
                      <a:pt x="4173" y="627"/>
                      <a:pt x="4182" y="626"/>
                    </a:cubicBezTo>
                    <a:cubicBezTo>
                      <a:pt x="4201" y="625"/>
                      <a:pt x="4236" y="644"/>
                      <a:pt x="4260" y="632"/>
                    </a:cubicBezTo>
                    <a:cubicBezTo>
                      <a:pt x="4262" y="630"/>
                      <a:pt x="4253" y="629"/>
                      <a:pt x="4255" y="627"/>
                    </a:cubicBezTo>
                    <a:cubicBezTo>
                      <a:pt x="4260" y="620"/>
                      <a:pt x="4282" y="611"/>
                      <a:pt x="4289" y="608"/>
                    </a:cubicBezTo>
                    <a:cubicBezTo>
                      <a:pt x="4297" y="606"/>
                      <a:pt x="4392" y="625"/>
                      <a:pt x="4399" y="628"/>
                    </a:cubicBezTo>
                    <a:cubicBezTo>
                      <a:pt x="4410" y="631"/>
                      <a:pt x="4409" y="642"/>
                      <a:pt x="4417" y="647"/>
                    </a:cubicBezTo>
                    <a:cubicBezTo>
                      <a:pt x="4434" y="658"/>
                      <a:pt x="4464" y="654"/>
                      <a:pt x="4481" y="663"/>
                    </a:cubicBezTo>
                    <a:cubicBezTo>
                      <a:pt x="4497" y="671"/>
                      <a:pt x="4483" y="702"/>
                      <a:pt x="4489" y="712"/>
                    </a:cubicBezTo>
                    <a:cubicBezTo>
                      <a:pt x="4500" y="731"/>
                      <a:pt x="4499" y="717"/>
                      <a:pt x="4508" y="725"/>
                    </a:cubicBezTo>
                    <a:cubicBezTo>
                      <a:pt x="4512" y="729"/>
                      <a:pt x="4505" y="737"/>
                      <a:pt x="4510" y="745"/>
                    </a:cubicBezTo>
                    <a:cubicBezTo>
                      <a:pt x="4513" y="748"/>
                      <a:pt x="4532" y="757"/>
                      <a:pt x="4529" y="765"/>
                    </a:cubicBezTo>
                    <a:cubicBezTo>
                      <a:pt x="4526" y="773"/>
                      <a:pt x="4495" y="769"/>
                      <a:pt x="4488" y="772"/>
                    </a:cubicBezTo>
                    <a:cubicBezTo>
                      <a:pt x="4475" y="779"/>
                      <a:pt x="4461" y="802"/>
                      <a:pt x="4470" y="814"/>
                    </a:cubicBezTo>
                    <a:cubicBezTo>
                      <a:pt x="4471" y="816"/>
                      <a:pt x="4477" y="815"/>
                      <a:pt x="4477" y="816"/>
                    </a:cubicBezTo>
                    <a:cubicBezTo>
                      <a:pt x="4474" y="822"/>
                      <a:pt x="4459" y="830"/>
                      <a:pt x="4466" y="843"/>
                    </a:cubicBezTo>
                    <a:cubicBezTo>
                      <a:pt x="4470" y="850"/>
                      <a:pt x="4488" y="852"/>
                      <a:pt x="4493" y="846"/>
                    </a:cubicBezTo>
                    <a:cubicBezTo>
                      <a:pt x="4498" y="839"/>
                      <a:pt x="4493" y="848"/>
                      <a:pt x="4503" y="848"/>
                    </a:cubicBezTo>
                    <a:cubicBezTo>
                      <a:pt x="4505" y="848"/>
                      <a:pt x="4512" y="849"/>
                      <a:pt x="4508" y="850"/>
                    </a:cubicBezTo>
                    <a:cubicBezTo>
                      <a:pt x="4507" y="851"/>
                      <a:pt x="4498" y="855"/>
                      <a:pt x="4503" y="856"/>
                    </a:cubicBezTo>
                    <a:cubicBezTo>
                      <a:pt x="4516" y="860"/>
                      <a:pt x="4530" y="856"/>
                      <a:pt x="4542" y="857"/>
                    </a:cubicBezTo>
                    <a:cubicBezTo>
                      <a:pt x="4545" y="857"/>
                      <a:pt x="4547" y="864"/>
                      <a:pt x="4549" y="863"/>
                    </a:cubicBezTo>
                    <a:cubicBezTo>
                      <a:pt x="4551" y="862"/>
                      <a:pt x="4551" y="845"/>
                      <a:pt x="4555" y="857"/>
                    </a:cubicBezTo>
                    <a:cubicBezTo>
                      <a:pt x="4557" y="863"/>
                      <a:pt x="4560" y="857"/>
                      <a:pt x="4563" y="858"/>
                    </a:cubicBezTo>
                    <a:cubicBezTo>
                      <a:pt x="4565" y="858"/>
                      <a:pt x="4569" y="858"/>
                      <a:pt x="4569" y="861"/>
                    </a:cubicBezTo>
                    <a:cubicBezTo>
                      <a:pt x="4569" y="866"/>
                      <a:pt x="4554" y="863"/>
                      <a:pt x="4556" y="865"/>
                    </a:cubicBezTo>
                    <a:cubicBezTo>
                      <a:pt x="4569" y="878"/>
                      <a:pt x="4579" y="851"/>
                      <a:pt x="4591" y="861"/>
                    </a:cubicBezTo>
                    <a:cubicBezTo>
                      <a:pt x="4593" y="863"/>
                      <a:pt x="4584" y="863"/>
                      <a:pt x="4586" y="865"/>
                    </a:cubicBezTo>
                    <a:cubicBezTo>
                      <a:pt x="4586" y="865"/>
                      <a:pt x="4612" y="874"/>
                      <a:pt x="4607" y="874"/>
                    </a:cubicBezTo>
                    <a:cubicBezTo>
                      <a:pt x="4583" y="874"/>
                      <a:pt x="4559" y="871"/>
                      <a:pt x="4536" y="871"/>
                    </a:cubicBezTo>
                    <a:cubicBezTo>
                      <a:pt x="4530" y="872"/>
                      <a:pt x="4523" y="879"/>
                      <a:pt x="4517" y="878"/>
                    </a:cubicBezTo>
                    <a:cubicBezTo>
                      <a:pt x="4511" y="877"/>
                      <a:pt x="4507" y="872"/>
                      <a:pt x="4500" y="873"/>
                    </a:cubicBezTo>
                    <a:cubicBezTo>
                      <a:pt x="4497" y="873"/>
                      <a:pt x="4489" y="878"/>
                      <a:pt x="4486" y="878"/>
                    </a:cubicBezTo>
                    <a:cubicBezTo>
                      <a:pt x="4484" y="877"/>
                      <a:pt x="4487" y="871"/>
                      <a:pt x="4487" y="870"/>
                    </a:cubicBezTo>
                    <a:cubicBezTo>
                      <a:pt x="4487" y="867"/>
                      <a:pt x="4480" y="864"/>
                      <a:pt x="4478" y="863"/>
                    </a:cubicBezTo>
                    <a:cubicBezTo>
                      <a:pt x="4472" y="859"/>
                      <a:pt x="4417" y="841"/>
                      <a:pt x="4435" y="831"/>
                    </a:cubicBezTo>
                    <a:cubicBezTo>
                      <a:pt x="4439" y="828"/>
                      <a:pt x="4438" y="837"/>
                      <a:pt x="4444" y="833"/>
                    </a:cubicBezTo>
                    <a:cubicBezTo>
                      <a:pt x="4459" y="825"/>
                      <a:pt x="4439" y="803"/>
                      <a:pt x="4444" y="790"/>
                    </a:cubicBezTo>
                    <a:cubicBezTo>
                      <a:pt x="4445" y="787"/>
                      <a:pt x="4459" y="774"/>
                      <a:pt x="4457" y="770"/>
                    </a:cubicBezTo>
                    <a:cubicBezTo>
                      <a:pt x="4455" y="767"/>
                      <a:pt x="4445" y="767"/>
                      <a:pt x="4442" y="765"/>
                    </a:cubicBezTo>
                    <a:cubicBezTo>
                      <a:pt x="4440" y="764"/>
                      <a:pt x="4439" y="762"/>
                      <a:pt x="4439" y="760"/>
                    </a:cubicBezTo>
                    <a:cubicBezTo>
                      <a:pt x="4440" y="753"/>
                      <a:pt x="4451" y="754"/>
                      <a:pt x="4452" y="746"/>
                    </a:cubicBezTo>
                    <a:cubicBezTo>
                      <a:pt x="4452" y="745"/>
                      <a:pt x="4452" y="744"/>
                      <a:pt x="4451" y="744"/>
                    </a:cubicBezTo>
                    <a:cubicBezTo>
                      <a:pt x="4451" y="742"/>
                      <a:pt x="4450" y="740"/>
                      <a:pt x="4449" y="739"/>
                    </a:cubicBezTo>
                    <a:cubicBezTo>
                      <a:pt x="4442" y="730"/>
                      <a:pt x="4461" y="717"/>
                      <a:pt x="4436" y="712"/>
                    </a:cubicBezTo>
                    <a:cubicBezTo>
                      <a:pt x="4435" y="712"/>
                      <a:pt x="4434" y="712"/>
                      <a:pt x="4433" y="713"/>
                    </a:cubicBezTo>
                    <a:cubicBezTo>
                      <a:pt x="4432" y="714"/>
                      <a:pt x="4434" y="717"/>
                      <a:pt x="4433" y="717"/>
                    </a:cubicBezTo>
                    <a:cubicBezTo>
                      <a:pt x="4429" y="715"/>
                      <a:pt x="4430" y="708"/>
                      <a:pt x="4426" y="705"/>
                    </a:cubicBezTo>
                    <a:cubicBezTo>
                      <a:pt x="4417" y="698"/>
                      <a:pt x="4405" y="695"/>
                      <a:pt x="4396" y="688"/>
                    </a:cubicBezTo>
                    <a:cubicBezTo>
                      <a:pt x="4386" y="681"/>
                      <a:pt x="4407" y="655"/>
                      <a:pt x="4382" y="652"/>
                    </a:cubicBezTo>
                    <a:cubicBezTo>
                      <a:pt x="4354" y="648"/>
                      <a:pt x="4218" y="673"/>
                      <a:pt x="4200" y="694"/>
                    </a:cubicBezTo>
                    <a:cubicBezTo>
                      <a:pt x="4189" y="706"/>
                      <a:pt x="4201" y="716"/>
                      <a:pt x="4198" y="729"/>
                    </a:cubicBezTo>
                    <a:cubicBezTo>
                      <a:pt x="4196" y="735"/>
                      <a:pt x="4187" y="740"/>
                      <a:pt x="4187" y="746"/>
                    </a:cubicBezTo>
                    <a:cubicBezTo>
                      <a:pt x="4187" y="750"/>
                      <a:pt x="4258" y="806"/>
                      <a:pt x="4223" y="854"/>
                    </a:cubicBezTo>
                    <a:cubicBezTo>
                      <a:pt x="4208" y="875"/>
                      <a:pt x="4176" y="879"/>
                      <a:pt x="4161" y="900"/>
                    </a:cubicBezTo>
                    <a:cubicBezTo>
                      <a:pt x="4158" y="904"/>
                      <a:pt x="4149" y="913"/>
                      <a:pt x="4148" y="917"/>
                    </a:cubicBezTo>
                    <a:cubicBezTo>
                      <a:pt x="4146" y="924"/>
                      <a:pt x="4154" y="954"/>
                      <a:pt x="4144" y="965"/>
                    </a:cubicBezTo>
                    <a:cubicBezTo>
                      <a:pt x="4138" y="970"/>
                      <a:pt x="4130" y="969"/>
                      <a:pt x="4124" y="973"/>
                    </a:cubicBezTo>
                    <a:cubicBezTo>
                      <a:pt x="4120" y="976"/>
                      <a:pt x="4118" y="986"/>
                      <a:pt x="4114" y="988"/>
                    </a:cubicBezTo>
                    <a:cubicBezTo>
                      <a:pt x="4101" y="996"/>
                      <a:pt x="4081" y="995"/>
                      <a:pt x="4068" y="1003"/>
                    </a:cubicBezTo>
                    <a:cubicBezTo>
                      <a:pt x="4064" y="1005"/>
                      <a:pt x="4067" y="1014"/>
                      <a:pt x="4060" y="1016"/>
                    </a:cubicBezTo>
                    <a:cubicBezTo>
                      <a:pt x="4051" y="1019"/>
                      <a:pt x="4028" y="1016"/>
                      <a:pt x="4021" y="1023"/>
                    </a:cubicBezTo>
                    <a:cubicBezTo>
                      <a:pt x="4018" y="1026"/>
                      <a:pt x="4007" y="1035"/>
                      <a:pt x="4005" y="1038"/>
                    </a:cubicBezTo>
                    <a:cubicBezTo>
                      <a:pt x="4004" y="1040"/>
                      <a:pt x="4013" y="1037"/>
                      <a:pt x="4014" y="1038"/>
                    </a:cubicBezTo>
                    <a:cubicBezTo>
                      <a:pt x="4017" y="1040"/>
                      <a:pt x="4012" y="1042"/>
                      <a:pt x="4011" y="1044"/>
                    </a:cubicBezTo>
                    <a:cubicBezTo>
                      <a:pt x="4009" y="1050"/>
                      <a:pt x="4020" y="1066"/>
                      <a:pt x="4008" y="1071"/>
                    </a:cubicBezTo>
                    <a:cubicBezTo>
                      <a:pt x="3998" y="1075"/>
                      <a:pt x="3987" y="1079"/>
                      <a:pt x="3979" y="1082"/>
                    </a:cubicBezTo>
                    <a:cubicBezTo>
                      <a:pt x="3970" y="1085"/>
                      <a:pt x="3944" y="1066"/>
                      <a:pt x="3931" y="1062"/>
                    </a:cubicBezTo>
                    <a:cubicBezTo>
                      <a:pt x="3898" y="1053"/>
                      <a:pt x="3866" y="1070"/>
                      <a:pt x="3834" y="1065"/>
                    </a:cubicBezTo>
                    <a:cubicBezTo>
                      <a:pt x="3813" y="1062"/>
                      <a:pt x="3796" y="1049"/>
                      <a:pt x="3778" y="1043"/>
                    </a:cubicBezTo>
                    <a:cubicBezTo>
                      <a:pt x="3761" y="1037"/>
                      <a:pt x="3729" y="1040"/>
                      <a:pt x="3721" y="1020"/>
                    </a:cubicBezTo>
                    <a:cubicBezTo>
                      <a:pt x="3718" y="1014"/>
                      <a:pt x="3725" y="1005"/>
                      <a:pt x="3721" y="999"/>
                    </a:cubicBezTo>
                    <a:cubicBezTo>
                      <a:pt x="3719" y="995"/>
                      <a:pt x="3708" y="997"/>
                      <a:pt x="3709" y="992"/>
                    </a:cubicBezTo>
                    <a:cubicBezTo>
                      <a:pt x="3709" y="988"/>
                      <a:pt x="3719" y="988"/>
                      <a:pt x="3731" y="989"/>
                    </a:cubicBezTo>
                    <a:cubicBezTo>
                      <a:pt x="3735" y="985"/>
                      <a:pt x="3742" y="988"/>
                      <a:pt x="3750" y="992"/>
                    </a:cubicBezTo>
                    <a:cubicBezTo>
                      <a:pt x="3757" y="993"/>
                      <a:pt x="3763" y="994"/>
                      <a:pt x="3765" y="994"/>
                    </a:cubicBezTo>
                    <a:cubicBezTo>
                      <a:pt x="3774" y="996"/>
                      <a:pt x="3757" y="986"/>
                      <a:pt x="3765" y="987"/>
                    </a:cubicBezTo>
                    <a:cubicBezTo>
                      <a:pt x="3774" y="989"/>
                      <a:pt x="3780" y="994"/>
                      <a:pt x="3790" y="988"/>
                    </a:cubicBezTo>
                    <a:cubicBezTo>
                      <a:pt x="3791" y="988"/>
                      <a:pt x="3788" y="982"/>
                      <a:pt x="3792" y="982"/>
                    </a:cubicBezTo>
                    <a:cubicBezTo>
                      <a:pt x="3805" y="983"/>
                      <a:pt x="3818" y="1029"/>
                      <a:pt x="3849" y="1009"/>
                    </a:cubicBezTo>
                    <a:cubicBezTo>
                      <a:pt x="3851" y="1008"/>
                      <a:pt x="3842" y="1006"/>
                      <a:pt x="3842" y="1005"/>
                    </a:cubicBezTo>
                    <a:cubicBezTo>
                      <a:pt x="3842" y="1005"/>
                      <a:pt x="3851" y="1004"/>
                      <a:pt x="3852" y="1004"/>
                    </a:cubicBezTo>
                    <a:cubicBezTo>
                      <a:pt x="3857" y="1001"/>
                      <a:pt x="3842" y="1000"/>
                      <a:pt x="3857" y="999"/>
                    </a:cubicBezTo>
                    <a:cubicBezTo>
                      <a:pt x="3858" y="999"/>
                      <a:pt x="3870" y="998"/>
                      <a:pt x="3867" y="1002"/>
                    </a:cubicBezTo>
                    <a:cubicBezTo>
                      <a:pt x="3862" y="1008"/>
                      <a:pt x="3820" y="1016"/>
                      <a:pt x="3827" y="1025"/>
                    </a:cubicBezTo>
                    <a:cubicBezTo>
                      <a:pt x="3831" y="1029"/>
                      <a:pt x="3840" y="1031"/>
                      <a:pt x="3846" y="1032"/>
                    </a:cubicBezTo>
                    <a:cubicBezTo>
                      <a:pt x="3860" y="1038"/>
                      <a:pt x="3868" y="1035"/>
                      <a:pt x="3882" y="1034"/>
                    </a:cubicBezTo>
                    <a:cubicBezTo>
                      <a:pt x="3882" y="1034"/>
                      <a:pt x="3888" y="1034"/>
                      <a:pt x="3888" y="1034"/>
                    </a:cubicBezTo>
                    <a:cubicBezTo>
                      <a:pt x="3883" y="1021"/>
                      <a:pt x="3891" y="1033"/>
                      <a:pt x="3901" y="1027"/>
                    </a:cubicBezTo>
                    <a:cubicBezTo>
                      <a:pt x="3903" y="1025"/>
                      <a:pt x="3893" y="1023"/>
                      <a:pt x="3894" y="1020"/>
                    </a:cubicBezTo>
                    <a:cubicBezTo>
                      <a:pt x="3896" y="1018"/>
                      <a:pt x="3913" y="1022"/>
                      <a:pt x="3909" y="1019"/>
                    </a:cubicBezTo>
                    <a:cubicBezTo>
                      <a:pt x="3909" y="1019"/>
                      <a:pt x="3904" y="1016"/>
                      <a:pt x="3905" y="1015"/>
                    </a:cubicBezTo>
                    <a:cubicBezTo>
                      <a:pt x="3914" y="1011"/>
                      <a:pt x="3939" y="1020"/>
                      <a:pt x="3941" y="1015"/>
                    </a:cubicBezTo>
                    <a:cubicBezTo>
                      <a:pt x="3947" y="1003"/>
                      <a:pt x="3925" y="980"/>
                      <a:pt x="3930" y="977"/>
                    </a:cubicBezTo>
                    <a:cubicBezTo>
                      <a:pt x="3932" y="976"/>
                      <a:pt x="3916" y="971"/>
                      <a:pt x="3918" y="968"/>
                    </a:cubicBezTo>
                    <a:cubicBezTo>
                      <a:pt x="3924" y="962"/>
                      <a:pt x="3950" y="980"/>
                      <a:pt x="3957" y="975"/>
                    </a:cubicBezTo>
                    <a:cubicBezTo>
                      <a:pt x="3968" y="968"/>
                      <a:pt x="3987" y="947"/>
                      <a:pt x="3972" y="942"/>
                    </a:cubicBezTo>
                    <a:cubicBezTo>
                      <a:pt x="3972" y="942"/>
                      <a:pt x="3971" y="942"/>
                      <a:pt x="3971" y="942"/>
                    </a:cubicBezTo>
                    <a:cubicBezTo>
                      <a:pt x="3971" y="938"/>
                      <a:pt x="3978" y="942"/>
                      <a:pt x="3981" y="940"/>
                    </a:cubicBezTo>
                    <a:cubicBezTo>
                      <a:pt x="3984" y="938"/>
                      <a:pt x="3991" y="941"/>
                      <a:pt x="3991" y="937"/>
                    </a:cubicBezTo>
                    <a:cubicBezTo>
                      <a:pt x="3992" y="937"/>
                      <a:pt x="3987" y="930"/>
                      <a:pt x="3990" y="930"/>
                    </a:cubicBezTo>
                    <a:cubicBezTo>
                      <a:pt x="3993" y="929"/>
                      <a:pt x="3995" y="945"/>
                      <a:pt x="4000" y="937"/>
                    </a:cubicBezTo>
                    <a:cubicBezTo>
                      <a:pt x="4006" y="924"/>
                      <a:pt x="3977" y="923"/>
                      <a:pt x="3983" y="916"/>
                    </a:cubicBezTo>
                    <a:cubicBezTo>
                      <a:pt x="3991" y="906"/>
                      <a:pt x="4006" y="919"/>
                      <a:pt x="4015" y="912"/>
                    </a:cubicBezTo>
                    <a:cubicBezTo>
                      <a:pt x="4024" y="904"/>
                      <a:pt x="4014" y="898"/>
                      <a:pt x="4014" y="890"/>
                    </a:cubicBezTo>
                    <a:cubicBezTo>
                      <a:pt x="4014" y="887"/>
                      <a:pt x="4025" y="884"/>
                      <a:pt x="4027" y="881"/>
                    </a:cubicBezTo>
                    <a:cubicBezTo>
                      <a:pt x="4031" y="876"/>
                      <a:pt x="4024" y="871"/>
                      <a:pt x="4031" y="866"/>
                    </a:cubicBezTo>
                    <a:cubicBezTo>
                      <a:pt x="4033" y="864"/>
                      <a:pt x="4076" y="851"/>
                      <a:pt x="4076" y="854"/>
                    </a:cubicBezTo>
                    <a:cubicBezTo>
                      <a:pt x="4077" y="856"/>
                      <a:pt x="4080" y="854"/>
                      <a:pt x="4080" y="853"/>
                    </a:cubicBezTo>
                    <a:cubicBezTo>
                      <a:pt x="4084" y="845"/>
                      <a:pt x="4075" y="843"/>
                      <a:pt x="4074" y="837"/>
                    </a:cubicBezTo>
                    <a:cubicBezTo>
                      <a:pt x="4073" y="829"/>
                      <a:pt x="4087" y="835"/>
                      <a:pt x="4087" y="828"/>
                    </a:cubicBezTo>
                    <a:cubicBezTo>
                      <a:pt x="4086" y="806"/>
                      <a:pt x="4074" y="791"/>
                      <a:pt x="4076" y="773"/>
                    </a:cubicBezTo>
                    <a:cubicBezTo>
                      <a:pt x="4077" y="769"/>
                      <a:pt x="4098" y="754"/>
                      <a:pt x="4102" y="751"/>
                    </a:cubicBezTo>
                    <a:cubicBezTo>
                      <a:pt x="4110" y="746"/>
                      <a:pt x="4107" y="735"/>
                      <a:pt x="4118" y="730"/>
                    </a:cubicBezTo>
                    <a:cubicBezTo>
                      <a:pt x="4119" y="729"/>
                      <a:pt x="4126" y="747"/>
                      <a:pt x="4126" y="731"/>
                    </a:cubicBezTo>
                    <a:cubicBezTo>
                      <a:pt x="4126" y="711"/>
                      <a:pt x="4046" y="681"/>
                      <a:pt x="4031" y="659"/>
                    </a:cubicBezTo>
                    <a:cubicBezTo>
                      <a:pt x="4025" y="651"/>
                      <a:pt x="4019" y="623"/>
                      <a:pt x="4024" y="614"/>
                    </a:cubicBezTo>
                    <a:cubicBezTo>
                      <a:pt x="4026" y="610"/>
                      <a:pt x="4036" y="607"/>
                      <a:pt x="4037" y="603"/>
                    </a:cubicBezTo>
                    <a:cubicBezTo>
                      <a:pt x="4039" y="595"/>
                      <a:pt x="4022" y="586"/>
                      <a:pt x="4022" y="583"/>
                    </a:cubicBezTo>
                    <a:cubicBezTo>
                      <a:pt x="4022" y="581"/>
                      <a:pt x="4034" y="585"/>
                      <a:pt x="4036" y="579"/>
                    </a:cubicBezTo>
                    <a:cubicBezTo>
                      <a:pt x="4039" y="569"/>
                      <a:pt x="4022" y="551"/>
                      <a:pt x="4024" y="546"/>
                    </a:cubicBezTo>
                    <a:cubicBezTo>
                      <a:pt x="4027" y="537"/>
                      <a:pt x="4041" y="530"/>
                      <a:pt x="4040" y="515"/>
                    </a:cubicBezTo>
                    <a:cubicBezTo>
                      <a:pt x="4040" y="505"/>
                      <a:pt x="4024" y="498"/>
                      <a:pt x="4026" y="489"/>
                    </a:cubicBezTo>
                    <a:cubicBezTo>
                      <a:pt x="4026" y="489"/>
                      <a:pt x="4026" y="489"/>
                      <a:pt x="4026" y="489"/>
                    </a:cubicBezTo>
                    <a:cubicBezTo>
                      <a:pt x="4023" y="477"/>
                      <a:pt x="4035" y="475"/>
                      <a:pt x="4034" y="464"/>
                    </a:cubicBezTo>
                    <a:cubicBezTo>
                      <a:pt x="4034" y="454"/>
                      <a:pt x="4014" y="454"/>
                      <a:pt x="4017" y="444"/>
                    </a:cubicBezTo>
                    <a:cubicBezTo>
                      <a:pt x="4019" y="437"/>
                      <a:pt x="4029" y="431"/>
                      <a:pt x="4034" y="428"/>
                    </a:cubicBezTo>
                    <a:cubicBezTo>
                      <a:pt x="4038" y="425"/>
                      <a:pt x="4046" y="425"/>
                      <a:pt x="4048" y="422"/>
                    </a:cubicBezTo>
                    <a:cubicBezTo>
                      <a:pt x="4055" y="415"/>
                      <a:pt x="4040" y="396"/>
                      <a:pt x="4040" y="390"/>
                    </a:cubicBezTo>
                    <a:cubicBezTo>
                      <a:pt x="4039" y="380"/>
                      <a:pt x="4059" y="362"/>
                      <a:pt x="4054" y="349"/>
                    </a:cubicBezTo>
                    <a:cubicBezTo>
                      <a:pt x="4050" y="340"/>
                      <a:pt x="4036" y="333"/>
                      <a:pt x="4034" y="325"/>
                    </a:cubicBezTo>
                    <a:cubicBezTo>
                      <a:pt x="4031" y="314"/>
                      <a:pt x="4043" y="315"/>
                      <a:pt x="4032" y="304"/>
                    </a:cubicBezTo>
                    <a:cubicBezTo>
                      <a:pt x="4032" y="303"/>
                      <a:pt x="4032" y="303"/>
                      <a:pt x="4032" y="303"/>
                    </a:cubicBezTo>
                    <a:cubicBezTo>
                      <a:pt x="4013" y="290"/>
                      <a:pt x="3963" y="279"/>
                      <a:pt x="3961" y="249"/>
                    </a:cubicBezTo>
                    <a:cubicBezTo>
                      <a:pt x="3960" y="231"/>
                      <a:pt x="3991" y="238"/>
                      <a:pt x="3998" y="228"/>
                    </a:cubicBezTo>
                    <a:cubicBezTo>
                      <a:pt x="4004" y="218"/>
                      <a:pt x="4009" y="215"/>
                      <a:pt x="4011" y="212"/>
                    </a:cubicBezTo>
                    <a:cubicBezTo>
                      <a:pt x="4016" y="205"/>
                      <a:pt x="4004" y="197"/>
                      <a:pt x="4009" y="189"/>
                    </a:cubicBezTo>
                    <a:cubicBezTo>
                      <a:pt x="4012" y="182"/>
                      <a:pt x="4021" y="185"/>
                      <a:pt x="4025" y="179"/>
                    </a:cubicBezTo>
                    <a:cubicBezTo>
                      <a:pt x="4029" y="172"/>
                      <a:pt x="4027" y="164"/>
                      <a:pt x="4030" y="158"/>
                    </a:cubicBezTo>
                    <a:cubicBezTo>
                      <a:pt x="4037" y="144"/>
                      <a:pt x="4051" y="133"/>
                      <a:pt x="4058" y="118"/>
                    </a:cubicBezTo>
                    <a:cubicBezTo>
                      <a:pt x="4059" y="114"/>
                      <a:pt x="4050" y="103"/>
                      <a:pt x="4050" y="98"/>
                    </a:cubicBezTo>
                    <a:cubicBezTo>
                      <a:pt x="4050" y="91"/>
                      <a:pt x="4055" y="83"/>
                      <a:pt x="4055" y="80"/>
                    </a:cubicBezTo>
                    <a:cubicBezTo>
                      <a:pt x="4055" y="78"/>
                      <a:pt x="4044" y="70"/>
                      <a:pt x="4043" y="65"/>
                    </a:cubicBezTo>
                    <a:cubicBezTo>
                      <a:pt x="4042" y="60"/>
                      <a:pt x="4050" y="61"/>
                      <a:pt x="4051" y="57"/>
                    </a:cubicBezTo>
                    <a:cubicBezTo>
                      <a:pt x="4052" y="54"/>
                      <a:pt x="4041" y="48"/>
                      <a:pt x="4045" y="48"/>
                    </a:cubicBezTo>
                    <a:cubicBezTo>
                      <a:pt x="4045" y="48"/>
                      <a:pt x="4054" y="49"/>
                      <a:pt x="4053" y="47"/>
                    </a:cubicBezTo>
                    <a:cubicBezTo>
                      <a:pt x="4053" y="47"/>
                      <a:pt x="4052" y="47"/>
                      <a:pt x="4052" y="47"/>
                    </a:cubicBezTo>
                    <a:cubicBezTo>
                      <a:pt x="4034" y="39"/>
                      <a:pt x="4007" y="29"/>
                      <a:pt x="3988" y="27"/>
                    </a:cubicBezTo>
                    <a:cubicBezTo>
                      <a:pt x="3983" y="26"/>
                      <a:pt x="3974" y="36"/>
                      <a:pt x="3968" y="33"/>
                    </a:cubicBezTo>
                    <a:cubicBezTo>
                      <a:pt x="3953" y="24"/>
                      <a:pt x="3984" y="30"/>
                      <a:pt x="3979" y="26"/>
                    </a:cubicBezTo>
                    <a:cubicBezTo>
                      <a:pt x="3959" y="6"/>
                      <a:pt x="3809" y="18"/>
                      <a:pt x="3775" y="20"/>
                    </a:cubicBezTo>
                    <a:cubicBezTo>
                      <a:pt x="3740" y="21"/>
                      <a:pt x="3783" y="8"/>
                      <a:pt x="3782" y="6"/>
                    </a:cubicBezTo>
                    <a:cubicBezTo>
                      <a:pt x="3781" y="0"/>
                      <a:pt x="3749" y="4"/>
                      <a:pt x="3744" y="6"/>
                    </a:cubicBezTo>
                    <a:cubicBezTo>
                      <a:pt x="3735" y="9"/>
                      <a:pt x="3737" y="30"/>
                      <a:pt x="3727" y="38"/>
                    </a:cubicBezTo>
                    <a:cubicBezTo>
                      <a:pt x="3721" y="42"/>
                      <a:pt x="3713" y="43"/>
                      <a:pt x="3709" y="50"/>
                    </a:cubicBezTo>
                    <a:cubicBezTo>
                      <a:pt x="3706" y="56"/>
                      <a:pt x="3715" y="53"/>
                      <a:pt x="3716" y="56"/>
                    </a:cubicBezTo>
                    <a:cubicBezTo>
                      <a:pt x="3717" y="57"/>
                      <a:pt x="3710" y="56"/>
                      <a:pt x="3709" y="58"/>
                    </a:cubicBezTo>
                    <a:cubicBezTo>
                      <a:pt x="3705" y="63"/>
                      <a:pt x="3702" y="72"/>
                      <a:pt x="3700" y="77"/>
                    </a:cubicBezTo>
                    <a:cubicBezTo>
                      <a:pt x="3699" y="78"/>
                      <a:pt x="3699" y="78"/>
                      <a:pt x="3700" y="78"/>
                    </a:cubicBezTo>
                    <a:cubicBezTo>
                      <a:pt x="3701" y="87"/>
                      <a:pt x="3697" y="95"/>
                      <a:pt x="3695" y="108"/>
                    </a:cubicBezTo>
                    <a:cubicBezTo>
                      <a:pt x="3695" y="109"/>
                      <a:pt x="3697" y="111"/>
                      <a:pt x="3696" y="112"/>
                    </a:cubicBezTo>
                    <a:cubicBezTo>
                      <a:pt x="3681" y="123"/>
                      <a:pt x="3683" y="166"/>
                      <a:pt x="3672" y="178"/>
                    </a:cubicBezTo>
                    <a:cubicBezTo>
                      <a:pt x="3665" y="186"/>
                      <a:pt x="3655" y="202"/>
                      <a:pt x="3650" y="212"/>
                    </a:cubicBezTo>
                    <a:cubicBezTo>
                      <a:pt x="3648" y="215"/>
                      <a:pt x="3654" y="216"/>
                      <a:pt x="3653" y="218"/>
                    </a:cubicBezTo>
                    <a:cubicBezTo>
                      <a:pt x="3652" y="221"/>
                      <a:pt x="3646" y="215"/>
                      <a:pt x="3643" y="217"/>
                    </a:cubicBezTo>
                    <a:cubicBezTo>
                      <a:pt x="3594" y="259"/>
                      <a:pt x="3582" y="257"/>
                      <a:pt x="3526" y="280"/>
                    </a:cubicBezTo>
                    <a:cubicBezTo>
                      <a:pt x="3524" y="281"/>
                      <a:pt x="3501" y="317"/>
                      <a:pt x="3500" y="319"/>
                    </a:cubicBezTo>
                    <a:cubicBezTo>
                      <a:pt x="3496" y="326"/>
                      <a:pt x="3506" y="330"/>
                      <a:pt x="3511" y="327"/>
                    </a:cubicBezTo>
                    <a:cubicBezTo>
                      <a:pt x="3513" y="326"/>
                      <a:pt x="3513" y="308"/>
                      <a:pt x="3519" y="313"/>
                    </a:cubicBezTo>
                    <a:cubicBezTo>
                      <a:pt x="3520" y="314"/>
                      <a:pt x="3523" y="314"/>
                      <a:pt x="3523" y="315"/>
                    </a:cubicBezTo>
                    <a:cubicBezTo>
                      <a:pt x="3524" y="326"/>
                      <a:pt x="3498" y="341"/>
                      <a:pt x="3498" y="348"/>
                    </a:cubicBezTo>
                    <a:cubicBezTo>
                      <a:pt x="3498" y="352"/>
                      <a:pt x="3504" y="354"/>
                      <a:pt x="3504" y="359"/>
                    </a:cubicBezTo>
                    <a:cubicBezTo>
                      <a:pt x="3505" y="360"/>
                      <a:pt x="3503" y="366"/>
                      <a:pt x="3505" y="367"/>
                    </a:cubicBezTo>
                    <a:cubicBezTo>
                      <a:pt x="3517" y="370"/>
                      <a:pt x="3559" y="338"/>
                      <a:pt x="3563" y="366"/>
                    </a:cubicBezTo>
                    <a:cubicBezTo>
                      <a:pt x="3565" y="377"/>
                      <a:pt x="3555" y="394"/>
                      <a:pt x="3552" y="404"/>
                    </a:cubicBezTo>
                    <a:cubicBezTo>
                      <a:pt x="3550" y="409"/>
                      <a:pt x="3559" y="415"/>
                      <a:pt x="3557" y="423"/>
                    </a:cubicBezTo>
                    <a:cubicBezTo>
                      <a:pt x="3555" y="430"/>
                      <a:pt x="3541" y="444"/>
                      <a:pt x="3541" y="454"/>
                    </a:cubicBezTo>
                    <a:cubicBezTo>
                      <a:pt x="3541" y="457"/>
                      <a:pt x="3554" y="468"/>
                      <a:pt x="3556" y="467"/>
                    </a:cubicBezTo>
                    <a:cubicBezTo>
                      <a:pt x="3557" y="466"/>
                      <a:pt x="3554" y="453"/>
                      <a:pt x="3558" y="462"/>
                    </a:cubicBezTo>
                    <a:cubicBezTo>
                      <a:pt x="3560" y="466"/>
                      <a:pt x="3557" y="470"/>
                      <a:pt x="3558" y="474"/>
                    </a:cubicBezTo>
                    <a:cubicBezTo>
                      <a:pt x="3558" y="475"/>
                      <a:pt x="3563" y="471"/>
                      <a:pt x="3562" y="474"/>
                    </a:cubicBezTo>
                    <a:cubicBezTo>
                      <a:pt x="3561" y="483"/>
                      <a:pt x="3542" y="500"/>
                      <a:pt x="3532" y="496"/>
                    </a:cubicBezTo>
                    <a:cubicBezTo>
                      <a:pt x="3525" y="492"/>
                      <a:pt x="3538" y="483"/>
                      <a:pt x="3532" y="480"/>
                    </a:cubicBezTo>
                    <a:cubicBezTo>
                      <a:pt x="3520" y="476"/>
                      <a:pt x="3509" y="544"/>
                      <a:pt x="3515" y="556"/>
                    </a:cubicBezTo>
                    <a:cubicBezTo>
                      <a:pt x="3515" y="558"/>
                      <a:pt x="3517" y="559"/>
                      <a:pt x="3519" y="560"/>
                    </a:cubicBezTo>
                    <a:cubicBezTo>
                      <a:pt x="3539" y="574"/>
                      <a:pt x="3519" y="554"/>
                      <a:pt x="3520" y="547"/>
                    </a:cubicBezTo>
                    <a:cubicBezTo>
                      <a:pt x="3521" y="544"/>
                      <a:pt x="3528" y="548"/>
                      <a:pt x="3532" y="546"/>
                    </a:cubicBezTo>
                    <a:cubicBezTo>
                      <a:pt x="3537" y="543"/>
                      <a:pt x="3528" y="538"/>
                      <a:pt x="3532" y="537"/>
                    </a:cubicBezTo>
                    <a:cubicBezTo>
                      <a:pt x="3544" y="533"/>
                      <a:pt x="3593" y="563"/>
                      <a:pt x="3605" y="567"/>
                    </a:cubicBezTo>
                    <a:cubicBezTo>
                      <a:pt x="3633" y="578"/>
                      <a:pt x="3623" y="559"/>
                      <a:pt x="3630" y="561"/>
                    </a:cubicBezTo>
                    <a:cubicBezTo>
                      <a:pt x="3639" y="564"/>
                      <a:pt x="3624" y="595"/>
                      <a:pt x="3624" y="596"/>
                    </a:cubicBezTo>
                    <a:cubicBezTo>
                      <a:pt x="3627" y="614"/>
                      <a:pt x="3652" y="638"/>
                      <a:pt x="3662" y="651"/>
                    </a:cubicBezTo>
                    <a:cubicBezTo>
                      <a:pt x="3683" y="678"/>
                      <a:pt x="3715" y="646"/>
                      <a:pt x="3731" y="655"/>
                    </a:cubicBezTo>
                    <a:cubicBezTo>
                      <a:pt x="3731" y="655"/>
                      <a:pt x="3718" y="659"/>
                      <a:pt x="3717" y="660"/>
                    </a:cubicBezTo>
                    <a:cubicBezTo>
                      <a:pt x="3713" y="662"/>
                      <a:pt x="3707" y="664"/>
                      <a:pt x="3706" y="665"/>
                    </a:cubicBezTo>
                    <a:cubicBezTo>
                      <a:pt x="3704" y="671"/>
                      <a:pt x="3722" y="667"/>
                      <a:pt x="3721" y="670"/>
                    </a:cubicBezTo>
                    <a:cubicBezTo>
                      <a:pt x="3712" y="697"/>
                      <a:pt x="3685" y="722"/>
                      <a:pt x="3672" y="748"/>
                    </a:cubicBezTo>
                    <a:cubicBezTo>
                      <a:pt x="3670" y="753"/>
                      <a:pt x="3680" y="757"/>
                      <a:pt x="3680" y="757"/>
                    </a:cubicBezTo>
                    <a:cubicBezTo>
                      <a:pt x="3680" y="758"/>
                      <a:pt x="3679" y="757"/>
                      <a:pt x="3679" y="757"/>
                    </a:cubicBezTo>
                    <a:cubicBezTo>
                      <a:pt x="3678" y="757"/>
                      <a:pt x="3678" y="757"/>
                      <a:pt x="3677" y="757"/>
                    </a:cubicBezTo>
                    <a:cubicBezTo>
                      <a:pt x="3666" y="757"/>
                      <a:pt x="3661" y="776"/>
                      <a:pt x="3648" y="777"/>
                    </a:cubicBezTo>
                    <a:cubicBezTo>
                      <a:pt x="3643" y="777"/>
                      <a:pt x="3650" y="771"/>
                      <a:pt x="3646" y="769"/>
                    </a:cubicBezTo>
                    <a:cubicBezTo>
                      <a:pt x="3628" y="758"/>
                      <a:pt x="3658" y="757"/>
                      <a:pt x="3637" y="742"/>
                    </a:cubicBezTo>
                    <a:cubicBezTo>
                      <a:pt x="3629" y="736"/>
                      <a:pt x="3599" y="735"/>
                      <a:pt x="3596" y="726"/>
                    </a:cubicBezTo>
                    <a:cubicBezTo>
                      <a:pt x="3595" y="723"/>
                      <a:pt x="3604" y="730"/>
                      <a:pt x="3605" y="727"/>
                    </a:cubicBezTo>
                    <a:cubicBezTo>
                      <a:pt x="3607" y="721"/>
                      <a:pt x="3557" y="700"/>
                      <a:pt x="3550" y="695"/>
                    </a:cubicBezTo>
                    <a:cubicBezTo>
                      <a:pt x="3547" y="693"/>
                      <a:pt x="3535" y="680"/>
                      <a:pt x="3537" y="678"/>
                    </a:cubicBezTo>
                    <a:cubicBezTo>
                      <a:pt x="3538" y="676"/>
                      <a:pt x="3547" y="675"/>
                      <a:pt x="3543" y="673"/>
                    </a:cubicBezTo>
                    <a:cubicBezTo>
                      <a:pt x="3524" y="663"/>
                      <a:pt x="3422" y="645"/>
                      <a:pt x="3412" y="631"/>
                    </a:cubicBezTo>
                    <a:cubicBezTo>
                      <a:pt x="3410" y="627"/>
                      <a:pt x="3435" y="636"/>
                      <a:pt x="3435" y="631"/>
                    </a:cubicBezTo>
                    <a:cubicBezTo>
                      <a:pt x="3435" y="625"/>
                      <a:pt x="3409" y="624"/>
                      <a:pt x="3405" y="624"/>
                    </a:cubicBezTo>
                    <a:cubicBezTo>
                      <a:pt x="3389" y="621"/>
                      <a:pt x="3363" y="600"/>
                      <a:pt x="3349" y="607"/>
                    </a:cubicBezTo>
                    <a:cubicBezTo>
                      <a:pt x="3347" y="608"/>
                      <a:pt x="3349" y="629"/>
                      <a:pt x="3336" y="626"/>
                    </a:cubicBezTo>
                    <a:cubicBezTo>
                      <a:pt x="3330" y="625"/>
                      <a:pt x="3338" y="605"/>
                      <a:pt x="3340" y="603"/>
                    </a:cubicBezTo>
                    <a:cubicBezTo>
                      <a:pt x="3342" y="599"/>
                      <a:pt x="3354" y="609"/>
                      <a:pt x="3355" y="602"/>
                    </a:cubicBezTo>
                    <a:cubicBezTo>
                      <a:pt x="3356" y="602"/>
                      <a:pt x="3355" y="601"/>
                      <a:pt x="3354" y="600"/>
                    </a:cubicBezTo>
                    <a:cubicBezTo>
                      <a:pt x="3347" y="590"/>
                      <a:pt x="3287" y="564"/>
                      <a:pt x="3274" y="561"/>
                    </a:cubicBezTo>
                    <a:cubicBezTo>
                      <a:pt x="3244" y="554"/>
                      <a:pt x="3215" y="541"/>
                      <a:pt x="3184" y="537"/>
                    </a:cubicBezTo>
                    <a:cubicBezTo>
                      <a:pt x="3139" y="531"/>
                      <a:pt x="3094" y="530"/>
                      <a:pt x="3050" y="525"/>
                    </a:cubicBezTo>
                    <a:cubicBezTo>
                      <a:pt x="3028" y="523"/>
                      <a:pt x="3005" y="505"/>
                      <a:pt x="2985" y="511"/>
                    </a:cubicBezTo>
                    <a:cubicBezTo>
                      <a:pt x="2962" y="519"/>
                      <a:pt x="2972" y="539"/>
                      <a:pt x="2968" y="542"/>
                    </a:cubicBezTo>
                    <a:cubicBezTo>
                      <a:pt x="2956" y="550"/>
                      <a:pt x="2937" y="536"/>
                      <a:pt x="2924" y="547"/>
                    </a:cubicBezTo>
                    <a:cubicBezTo>
                      <a:pt x="2914" y="556"/>
                      <a:pt x="2955" y="593"/>
                      <a:pt x="2961" y="605"/>
                    </a:cubicBezTo>
                    <a:cubicBezTo>
                      <a:pt x="2965" y="613"/>
                      <a:pt x="2956" y="626"/>
                      <a:pt x="2966" y="631"/>
                    </a:cubicBezTo>
                    <a:cubicBezTo>
                      <a:pt x="2976" y="636"/>
                      <a:pt x="2976" y="609"/>
                      <a:pt x="2991" y="633"/>
                    </a:cubicBezTo>
                    <a:cubicBezTo>
                      <a:pt x="2997" y="641"/>
                      <a:pt x="2993" y="659"/>
                      <a:pt x="2995" y="664"/>
                    </a:cubicBezTo>
                    <a:cubicBezTo>
                      <a:pt x="2998" y="669"/>
                      <a:pt x="2983" y="664"/>
                      <a:pt x="2979" y="667"/>
                    </a:cubicBezTo>
                    <a:cubicBezTo>
                      <a:pt x="2970" y="677"/>
                      <a:pt x="2966" y="688"/>
                      <a:pt x="2953" y="693"/>
                    </a:cubicBezTo>
                    <a:cubicBezTo>
                      <a:pt x="2934" y="701"/>
                      <a:pt x="2900" y="686"/>
                      <a:pt x="2889" y="702"/>
                    </a:cubicBezTo>
                    <a:cubicBezTo>
                      <a:pt x="2882" y="712"/>
                      <a:pt x="2926" y="732"/>
                      <a:pt x="2894" y="749"/>
                    </a:cubicBezTo>
                    <a:cubicBezTo>
                      <a:pt x="2886" y="753"/>
                      <a:pt x="2830" y="748"/>
                      <a:pt x="2826" y="740"/>
                    </a:cubicBezTo>
                    <a:cubicBezTo>
                      <a:pt x="2824" y="734"/>
                      <a:pt x="2829" y="728"/>
                      <a:pt x="2831" y="724"/>
                    </a:cubicBezTo>
                    <a:cubicBezTo>
                      <a:pt x="2832" y="723"/>
                      <a:pt x="2821" y="711"/>
                      <a:pt x="2835" y="697"/>
                    </a:cubicBezTo>
                    <a:cubicBezTo>
                      <a:pt x="2843" y="689"/>
                      <a:pt x="2856" y="704"/>
                      <a:pt x="2858" y="689"/>
                    </a:cubicBezTo>
                    <a:cubicBezTo>
                      <a:pt x="2860" y="675"/>
                      <a:pt x="2812" y="662"/>
                      <a:pt x="2810" y="659"/>
                    </a:cubicBezTo>
                    <a:cubicBezTo>
                      <a:pt x="2809" y="658"/>
                      <a:pt x="2841" y="650"/>
                      <a:pt x="2841" y="650"/>
                    </a:cubicBezTo>
                    <a:cubicBezTo>
                      <a:pt x="2831" y="643"/>
                      <a:pt x="2764" y="656"/>
                      <a:pt x="2755" y="665"/>
                    </a:cubicBezTo>
                    <a:cubicBezTo>
                      <a:pt x="2754" y="666"/>
                      <a:pt x="2754" y="667"/>
                      <a:pt x="2753" y="668"/>
                    </a:cubicBezTo>
                    <a:cubicBezTo>
                      <a:pt x="2754" y="670"/>
                      <a:pt x="2753" y="672"/>
                      <a:pt x="2753" y="675"/>
                    </a:cubicBezTo>
                    <a:cubicBezTo>
                      <a:pt x="2756" y="680"/>
                      <a:pt x="2768" y="683"/>
                      <a:pt x="2770" y="687"/>
                    </a:cubicBezTo>
                    <a:cubicBezTo>
                      <a:pt x="2771" y="690"/>
                      <a:pt x="2767" y="691"/>
                      <a:pt x="2766" y="691"/>
                    </a:cubicBezTo>
                    <a:cubicBezTo>
                      <a:pt x="2764" y="691"/>
                      <a:pt x="2758" y="688"/>
                      <a:pt x="2754" y="683"/>
                    </a:cubicBezTo>
                    <a:cubicBezTo>
                      <a:pt x="2752" y="681"/>
                      <a:pt x="2752" y="678"/>
                      <a:pt x="2753" y="675"/>
                    </a:cubicBezTo>
                    <a:cubicBezTo>
                      <a:pt x="2752" y="673"/>
                      <a:pt x="2752" y="671"/>
                      <a:pt x="2753" y="668"/>
                    </a:cubicBezTo>
                    <a:cubicBezTo>
                      <a:pt x="2753" y="667"/>
                      <a:pt x="2752" y="667"/>
                      <a:pt x="2751" y="666"/>
                    </a:cubicBezTo>
                    <a:cubicBezTo>
                      <a:pt x="2727" y="661"/>
                      <a:pt x="2729" y="687"/>
                      <a:pt x="2724" y="689"/>
                    </a:cubicBezTo>
                    <a:cubicBezTo>
                      <a:pt x="2716" y="692"/>
                      <a:pt x="2705" y="688"/>
                      <a:pt x="2697" y="690"/>
                    </a:cubicBezTo>
                    <a:cubicBezTo>
                      <a:pt x="2696" y="690"/>
                      <a:pt x="2694" y="690"/>
                      <a:pt x="2694" y="691"/>
                    </a:cubicBezTo>
                    <a:cubicBezTo>
                      <a:pt x="2684" y="700"/>
                      <a:pt x="2681" y="716"/>
                      <a:pt x="2666" y="719"/>
                    </a:cubicBezTo>
                    <a:cubicBezTo>
                      <a:pt x="2641" y="723"/>
                      <a:pt x="2631" y="709"/>
                      <a:pt x="2608" y="706"/>
                    </a:cubicBezTo>
                    <a:cubicBezTo>
                      <a:pt x="2599" y="705"/>
                      <a:pt x="2600" y="715"/>
                      <a:pt x="2575" y="711"/>
                    </a:cubicBezTo>
                    <a:cubicBezTo>
                      <a:pt x="2567" y="709"/>
                      <a:pt x="2557" y="701"/>
                      <a:pt x="2550" y="702"/>
                    </a:cubicBezTo>
                    <a:cubicBezTo>
                      <a:pt x="2543" y="704"/>
                      <a:pt x="2533" y="714"/>
                      <a:pt x="2525" y="716"/>
                    </a:cubicBezTo>
                    <a:cubicBezTo>
                      <a:pt x="2502" y="724"/>
                      <a:pt x="2481" y="720"/>
                      <a:pt x="2463" y="738"/>
                    </a:cubicBezTo>
                    <a:cubicBezTo>
                      <a:pt x="2448" y="752"/>
                      <a:pt x="2462" y="775"/>
                      <a:pt x="2448" y="780"/>
                    </a:cubicBezTo>
                    <a:cubicBezTo>
                      <a:pt x="2427" y="786"/>
                      <a:pt x="2434" y="761"/>
                      <a:pt x="2420" y="758"/>
                    </a:cubicBezTo>
                    <a:cubicBezTo>
                      <a:pt x="2411" y="757"/>
                      <a:pt x="2401" y="777"/>
                      <a:pt x="2392" y="774"/>
                    </a:cubicBezTo>
                    <a:cubicBezTo>
                      <a:pt x="2386" y="771"/>
                      <a:pt x="2393" y="756"/>
                      <a:pt x="2393" y="756"/>
                    </a:cubicBezTo>
                    <a:cubicBezTo>
                      <a:pt x="2389" y="755"/>
                      <a:pt x="2387" y="761"/>
                      <a:pt x="2386" y="763"/>
                    </a:cubicBezTo>
                    <a:cubicBezTo>
                      <a:pt x="2381" y="771"/>
                      <a:pt x="2312" y="771"/>
                      <a:pt x="2306" y="767"/>
                    </a:cubicBezTo>
                    <a:cubicBezTo>
                      <a:pt x="2305" y="766"/>
                      <a:pt x="2304" y="765"/>
                      <a:pt x="2303" y="764"/>
                    </a:cubicBezTo>
                    <a:cubicBezTo>
                      <a:pt x="2297" y="744"/>
                      <a:pt x="2342" y="755"/>
                      <a:pt x="2345" y="755"/>
                    </a:cubicBezTo>
                    <a:cubicBezTo>
                      <a:pt x="2350" y="755"/>
                      <a:pt x="2333" y="746"/>
                      <a:pt x="2337" y="743"/>
                    </a:cubicBezTo>
                    <a:cubicBezTo>
                      <a:pt x="2342" y="737"/>
                      <a:pt x="2365" y="763"/>
                      <a:pt x="2369" y="743"/>
                    </a:cubicBezTo>
                    <a:cubicBezTo>
                      <a:pt x="2373" y="728"/>
                      <a:pt x="2346" y="715"/>
                      <a:pt x="2349" y="704"/>
                    </a:cubicBezTo>
                    <a:cubicBezTo>
                      <a:pt x="2351" y="698"/>
                      <a:pt x="2366" y="680"/>
                      <a:pt x="2372" y="677"/>
                    </a:cubicBezTo>
                    <a:cubicBezTo>
                      <a:pt x="2374" y="676"/>
                      <a:pt x="2378" y="674"/>
                      <a:pt x="2376" y="672"/>
                    </a:cubicBezTo>
                    <a:cubicBezTo>
                      <a:pt x="2363" y="656"/>
                      <a:pt x="2347" y="678"/>
                      <a:pt x="2338" y="664"/>
                    </a:cubicBezTo>
                    <a:cubicBezTo>
                      <a:pt x="2336" y="662"/>
                      <a:pt x="2362" y="661"/>
                      <a:pt x="2364" y="661"/>
                    </a:cubicBezTo>
                    <a:cubicBezTo>
                      <a:pt x="2374" y="660"/>
                      <a:pt x="2420" y="658"/>
                      <a:pt x="2424" y="650"/>
                    </a:cubicBezTo>
                    <a:cubicBezTo>
                      <a:pt x="2425" y="648"/>
                      <a:pt x="2419" y="648"/>
                      <a:pt x="2418" y="648"/>
                    </a:cubicBezTo>
                    <a:cubicBezTo>
                      <a:pt x="2398" y="646"/>
                      <a:pt x="2376" y="651"/>
                      <a:pt x="2356" y="653"/>
                    </a:cubicBezTo>
                    <a:cubicBezTo>
                      <a:pt x="2338" y="656"/>
                      <a:pt x="2229" y="697"/>
                      <a:pt x="2221" y="711"/>
                    </a:cubicBezTo>
                    <a:cubicBezTo>
                      <a:pt x="2216" y="719"/>
                      <a:pt x="2247" y="705"/>
                      <a:pt x="2248" y="704"/>
                    </a:cubicBezTo>
                    <a:cubicBezTo>
                      <a:pt x="2249" y="704"/>
                      <a:pt x="2250" y="704"/>
                      <a:pt x="2251" y="704"/>
                    </a:cubicBezTo>
                    <a:cubicBezTo>
                      <a:pt x="2251" y="704"/>
                      <a:pt x="2253" y="703"/>
                      <a:pt x="2254" y="704"/>
                    </a:cubicBezTo>
                    <a:cubicBezTo>
                      <a:pt x="2256" y="705"/>
                      <a:pt x="2239" y="710"/>
                      <a:pt x="2239" y="714"/>
                    </a:cubicBezTo>
                    <a:cubicBezTo>
                      <a:pt x="2240" y="722"/>
                      <a:pt x="2260" y="725"/>
                      <a:pt x="2261" y="731"/>
                    </a:cubicBezTo>
                    <a:cubicBezTo>
                      <a:pt x="2262" y="738"/>
                      <a:pt x="2225" y="760"/>
                      <a:pt x="2218" y="758"/>
                    </a:cubicBezTo>
                    <a:cubicBezTo>
                      <a:pt x="2194" y="750"/>
                      <a:pt x="2230" y="735"/>
                      <a:pt x="2227" y="731"/>
                    </a:cubicBezTo>
                    <a:cubicBezTo>
                      <a:pt x="2224" y="724"/>
                      <a:pt x="2201" y="731"/>
                      <a:pt x="2200" y="730"/>
                    </a:cubicBezTo>
                    <a:cubicBezTo>
                      <a:pt x="2198" y="723"/>
                      <a:pt x="2220" y="715"/>
                      <a:pt x="2214" y="715"/>
                    </a:cubicBezTo>
                    <a:cubicBezTo>
                      <a:pt x="2193" y="714"/>
                      <a:pt x="2147" y="744"/>
                      <a:pt x="2130" y="746"/>
                    </a:cubicBezTo>
                    <a:cubicBezTo>
                      <a:pt x="2119" y="748"/>
                      <a:pt x="2110" y="752"/>
                      <a:pt x="2098" y="753"/>
                    </a:cubicBezTo>
                    <a:cubicBezTo>
                      <a:pt x="2094" y="753"/>
                      <a:pt x="2088" y="746"/>
                      <a:pt x="2085" y="748"/>
                    </a:cubicBezTo>
                    <a:cubicBezTo>
                      <a:pt x="2063" y="766"/>
                      <a:pt x="2038" y="783"/>
                      <a:pt x="2016" y="799"/>
                    </a:cubicBezTo>
                    <a:cubicBezTo>
                      <a:pt x="2014" y="800"/>
                      <a:pt x="2006" y="805"/>
                      <a:pt x="2004" y="804"/>
                    </a:cubicBezTo>
                    <a:cubicBezTo>
                      <a:pt x="2004" y="804"/>
                      <a:pt x="2022" y="793"/>
                      <a:pt x="2019" y="792"/>
                    </a:cubicBezTo>
                    <a:cubicBezTo>
                      <a:pt x="2013" y="789"/>
                      <a:pt x="1997" y="804"/>
                      <a:pt x="1993" y="806"/>
                    </a:cubicBezTo>
                    <a:cubicBezTo>
                      <a:pt x="1974" y="817"/>
                      <a:pt x="1945" y="831"/>
                      <a:pt x="1923" y="830"/>
                    </a:cubicBezTo>
                    <a:cubicBezTo>
                      <a:pt x="1916" y="830"/>
                      <a:pt x="1898" y="813"/>
                      <a:pt x="1892" y="816"/>
                    </a:cubicBezTo>
                    <a:cubicBezTo>
                      <a:pt x="1891" y="817"/>
                      <a:pt x="1907" y="829"/>
                      <a:pt x="1908" y="831"/>
                    </a:cubicBezTo>
                    <a:cubicBezTo>
                      <a:pt x="1913" y="835"/>
                      <a:pt x="1902" y="847"/>
                      <a:pt x="1908" y="849"/>
                    </a:cubicBezTo>
                    <a:cubicBezTo>
                      <a:pt x="1913" y="851"/>
                      <a:pt x="1942" y="859"/>
                      <a:pt x="1937" y="864"/>
                    </a:cubicBezTo>
                    <a:cubicBezTo>
                      <a:pt x="1937" y="865"/>
                      <a:pt x="1918" y="853"/>
                      <a:pt x="1900" y="851"/>
                    </a:cubicBezTo>
                    <a:cubicBezTo>
                      <a:pt x="1894" y="851"/>
                      <a:pt x="1892" y="858"/>
                      <a:pt x="1887" y="859"/>
                    </a:cubicBezTo>
                    <a:cubicBezTo>
                      <a:pt x="1877" y="860"/>
                      <a:pt x="1871" y="852"/>
                      <a:pt x="1861" y="857"/>
                    </a:cubicBezTo>
                    <a:cubicBezTo>
                      <a:pt x="1858" y="859"/>
                      <a:pt x="1850" y="870"/>
                      <a:pt x="1848" y="870"/>
                    </a:cubicBezTo>
                    <a:cubicBezTo>
                      <a:pt x="1844" y="871"/>
                      <a:pt x="1846" y="868"/>
                      <a:pt x="1846" y="867"/>
                    </a:cubicBezTo>
                    <a:cubicBezTo>
                      <a:pt x="1850" y="855"/>
                      <a:pt x="1831" y="865"/>
                      <a:pt x="1826" y="868"/>
                    </a:cubicBezTo>
                    <a:cubicBezTo>
                      <a:pt x="1815" y="876"/>
                      <a:pt x="1838" y="885"/>
                      <a:pt x="1834" y="895"/>
                    </a:cubicBezTo>
                    <a:cubicBezTo>
                      <a:pt x="1832" y="902"/>
                      <a:pt x="1821" y="903"/>
                      <a:pt x="1819" y="909"/>
                    </a:cubicBezTo>
                    <a:cubicBezTo>
                      <a:pt x="1817" y="913"/>
                      <a:pt x="1823" y="921"/>
                      <a:pt x="1820" y="925"/>
                    </a:cubicBezTo>
                    <a:cubicBezTo>
                      <a:pt x="1818" y="928"/>
                      <a:pt x="1811" y="929"/>
                      <a:pt x="1811" y="932"/>
                    </a:cubicBezTo>
                    <a:cubicBezTo>
                      <a:pt x="1810" y="938"/>
                      <a:pt x="1819" y="947"/>
                      <a:pt x="1817" y="956"/>
                    </a:cubicBezTo>
                    <a:cubicBezTo>
                      <a:pt x="1815" y="964"/>
                      <a:pt x="1805" y="965"/>
                      <a:pt x="1803" y="972"/>
                    </a:cubicBezTo>
                    <a:cubicBezTo>
                      <a:pt x="1802" y="974"/>
                      <a:pt x="1806" y="983"/>
                      <a:pt x="1801" y="983"/>
                    </a:cubicBezTo>
                    <a:cubicBezTo>
                      <a:pt x="1799" y="983"/>
                      <a:pt x="1802" y="978"/>
                      <a:pt x="1801" y="977"/>
                    </a:cubicBezTo>
                    <a:cubicBezTo>
                      <a:pt x="1797" y="974"/>
                      <a:pt x="1787" y="973"/>
                      <a:pt x="1783" y="974"/>
                    </a:cubicBezTo>
                    <a:cubicBezTo>
                      <a:pt x="1766" y="976"/>
                      <a:pt x="1728" y="985"/>
                      <a:pt x="1712" y="990"/>
                    </a:cubicBezTo>
                    <a:cubicBezTo>
                      <a:pt x="1706" y="992"/>
                      <a:pt x="1704" y="1001"/>
                      <a:pt x="1695" y="1002"/>
                    </a:cubicBezTo>
                    <a:cubicBezTo>
                      <a:pt x="1693" y="1002"/>
                      <a:pt x="1714" y="984"/>
                      <a:pt x="1714" y="984"/>
                    </a:cubicBezTo>
                    <a:cubicBezTo>
                      <a:pt x="1704" y="974"/>
                      <a:pt x="1677" y="994"/>
                      <a:pt x="1664" y="989"/>
                    </a:cubicBezTo>
                    <a:cubicBezTo>
                      <a:pt x="1638" y="979"/>
                      <a:pt x="1640" y="957"/>
                      <a:pt x="1627" y="937"/>
                    </a:cubicBezTo>
                    <a:cubicBezTo>
                      <a:pt x="1614" y="917"/>
                      <a:pt x="1554" y="927"/>
                      <a:pt x="1566" y="891"/>
                    </a:cubicBezTo>
                    <a:cubicBezTo>
                      <a:pt x="1572" y="873"/>
                      <a:pt x="1594" y="878"/>
                      <a:pt x="1601" y="868"/>
                    </a:cubicBezTo>
                    <a:cubicBezTo>
                      <a:pt x="1607" y="861"/>
                      <a:pt x="1598" y="854"/>
                      <a:pt x="1598" y="853"/>
                    </a:cubicBezTo>
                    <a:cubicBezTo>
                      <a:pt x="1603" y="840"/>
                      <a:pt x="1649" y="840"/>
                      <a:pt x="1660" y="839"/>
                    </a:cubicBezTo>
                    <a:cubicBezTo>
                      <a:pt x="1671" y="838"/>
                      <a:pt x="1685" y="832"/>
                      <a:pt x="1695" y="833"/>
                    </a:cubicBezTo>
                    <a:cubicBezTo>
                      <a:pt x="1700" y="833"/>
                      <a:pt x="1722" y="841"/>
                      <a:pt x="1725" y="834"/>
                    </a:cubicBezTo>
                    <a:cubicBezTo>
                      <a:pt x="1726" y="831"/>
                      <a:pt x="1713" y="795"/>
                      <a:pt x="1710" y="790"/>
                    </a:cubicBezTo>
                    <a:cubicBezTo>
                      <a:pt x="1708" y="789"/>
                      <a:pt x="1702" y="790"/>
                      <a:pt x="1702" y="789"/>
                    </a:cubicBezTo>
                    <a:cubicBezTo>
                      <a:pt x="1702" y="789"/>
                      <a:pt x="1710" y="789"/>
                      <a:pt x="1709" y="785"/>
                    </a:cubicBezTo>
                    <a:cubicBezTo>
                      <a:pt x="1708" y="783"/>
                      <a:pt x="1670" y="759"/>
                      <a:pt x="1664" y="755"/>
                    </a:cubicBezTo>
                    <a:cubicBezTo>
                      <a:pt x="1663" y="755"/>
                      <a:pt x="1654" y="737"/>
                      <a:pt x="1657" y="736"/>
                    </a:cubicBezTo>
                    <a:cubicBezTo>
                      <a:pt x="1658" y="735"/>
                      <a:pt x="1667" y="736"/>
                      <a:pt x="1661" y="733"/>
                    </a:cubicBezTo>
                    <a:cubicBezTo>
                      <a:pt x="1607" y="704"/>
                      <a:pt x="1552" y="725"/>
                      <a:pt x="1495" y="722"/>
                    </a:cubicBezTo>
                    <a:cubicBezTo>
                      <a:pt x="1469" y="721"/>
                      <a:pt x="1447" y="692"/>
                      <a:pt x="1421" y="698"/>
                    </a:cubicBezTo>
                    <a:cubicBezTo>
                      <a:pt x="1396" y="704"/>
                      <a:pt x="1478" y="742"/>
                      <a:pt x="1483" y="744"/>
                    </a:cubicBezTo>
                    <a:cubicBezTo>
                      <a:pt x="1525" y="770"/>
                      <a:pt x="1486" y="783"/>
                      <a:pt x="1498" y="800"/>
                    </a:cubicBezTo>
                    <a:cubicBezTo>
                      <a:pt x="1500" y="803"/>
                      <a:pt x="1514" y="793"/>
                      <a:pt x="1519" y="796"/>
                    </a:cubicBezTo>
                    <a:cubicBezTo>
                      <a:pt x="1521" y="798"/>
                      <a:pt x="1514" y="796"/>
                      <a:pt x="1512" y="797"/>
                    </a:cubicBezTo>
                    <a:cubicBezTo>
                      <a:pt x="1508" y="799"/>
                      <a:pt x="1505" y="802"/>
                      <a:pt x="1501" y="804"/>
                    </a:cubicBezTo>
                    <a:cubicBezTo>
                      <a:pt x="1499" y="804"/>
                      <a:pt x="1495" y="809"/>
                      <a:pt x="1494" y="816"/>
                    </a:cubicBezTo>
                    <a:cubicBezTo>
                      <a:pt x="1492" y="822"/>
                      <a:pt x="1507" y="812"/>
                      <a:pt x="1506" y="818"/>
                    </a:cubicBezTo>
                    <a:cubicBezTo>
                      <a:pt x="1505" y="826"/>
                      <a:pt x="1492" y="820"/>
                      <a:pt x="1490" y="825"/>
                    </a:cubicBezTo>
                    <a:cubicBezTo>
                      <a:pt x="1488" y="831"/>
                      <a:pt x="1495" y="834"/>
                      <a:pt x="1494" y="840"/>
                    </a:cubicBezTo>
                    <a:cubicBezTo>
                      <a:pt x="1494" y="842"/>
                      <a:pt x="1488" y="850"/>
                      <a:pt x="1489" y="852"/>
                    </a:cubicBezTo>
                    <a:cubicBezTo>
                      <a:pt x="1491" y="856"/>
                      <a:pt x="1501" y="858"/>
                      <a:pt x="1490" y="856"/>
                    </a:cubicBezTo>
                    <a:cubicBezTo>
                      <a:pt x="1484" y="854"/>
                      <a:pt x="1459" y="910"/>
                      <a:pt x="1460" y="923"/>
                    </a:cubicBezTo>
                    <a:cubicBezTo>
                      <a:pt x="1463" y="945"/>
                      <a:pt x="1484" y="929"/>
                      <a:pt x="1496" y="936"/>
                    </a:cubicBezTo>
                    <a:cubicBezTo>
                      <a:pt x="1502" y="940"/>
                      <a:pt x="1503" y="951"/>
                      <a:pt x="1512" y="947"/>
                    </a:cubicBezTo>
                    <a:cubicBezTo>
                      <a:pt x="1512" y="947"/>
                      <a:pt x="1516" y="945"/>
                      <a:pt x="1517" y="946"/>
                    </a:cubicBezTo>
                    <a:cubicBezTo>
                      <a:pt x="1517" y="948"/>
                      <a:pt x="1509" y="950"/>
                      <a:pt x="1510" y="953"/>
                    </a:cubicBezTo>
                    <a:cubicBezTo>
                      <a:pt x="1510" y="961"/>
                      <a:pt x="1535" y="970"/>
                      <a:pt x="1526" y="977"/>
                    </a:cubicBezTo>
                    <a:cubicBezTo>
                      <a:pt x="1524" y="978"/>
                      <a:pt x="1527" y="986"/>
                      <a:pt x="1526" y="988"/>
                    </a:cubicBezTo>
                    <a:cubicBezTo>
                      <a:pt x="1524" y="993"/>
                      <a:pt x="1516" y="990"/>
                      <a:pt x="1515" y="995"/>
                    </a:cubicBezTo>
                    <a:cubicBezTo>
                      <a:pt x="1514" y="1000"/>
                      <a:pt x="1533" y="1012"/>
                      <a:pt x="1533" y="1012"/>
                    </a:cubicBezTo>
                    <a:cubicBezTo>
                      <a:pt x="1534" y="1016"/>
                      <a:pt x="1522" y="1016"/>
                      <a:pt x="1520" y="1018"/>
                    </a:cubicBezTo>
                    <a:cubicBezTo>
                      <a:pt x="1515" y="1023"/>
                      <a:pt x="1517" y="1032"/>
                      <a:pt x="1515" y="1038"/>
                    </a:cubicBezTo>
                    <a:cubicBezTo>
                      <a:pt x="1508" y="1055"/>
                      <a:pt x="1487" y="1063"/>
                      <a:pt x="1490" y="1091"/>
                    </a:cubicBezTo>
                    <a:cubicBezTo>
                      <a:pt x="1490" y="1091"/>
                      <a:pt x="1490" y="1091"/>
                      <a:pt x="1490" y="1092"/>
                    </a:cubicBezTo>
                    <a:cubicBezTo>
                      <a:pt x="1494" y="1105"/>
                      <a:pt x="1498" y="1116"/>
                      <a:pt x="1499" y="1130"/>
                    </a:cubicBezTo>
                    <a:cubicBezTo>
                      <a:pt x="1499" y="1131"/>
                      <a:pt x="1500" y="1137"/>
                      <a:pt x="1499" y="1137"/>
                    </a:cubicBezTo>
                    <a:cubicBezTo>
                      <a:pt x="1492" y="1137"/>
                      <a:pt x="1484" y="1060"/>
                      <a:pt x="1436" y="1096"/>
                    </a:cubicBezTo>
                    <a:cubicBezTo>
                      <a:pt x="1421" y="1108"/>
                      <a:pt x="1435" y="1102"/>
                      <a:pt x="1439" y="1109"/>
                    </a:cubicBezTo>
                    <a:cubicBezTo>
                      <a:pt x="1441" y="1112"/>
                      <a:pt x="1440" y="1114"/>
                      <a:pt x="1440" y="1117"/>
                    </a:cubicBezTo>
                    <a:cubicBezTo>
                      <a:pt x="1440" y="1117"/>
                      <a:pt x="1440" y="1120"/>
                      <a:pt x="1439" y="1120"/>
                    </a:cubicBezTo>
                    <a:cubicBezTo>
                      <a:pt x="1438" y="1119"/>
                      <a:pt x="1437" y="1115"/>
                      <a:pt x="1436" y="1113"/>
                    </a:cubicBezTo>
                    <a:cubicBezTo>
                      <a:pt x="1436" y="1113"/>
                      <a:pt x="1415" y="1105"/>
                      <a:pt x="1420" y="1101"/>
                    </a:cubicBezTo>
                    <a:cubicBezTo>
                      <a:pt x="1424" y="1096"/>
                      <a:pt x="1460" y="1083"/>
                      <a:pt x="1454" y="1076"/>
                    </a:cubicBezTo>
                    <a:cubicBezTo>
                      <a:pt x="1447" y="1064"/>
                      <a:pt x="1436" y="1069"/>
                      <a:pt x="1427" y="1064"/>
                    </a:cubicBezTo>
                    <a:cubicBezTo>
                      <a:pt x="1423" y="1061"/>
                      <a:pt x="1426" y="1052"/>
                      <a:pt x="1419" y="1050"/>
                    </a:cubicBezTo>
                    <a:cubicBezTo>
                      <a:pt x="1406" y="1046"/>
                      <a:pt x="1360" y="1061"/>
                      <a:pt x="1353" y="1058"/>
                    </a:cubicBezTo>
                    <a:cubicBezTo>
                      <a:pt x="1351" y="1056"/>
                      <a:pt x="1366" y="1052"/>
                      <a:pt x="1364" y="1049"/>
                    </a:cubicBezTo>
                    <a:cubicBezTo>
                      <a:pt x="1360" y="1041"/>
                      <a:pt x="1334" y="1037"/>
                      <a:pt x="1325" y="1035"/>
                    </a:cubicBezTo>
                    <a:cubicBezTo>
                      <a:pt x="1316" y="1032"/>
                      <a:pt x="1274" y="1094"/>
                      <a:pt x="1247" y="1106"/>
                    </a:cubicBezTo>
                    <a:cubicBezTo>
                      <a:pt x="1229" y="1114"/>
                      <a:pt x="1205" y="1112"/>
                      <a:pt x="1189" y="1121"/>
                    </a:cubicBezTo>
                    <a:cubicBezTo>
                      <a:pt x="1178" y="1126"/>
                      <a:pt x="1172" y="1142"/>
                      <a:pt x="1163" y="1150"/>
                    </a:cubicBezTo>
                    <a:cubicBezTo>
                      <a:pt x="1147" y="1163"/>
                      <a:pt x="1115" y="1165"/>
                      <a:pt x="1104" y="1184"/>
                    </a:cubicBezTo>
                    <a:cubicBezTo>
                      <a:pt x="1093" y="1204"/>
                      <a:pt x="1123" y="1248"/>
                      <a:pt x="1139" y="1261"/>
                    </a:cubicBezTo>
                    <a:cubicBezTo>
                      <a:pt x="1143" y="1263"/>
                      <a:pt x="1149" y="1262"/>
                      <a:pt x="1151" y="1266"/>
                    </a:cubicBezTo>
                    <a:cubicBezTo>
                      <a:pt x="1157" y="1277"/>
                      <a:pt x="1160" y="1289"/>
                      <a:pt x="1165" y="1299"/>
                    </a:cubicBezTo>
                    <a:cubicBezTo>
                      <a:pt x="1167" y="1302"/>
                      <a:pt x="1172" y="1299"/>
                      <a:pt x="1173" y="1304"/>
                    </a:cubicBezTo>
                    <a:cubicBezTo>
                      <a:pt x="1173" y="1305"/>
                      <a:pt x="1162" y="1300"/>
                      <a:pt x="1163" y="1307"/>
                    </a:cubicBezTo>
                    <a:cubicBezTo>
                      <a:pt x="1163" y="1313"/>
                      <a:pt x="1177" y="1334"/>
                      <a:pt x="1172" y="1338"/>
                    </a:cubicBezTo>
                    <a:cubicBezTo>
                      <a:pt x="1158" y="1348"/>
                      <a:pt x="1125" y="1316"/>
                      <a:pt x="1111" y="1317"/>
                    </a:cubicBezTo>
                    <a:cubicBezTo>
                      <a:pt x="1109" y="1318"/>
                      <a:pt x="1108" y="1324"/>
                      <a:pt x="1107" y="1325"/>
                    </a:cubicBezTo>
                    <a:cubicBezTo>
                      <a:pt x="1107" y="1328"/>
                      <a:pt x="1107" y="1330"/>
                      <a:pt x="1111" y="1328"/>
                    </a:cubicBezTo>
                    <a:cubicBezTo>
                      <a:pt x="1127" y="1319"/>
                      <a:pt x="1106" y="1335"/>
                      <a:pt x="1103" y="1335"/>
                    </a:cubicBezTo>
                    <a:cubicBezTo>
                      <a:pt x="1077" y="1341"/>
                      <a:pt x="1017" y="1290"/>
                      <a:pt x="987" y="1295"/>
                    </a:cubicBezTo>
                    <a:cubicBezTo>
                      <a:pt x="977" y="1296"/>
                      <a:pt x="998" y="1305"/>
                      <a:pt x="989" y="1307"/>
                    </a:cubicBezTo>
                    <a:cubicBezTo>
                      <a:pt x="980" y="1309"/>
                      <a:pt x="973" y="1304"/>
                      <a:pt x="964" y="1311"/>
                    </a:cubicBezTo>
                    <a:cubicBezTo>
                      <a:pt x="959" y="1314"/>
                      <a:pt x="953" y="1326"/>
                      <a:pt x="951" y="1321"/>
                    </a:cubicBezTo>
                    <a:cubicBezTo>
                      <a:pt x="950" y="1318"/>
                      <a:pt x="960" y="1317"/>
                      <a:pt x="959" y="1314"/>
                    </a:cubicBezTo>
                    <a:cubicBezTo>
                      <a:pt x="958" y="1310"/>
                      <a:pt x="949" y="1309"/>
                      <a:pt x="951" y="1304"/>
                    </a:cubicBezTo>
                    <a:cubicBezTo>
                      <a:pt x="955" y="1294"/>
                      <a:pt x="982" y="1304"/>
                      <a:pt x="983" y="1302"/>
                    </a:cubicBezTo>
                    <a:cubicBezTo>
                      <a:pt x="984" y="1302"/>
                      <a:pt x="979" y="1297"/>
                      <a:pt x="981" y="1294"/>
                    </a:cubicBezTo>
                    <a:cubicBezTo>
                      <a:pt x="982" y="1293"/>
                      <a:pt x="986" y="1291"/>
                      <a:pt x="984" y="1289"/>
                    </a:cubicBezTo>
                    <a:cubicBezTo>
                      <a:pt x="981" y="1285"/>
                      <a:pt x="954" y="1291"/>
                      <a:pt x="946" y="1286"/>
                    </a:cubicBezTo>
                    <a:cubicBezTo>
                      <a:pt x="927" y="1276"/>
                      <a:pt x="929" y="1266"/>
                      <a:pt x="923" y="1261"/>
                    </a:cubicBezTo>
                    <a:cubicBezTo>
                      <a:pt x="903" y="1245"/>
                      <a:pt x="871" y="1236"/>
                      <a:pt x="847" y="1240"/>
                    </a:cubicBezTo>
                    <a:cubicBezTo>
                      <a:pt x="843" y="1241"/>
                      <a:pt x="847" y="1265"/>
                      <a:pt x="843" y="1270"/>
                    </a:cubicBezTo>
                    <a:cubicBezTo>
                      <a:pt x="836" y="1278"/>
                      <a:pt x="809" y="1276"/>
                      <a:pt x="809" y="1276"/>
                    </a:cubicBezTo>
                    <a:cubicBezTo>
                      <a:pt x="807" y="1279"/>
                      <a:pt x="811" y="1286"/>
                      <a:pt x="813" y="1288"/>
                    </a:cubicBezTo>
                    <a:cubicBezTo>
                      <a:pt x="824" y="1297"/>
                      <a:pt x="807" y="1295"/>
                      <a:pt x="819" y="1306"/>
                    </a:cubicBezTo>
                    <a:cubicBezTo>
                      <a:pt x="822" y="1309"/>
                      <a:pt x="830" y="1306"/>
                      <a:pt x="834" y="1311"/>
                    </a:cubicBezTo>
                    <a:cubicBezTo>
                      <a:pt x="848" y="1324"/>
                      <a:pt x="856" y="1344"/>
                      <a:pt x="871" y="1357"/>
                    </a:cubicBezTo>
                    <a:cubicBezTo>
                      <a:pt x="878" y="1362"/>
                      <a:pt x="911" y="1366"/>
                      <a:pt x="915" y="1363"/>
                    </a:cubicBezTo>
                    <a:cubicBezTo>
                      <a:pt x="925" y="1356"/>
                      <a:pt x="923" y="1343"/>
                      <a:pt x="931" y="1360"/>
                    </a:cubicBezTo>
                    <a:cubicBezTo>
                      <a:pt x="933" y="1365"/>
                      <a:pt x="942" y="1361"/>
                      <a:pt x="944" y="1365"/>
                    </a:cubicBezTo>
                    <a:cubicBezTo>
                      <a:pt x="945" y="1367"/>
                      <a:pt x="938" y="1365"/>
                      <a:pt x="939" y="1367"/>
                    </a:cubicBezTo>
                    <a:cubicBezTo>
                      <a:pt x="941" y="1371"/>
                      <a:pt x="948" y="1369"/>
                      <a:pt x="950" y="1372"/>
                    </a:cubicBezTo>
                    <a:cubicBezTo>
                      <a:pt x="953" y="1378"/>
                      <a:pt x="937" y="1379"/>
                      <a:pt x="939" y="1384"/>
                    </a:cubicBezTo>
                    <a:cubicBezTo>
                      <a:pt x="943" y="1394"/>
                      <a:pt x="965" y="1404"/>
                      <a:pt x="953" y="1418"/>
                    </a:cubicBezTo>
                    <a:cubicBezTo>
                      <a:pt x="939" y="1434"/>
                      <a:pt x="932" y="1423"/>
                      <a:pt x="917" y="1430"/>
                    </a:cubicBezTo>
                    <a:cubicBezTo>
                      <a:pt x="910" y="1433"/>
                      <a:pt x="913" y="1440"/>
                      <a:pt x="908" y="1444"/>
                    </a:cubicBezTo>
                    <a:cubicBezTo>
                      <a:pt x="897" y="1452"/>
                      <a:pt x="870" y="1438"/>
                      <a:pt x="858" y="1434"/>
                    </a:cubicBezTo>
                    <a:cubicBezTo>
                      <a:pt x="841" y="1428"/>
                      <a:pt x="820" y="1424"/>
                      <a:pt x="800" y="1418"/>
                    </a:cubicBezTo>
                    <a:cubicBezTo>
                      <a:pt x="787" y="1414"/>
                      <a:pt x="795" y="1398"/>
                      <a:pt x="795" y="1397"/>
                    </a:cubicBezTo>
                    <a:cubicBezTo>
                      <a:pt x="794" y="1394"/>
                      <a:pt x="773" y="1376"/>
                      <a:pt x="772" y="1383"/>
                    </a:cubicBezTo>
                    <a:cubicBezTo>
                      <a:pt x="771" y="1386"/>
                      <a:pt x="773" y="1391"/>
                      <a:pt x="769" y="1389"/>
                    </a:cubicBezTo>
                    <a:cubicBezTo>
                      <a:pt x="759" y="1385"/>
                      <a:pt x="763" y="1370"/>
                      <a:pt x="751" y="1367"/>
                    </a:cubicBezTo>
                    <a:cubicBezTo>
                      <a:pt x="747" y="1365"/>
                      <a:pt x="736" y="1356"/>
                      <a:pt x="731" y="1357"/>
                    </a:cubicBezTo>
                    <a:cubicBezTo>
                      <a:pt x="729" y="1358"/>
                      <a:pt x="737" y="1365"/>
                      <a:pt x="733" y="1367"/>
                    </a:cubicBezTo>
                    <a:cubicBezTo>
                      <a:pt x="725" y="1370"/>
                      <a:pt x="680" y="1359"/>
                      <a:pt x="677" y="1351"/>
                    </a:cubicBezTo>
                    <a:cubicBezTo>
                      <a:pt x="675" y="1347"/>
                      <a:pt x="680" y="1344"/>
                      <a:pt x="676" y="1341"/>
                    </a:cubicBezTo>
                    <a:cubicBezTo>
                      <a:pt x="672" y="1339"/>
                      <a:pt x="659" y="1339"/>
                      <a:pt x="657" y="1335"/>
                    </a:cubicBezTo>
                    <a:cubicBezTo>
                      <a:pt x="657" y="1334"/>
                      <a:pt x="659" y="1334"/>
                      <a:pt x="659" y="1334"/>
                    </a:cubicBezTo>
                    <a:cubicBezTo>
                      <a:pt x="660" y="1335"/>
                      <a:pt x="677" y="1326"/>
                      <a:pt x="677" y="1322"/>
                    </a:cubicBezTo>
                    <a:cubicBezTo>
                      <a:pt x="678" y="1318"/>
                      <a:pt x="662" y="1316"/>
                      <a:pt x="664" y="1310"/>
                    </a:cubicBezTo>
                    <a:cubicBezTo>
                      <a:pt x="664" y="1309"/>
                      <a:pt x="683" y="1304"/>
                      <a:pt x="682" y="1302"/>
                    </a:cubicBezTo>
                    <a:cubicBezTo>
                      <a:pt x="678" y="1294"/>
                      <a:pt x="658" y="1309"/>
                      <a:pt x="658" y="1302"/>
                    </a:cubicBezTo>
                    <a:cubicBezTo>
                      <a:pt x="658" y="1300"/>
                      <a:pt x="675" y="1297"/>
                      <a:pt x="675" y="1291"/>
                    </a:cubicBezTo>
                    <a:cubicBezTo>
                      <a:pt x="676" y="1284"/>
                      <a:pt x="658" y="1275"/>
                      <a:pt x="654" y="1271"/>
                    </a:cubicBezTo>
                    <a:cubicBezTo>
                      <a:pt x="652" y="1270"/>
                      <a:pt x="659" y="1267"/>
                      <a:pt x="660" y="1267"/>
                    </a:cubicBezTo>
                    <a:cubicBezTo>
                      <a:pt x="662" y="1266"/>
                      <a:pt x="662" y="1254"/>
                      <a:pt x="660" y="1252"/>
                    </a:cubicBezTo>
                    <a:cubicBezTo>
                      <a:pt x="659" y="1249"/>
                      <a:pt x="653" y="1253"/>
                      <a:pt x="651" y="1251"/>
                    </a:cubicBezTo>
                    <a:cubicBezTo>
                      <a:pt x="651" y="1250"/>
                      <a:pt x="650" y="1250"/>
                      <a:pt x="650" y="1250"/>
                    </a:cubicBezTo>
                    <a:cubicBezTo>
                      <a:pt x="649" y="1247"/>
                      <a:pt x="646" y="1244"/>
                      <a:pt x="647" y="1241"/>
                    </a:cubicBezTo>
                    <a:cubicBezTo>
                      <a:pt x="648" y="1240"/>
                      <a:pt x="654" y="1242"/>
                      <a:pt x="652" y="1239"/>
                    </a:cubicBezTo>
                    <a:cubicBezTo>
                      <a:pt x="645" y="1225"/>
                      <a:pt x="636" y="1232"/>
                      <a:pt x="633" y="1215"/>
                    </a:cubicBezTo>
                    <a:cubicBezTo>
                      <a:pt x="633" y="1213"/>
                      <a:pt x="633" y="1214"/>
                      <a:pt x="632" y="1213"/>
                    </a:cubicBezTo>
                    <a:cubicBezTo>
                      <a:pt x="629" y="1211"/>
                      <a:pt x="621" y="1212"/>
                      <a:pt x="618" y="1210"/>
                    </a:cubicBezTo>
                    <a:cubicBezTo>
                      <a:pt x="616" y="1208"/>
                      <a:pt x="636" y="1206"/>
                      <a:pt x="636" y="1206"/>
                    </a:cubicBezTo>
                    <a:cubicBezTo>
                      <a:pt x="637" y="1205"/>
                      <a:pt x="633" y="1202"/>
                      <a:pt x="635" y="1200"/>
                    </a:cubicBezTo>
                    <a:cubicBezTo>
                      <a:pt x="637" y="1197"/>
                      <a:pt x="659" y="1200"/>
                      <a:pt x="661" y="1177"/>
                    </a:cubicBezTo>
                    <a:cubicBezTo>
                      <a:pt x="661" y="1174"/>
                      <a:pt x="655" y="1156"/>
                      <a:pt x="653" y="1152"/>
                    </a:cubicBezTo>
                    <a:cubicBezTo>
                      <a:pt x="652" y="1152"/>
                      <a:pt x="651" y="1145"/>
                      <a:pt x="653" y="1146"/>
                    </a:cubicBezTo>
                    <a:cubicBezTo>
                      <a:pt x="659" y="1147"/>
                      <a:pt x="667" y="1163"/>
                      <a:pt x="674" y="1162"/>
                    </a:cubicBezTo>
                    <a:cubicBezTo>
                      <a:pt x="677" y="1162"/>
                      <a:pt x="671" y="1149"/>
                      <a:pt x="671" y="1147"/>
                    </a:cubicBezTo>
                    <a:cubicBezTo>
                      <a:pt x="670" y="1139"/>
                      <a:pt x="665" y="1146"/>
                      <a:pt x="665" y="1140"/>
                    </a:cubicBezTo>
                    <a:cubicBezTo>
                      <a:pt x="665" y="1135"/>
                      <a:pt x="672" y="1129"/>
                      <a:pt x="660" y="1129"/>
                    </a:cubicBezTo>
                    <a:cubicBezTo>
                      <a:pt x="658" y="1129"/>
                      <a:pt x="654" y="1132"/>
                      <a:pt x="653" y="1131"/>
                    </a:cubicBezTo>
                    <a:cubicBezTo>
                      <a:pt x="648" y="1128"/>
                      <a:pt x="656" y="1119"/>
                      <a:pt x="655" y="1117"/>
                    </a:cubicBezTo>
                    <a:cubicBezTo>
                      <a:pt x="639" y="1100"/>
                      <a:pt x="629" y="1097"/>
                      <a:pt x="605" y="1087"/>
                    </a:cubicBezTo>
                    <a:cubicBezTo>
                      <a:pt x="602" y="1086"/>
                      <a:pt x="604" y="1078"/>
                      <a:pt x="600" y="1077"/>
                    </a:cubicBezTo>
                    <a:cubicBezTo>
                      <a:pt x="594" y="1076"/>
                      <a:pt x="587" y="1081"/>
                      <a:pt x="582" y="1081"/>
                    </a:cubicBezTo>
                    <a:cubicBezTo>
                      <a:pt x="582" y="1081"/>
                      <a:pt x="581" y="1081"/>
                      <a:pt x="581" y="1081"/>
                    </a:cubicBezTo>
                    <a:cubicBezTo>
                      <a:pt x="577" y="1076"/>
                      <a:pt x="561" y="1067"/>
                      <a:pt x="557" y="1065"/>
                    </a:cubicBezTo>
                    <a:cubicBezTo>
                      <a:pt x="552" y="1064"/>
                      <a:pt x="535" y="1073"/>
                      <a:pt x="530" y="1067"/>
                    </a:cubicBezTo>
                    <a:cubicBezTo>
                      <a:pt x="528" y="1065"/>
                      <a:pt x="559" y="1063"/>
                      <a:pt x="561" y="1062"/>
                    </a:cubicBezTo>
                    <a:cubicBezTo>
                      <a:pt x="566" y="1061"/>
                      <a:pt x="548" y="1059"/>
                      <a:pt x="548" y="1054"/>
                    </a:cubicBezTo>
                    <a:cubicBezTo>
                      <a:pt x="547" y="1051"/>
                      <a:pt x="566" y="1054"/>
                      <a:pt x="567" y="1051"/>
                    </a:cubicBezTo>
                    <a:cubicBezTo>
                      <a:pt x="568" y="1049"/>
                      <a:pt x="563" y="1049"/>
                      <a:pt x="563" y="1048"/>
                    </a:cubicBezTo>
                    <a:cubicBezTo>
                      <a:pt x="555" y="1045"/>
                      <a:pt x="525" y="1034"/>
                      <a:pt x="522" y="1034"/>
                    </a:cubicBezTo>
                    <a:cubicBezTo>
                      <a:pt x="521" y="1034"/>
                      <a:pt x="495" y="1043"/>
                      <a:pt x="497" y="1035"/>
                    </a:cubicBezTo>
                    <a:cubicBezTo>
                      <a:pt x="499" y="1026"/>
                      <a:pt x="532" y="1032"/>
                      <a:pt x="542" y="1035"/>
                    </a:cubicBezTo>
                    <a:cubicBezTo>
                      <a:pt x="544" y="1035"/>
                      <a:pt x="549" y="1037"/>
                      <a:pt x="550" y="1034"/>
                    </a:cubicBezTo>
                    <a:cubicBezTo>
                      <a:pt x="550" y="1032"/>
                      <a:pt x="543" y="1032"/>
                      <a:pt x="542" y="1030"/>
                    </a:cubicBezTo>
                    <a:cubicBezTo>
                      <a:pt x="539" y="1011"/>
                      <a:pt x="509" y="1029"/>
                      <a:pt x="504" y="1028"/>
                    </a:cubicBezTo>
                    <a:cubicBezTo>
                      <a:pt x="503" y="1028"/>
                      <a:pt x="501" y="1028"/>
                      <a:pt x="499" y="1027"/>
                    </a:cubicBezTo>
                    <a:cubicBezTo>
                      <a:pt x="499" y="1027"/>
                      <a:pt x="498" y="1027"/>
                      <a:pt x="497" y="1027"/>
                    </a:cubicBezTo>
                    <a:cubicBezTo>
                      <a:pt x="496" y="1027"/>
                      <a:pt x="490" y="1028"/>
                      <a:pt x="490" y="1026"/>
                    </a:cubicBezTo>
                    <a:cubicBezTo>
                      <a:pt x="489" y="1022"/>
                      <a:pt x="499" y="1024"/>
                      <a:pt x="500" y="1024"/>
                    </a:cubicBezTo>
                    <a:cubicBezTo>
                      <a:pt x="510" y="1026"/>
                      <a:pt x="510" y="1015"/>
                      <a:pt x="516" y="1016"/>
                    </a:cubicBezTo>
                    <a:cubicBezTo>
                      <a:pt x="517" y="1016"/>
                      <a:pt x="530" y="1021"/>
                      <a:pt x="531" y="1020"/>
                    </a:cubicBezTo>
                    <a:cubicBezTo>
                      <a:pt x="536" y="1009"/>
                      <a:pt x="483" y="1013"/>
                      <a:pt x="482" y="1002"/>
                    </a:cubicBezTo>
                    <a:cubicBezTo>
                      <a:pt x="481" y="1001"/>
                      <a:pt x="485" y="1004"/>
                      <a:pt x="487" y="1004"/>
                    </a:cubicBezTo>
                    <a:cubicBezTo>
                      <a:pt x="490" y="1004"/>
                      <a:pt x="496" y="1005"/>
                      <a:pt x="496" y="1002"/>
                    </a:cubicBezTo>
                    <a:cubicBezTo>
                      <a:pt x="497" y="997"/>
                      <a:pt x="457" y="984"/>
                      <a:pt x="450" y="980"/>
                    </a:cubicBezTo>
                    <a:cubicBezTo>
                      <a:pt x="448" y="978"/>
                      <a:pt x="457" y="976"/>
                      <a:pt x="457" y="972"/>
                    </a:cubicBezTo>
                    <a:cubicBezTo>
                      <a:pt x="457" y="972"/>
                      <a:pt x="440" y="965"/>
                      <a:pt x="457" y="969"/>
                    </a:cubicBezTo>
                    <a:cubicBezTo>
                      <a:pt x="458" y="970"/>
                      <a:pt x="460" y="971"/>
                      <a:pt x="460" y="968"/>
                    </a:cubicBezTo>
                    <a:cubicBezTo>
                      <a:pt x="461" y="967"/>
                      <a:pt x="463" y="966"/>
                      <a:pt x="463" y="964"/>
                    </a:cubicBezTo>
                    <a:cubicBezTo>
                      <a:pt x="464" y="953"/>
                      <a:pt x="443" y="956"/>
                      <a:pt x="439" y="951"/>
                    </a:cubicBezTo>
                    <a:cubicBezTo>
                      <a:pt x="437" y="950"/>
                      <a:pt x="446" y="953"/>
                      <a:pt x="445" y="950"/>
                    </a:cubicBezTo>
                    <a:cubicBezTo>
                      <a:pt x="440" y="942"/>
                      <a:pt x="398" y="941"/>
                      <a:pt x="400" y="938"/>
                    </a:cubicBezTo>
                    <a:cubicBezTo>
                      <a:pt x="401" y="937"/>
                      <a:pt x="403" y="937"/>
                      <a:pt x="404" y="937"/>
                    </a:cubicBezTo>
                    <a:cubicBezTo>
                      <a:pt x="415" y="937"/>
                      <a:pt x="494" y="943"/>
                      <a:pt x="499" y="948"/>
                    </a:cubicBezTo>
                    <a:cubicBezTo>
                      <a:pt x="500" y="949"/>
                      <a:pt x="493" y="950"/>
                      <a:pt x="493" y="950"/>
                    </a:cubicBezTo>
                    <a:cubicBezTo>
                      <a:pt x="486" y="951"/>
                      <a:pt x="482" y="954"/>
                      <a:pt x="485" y="961"/>
                    </a:cubicBezTo>
                    <a:cubicBezTo>
                      <a:pt x="490" y="975"/>
                      <a:pt x="535" y="1006"/>
                      <a:pt x="549" y="1005"/>
                    </a:cubicBezTo>
                    <a:cubicBezTo>
                      <a:pt x="557" y="1005"/>
                      <a:pt x="544" y="999"/>
                      <a:pt x="545" y="998"/>
                    </a:cubicBezTo>
                    <a:cubicBezTo>
                      <a:pt x="548" y="997"/>
                      <a:pt x="550" y="996"/>
                      <a:pt x="550" y="997"/>
                    </a:cubicBezTo>
                    <a:cubicBezTo>
                      <a:pt x="551" y="998"/>
                      <a:pt x="557" y="1003"/>
                      <a:pt x="558" y="1001"/>
                    </a:cubicBezTo>
                    <a:cubicBezTo>
                      <a:pt x="559" y="997"/>
                      <a:pt x="550" y="996"/>
                      <a:pt x="548" y="993"/>
                    </a:cubicBezTo>
                    <a:cubicBezTo>
                      <a:pt x="548" y="992"/>
                      <a:pt x="548" y="989"/>
                      <a:pt x="548" y="989"/>
                    </a:cubicBezTo>
                    <a:cubicBezTo>
                      <a:pt x="549" y="989"/>
                      <a:pt x="553" y="994"/>
                      <a:pt x="554" y="994"/>
                    </a:cubicBezTo>
                    <a:cubicBezTo>
                      <a:pt x="560" y="995"/>
                      <a:pt x="551" y="989"/>
                      <a:pt x="554" y="988"/>
                    </a:cubicBezTo>
                    <a:cubicBezTo>
                      <a:pt x="571" y="985"/>
                      <a:pt x="574" y="1018"/>
                      <a:pt x="592" y="1011"/>
                    </a:cubicBezTo>
                    <a:cubicBezTo>
                      <a:pt x="593" y="1010"/>
                      <a:pt x="596" y="1010"/>
                      <a:pt x="596" y="1010"/>
                    </a:cubicBezTo>
                    <a:cubicBezTo>
                      <a:pt x="599" y="1008"/>
                      <a:pt x="607" y="991"/>
                      <a:pt x="605" y="1003"/>
                    </a:cubicBezTo>
                    <a:cubicBezTo>
                      <a:pt x="605" y="1007"/>
                      <a:pt x="596" y="1010"/>
                      <a:pt x="599" y="1013"/>
                    </a:cubicBezTo>
                    <a:cubicBezTo>
                      <a:pt x="602" y="1016"/>
                      <a:pt x="636" y="1012"/>
                      <a:pt x="638" y="1016"/>
                    </a:cubicBezTo>
                    <a:cubicBezTo>
                      <a:pt x="641" y="1021"/>
                      <a:pt x="626" y="1015"/>
                      <a:pt x="623" y="1020"/>
                    </a:cubicBezTo>
                    <a:cubicBezTo>
                      <a:pt x="622" y="1023"/>
                      <a:pt x="630" y="1032"/>
                      <a:pt x="633" y="1034"/>
                    </a:cubicBezTo>
                    <a:cubicBezTo>
                      <a:pt x="644" y="1039"/>
                      <a:pt x="655" y="1020"/>
                      <a:pt x="667" y="1023"/>
                    </a:cubicBezTo>
                    <a:cubicBezTo>
                      <a:pt x="687" y="1027"/>
                      <a:pt x="705" y="1049"/>
                      <a:pt x="725" y="1056"/>
                    </a:cubicBezTo>
                    <a:cubicBezTo>
                      <a:pt x="767" y="1071"/>
                      <a:pt x="816" y="1066"/>
                      <a:pt x="860" y="1074"/>
                    </a:cubicBezTo>
                    <a:cubicBezTo>
                      <a:pt x="891" y="1081"/>
                      <a:pt x="914" y="1098"/>
                      <a:pt x="945" y="1103"/>
                    </a:cubicBezTo>
                    <a:cubicBezTo>
                      <a:pt x="1029" y="1117"/>
                      <a:pt x="1140" y="1086"/>
                      <a:pt x="1191" y="1026"/>
                    </a:cubicBezTo>
                    <a:cubicBezTo>
                      <a:pt x="1204" y="1011"/>
                      <a:pt x="1223" y="1003"/>
                      <a:pt x="1235" y="987"/>
                    </a:cubicBezTo>
                    <a:cubicBezTo>
                      <a:pt x="1241" y="979"/>
                      <a:pt x="1237" y="966"/>
                      <a:pt x="1239" y="963"/>
                    </a:cubicBezTo>
                    <a:cubicBezTo>
                      <a:pt x="1240" y="960"/>
                      <a:pt x="1245" y="964"/>
                      <a:pt x="1247" y="961"/>
                    </a:cubicBezTo>
                    <a:cubicBezTo>
                      <a:pt x="1250" y="957"/>
                      <a:pt x="1248" y="936"/>
                      <a:pt x="1248" y="931"/>
                    </a:cubicBezTo>
                    <a:cubicBezTo>
                      <a:pt x="1246" y="920"/>
                      <a:pt x="1230" y="935"/>
                      <a:pt x="1225" y="924"/>
                    </a:cubicBezTo>
                    <a:cubicBezTo>
                      <a:pt x="1223" y="917"/>
                      <a:pt x="1230" y="905"/>
                      <a:pt x="1229" y="898"/>
                    </a:cubicBezTo>
                    <a:cubicBezTo>
                      <a:pt x="1228" y="890"/>
                      <a:pt x="1216" y="891"/>
                      <a:pt x="1215" y="890"/>
                    </a:cubicBezTo>
                    <a:cubicBezTo>
                      <a:pt x="1210" y="878"/>
                      <a:pt x="1229" y="861"/>
                      <a:pt x="1215" y="850"/>
                    </a:cubicBezTo>
                    <a:cubicBezTo>
                      <a:pt x="1208" y="846"/>
                      <a:pt x="1204" y="852"/>
                      <a:pt x="1198" y="849"/>
                    </a:cubicBezTo>
                    <a:cubicBezTo>
                      <a:pt x="1193" y="847"/>
                      <a:pt x="1189" y="837"/>
                      <a:pt x="1186" y="836"/>
                    </a:cubicBezTo>
                    <a:cubicBezTo>
                      <a:pt x="1175" y="830"/>
                      <a:pt x="1179" y="844"/>
                      <a:pt x="1173" y="846"/>
                    </a:cubicBezTo>
                    <a:cubicBezTo>
                      <a:pt x="1172" y="846"/>
                      <a:pt x="1170" y="846"/>
                      <a:pt x="1168" y="845"/>
                    </a:cubicBezTo>
                    <a:cubicBezTo>
                      <a:pt x="1165" y="844"/>
                      <a:pt x="1155" y="834"/>
                      <a:pt x="1155" y="831"/>
                    </a:cubicBezTo>
                    <a:cubicBezTo>
                      <a:pt x="1154" y="828"/>
                      <a:pt x="1166" y="832"/>
                      <a:pt x="1163" y="826"/>
                    </a:cubicBezTo>
                    <a:cubicBezTo>
                      <a:pt x="1160" y="822"/>
                      <a:pt x="1153" y="823"/>
                      <a:pt x="1152" y="822"/>
                    </a:cubicBezTo>
                    <a:cubicBezTo>
                      <a:pt x="1152" y="821"/>
                      <a:pt x="1102" y="779"/>
                      <a:pt x="1102" y="779"/>
                    </a:cubicBezTo>
                    <a:cubicBezTo>
                      <a:pt x="1098" y="780"/>
                      <a:pt x="1117" y="799"/>
                      <a:pt x="1113" y="800"/>
                    </a:cubicBezTo>
                    <a:cubicBezTo>
                      <a:pt x="1081" y="808"/>
                      <a:pt x="1020" y="743"/>
                      <a:pt x="1002" y="745"/>
                    </a:cubicBezTo>
                    <a:cubicBezTo>
                      <a:pt x="995" y="746"/>
                      <a:pt x="988" y="752"/>
                      <a:pt x="1007" y="756"/>
                    </a:cubicBezTo>
                    <a:cubicBezTo>
                      <a:pt x="1008" y="756"/>
                      <a:pt x="1017" y="761"/>
                      <a:pt x="1016" y="762"/>
                    </a:cubicBezTo>
                    <a:cubicBezTo>
                      <a:pt x="1008" y="769"/>
                      <a:pt x="995" y="756"/>
                      <a:pt x="984" y="754"/>
                    </a:cubicBezTo>
                    <a:cubicBezTo>
                      <a:pt x="983" y="753"/>
                      <a:pt x="982" y="753"/>
                      <a:pt x="982" y="752"/>
                    </a:cubicBezTo>
                    <a:cubicBezTo>
                      <a:pt x="981" y="749"/>
                      <a:pt x="985" y="746"/>
                      <a:pt x="983" y="744"/>
                    </a:cubicBezTo>
                    <a:cubicBezTo>
                      <a:pt x="975" y="734"/>
                      <a:pt x="960" y="735"/>
                      <a:pt x="954" y="727"/>
                    </a:cubicBezTo>
                    <a:cubicBezTo>
                      <a:pt x="946" y="719"/>
                      <a:pt x="939" y="706"/>
                      <a:pt x="928" y="700"/>
                    </a:cubicBezTo>
                    <a:cubicBezTo>
                      <a:pt x="905" y="688"/>
                      <a:pt x="788" y="627"/>
                      <a:pt x="775" y="630"/>
                    </a:cubicBezTo>
                    <a:cubicBezTo>
                      <a:pt x="774" y="630"/>
                      <a:pt x="773" y="628"/>
                      <a:pt x="773" y="627"/>
                    </a:cubicBezTo>
                    <a:cubicBezTo>
                      <a:pt x="769" y="621"/>
                      <a:pt x="702" y="601"/>
                      <a:pt x="694" y="605"/>
                    </a:cubicBezTo>
                    <a:cubicBezTo>
                      <a:pt x="691" y="607"/>
                      <a:pt x="706" y="613"/>
                      <a:pt x="704" y="615"/>
                    </a:cubicBezTo>
                    <a:cubicBezTo>
                      <a:pt x="703" y="616"/>
                      <a:pt x="680" y="619"/>
                      <a:pt x="677" y="619"/>
                    </a:cubicBezTo>
                    <a:cubicBezTo>
                      <a:pt x="673" y="619"/>
                      <a:pt x="684" y="611"/>
                      <a:pt x="676" y="613"/>
                    </a:cubicBezTo>
                    <a:cubicBezTo>
                      <a:pt x="653" y="621"/>
                      <a:pt x="601" y="581"/>
                      <a:pt x="578" y="596"/>
                    </a:cubicBezTo>
                    <a:cubicBezTo>
                      <a:pt x="570" y="601"/>
                      <a:pt x="561" y="593"/>
                      <a:pt x="554" y="599"/>
                    </a:cubicBezTo>
                    <a:cubicBezTo>
                      <a:pt x="550" y="602"/>
                      <a:pt x="550" y="609"/>
                      <a:pt x="550" y="616"/>
                    </a:cubicBezTo>
                    <a:cubicBezTo>
                      <a:pt x="550" y="616"/>
                      <a:pt x="550" y="616"/>
                      <a:pt x="550" y="616"/>
                    </a:cubicBezTo>
                    <a:cubicBezTo>
                      <a:pt x="550" y="617"/>
                      <a:pt x="550" y="618"/>
                      <a:pt x="549" y="619"/>
                    </a:cubicBezTo>
                    <a:cubicBezTo>
                      <a:pt x="549" y="624"/>
                      <a:pt x="547" y="630"/>
                      <a:pt x="541" y="633"/>
                    </a:cubicBezTo>
                    <a:cubicBezTo>
                      <a:pt x="533" y="637"/>
                      <a:pt x="512" y="633"/>
                      <a:pt x="507" y="641"/>
                    </a:cubicBezTo>
                    <a:cubicBezTo>
                      <a:pt x="504" y="645"/>
                      <a:pt x="507" y="651"/>
                      <a:pt x="505" y="655"/>
                    </a:cubicBezTo>
                    <a:cubicBezTo>
                      <a:pt x="504" y="656"/>
                      <a:pt x="502" y="642"/>
                      <a:pt x="505" y="639"/>
                    </a:cubicBezTo>
                    <a:cubicBezTo>
                      <a:pt x="511" y="631"/>
                      <a:pt x="544" y="631"/>
                      <a:pt x="549" y="619"/>
                    </a:cubicBezTo>
                    <a:cubicBezTo>
                      <a:pt x="550" y="618"/>
                      <a:pt x="550" y="617"/>
                      <a:pt x="550" y="616"/>
                    </a:cubicBezTo>
                    <a:cubicBezTo>
                      <a:pt x="547" y="614"/>
                      <a:pt x="530" y="615"/>
                      <a:pt x="528" y="612"/>
                    </a:cubicBezTo>
                    <a:cubicBezTo>
                      <a:pt x="527" y="611"/>
                      <a:pt x="536" y="610"/>
                      <a:pt x="537" y="609"/>
                    </a:cubicBezTo>
                    <a:cubicBezTo>
                      <a:pt x="549" y="607"/>
                      <a:pt x="542" y="603"/>
                      <a:pt x="533" y="604"/>
                    </a:cubicBezTo>
                    <a:cubicBezTo>
                      <a:pt x="532" y="605"/>
                      <a:pt x="524" y="607"/>
                      <a:pt x="523" y="606"/>
                    </a:cubicBezTo>
                    <a:cubicBezTo>
                      <a:pt x="521" y="604"/>
                      <a:pt x="533" y="601"/>
                      <a:pt x="533" y="601"/>
                    </a:cubicBezTo>
                    <a:cubicBezTo>
                      <a:pt x="537" y="601"/>
                      <a:pt x="549" y="582"/>
                      <a:pt x="549" y="582"/>
                    </a:cubicBezTo>
                    <a:cubicBezTo>
                      <a:pt x="544" y="572"/>
                      <a:pt x="500" y="583"/>
                      <a:pt x="496" y="592"/>
                    </a:cubicBezTo>
                    <a:cubicBezTo>
                      <a:pt x="494" y="597"/>
                      <a:pt x="494" y="601"/>
                      <a:pt x="490" y="599"/>
                    </a:cubicBezTo>
                    <a:cubicBezTo>
                      <a:pt x="490" y="598"/>
                      <a:pt x="487" y="602"/>
                      <a:pt x="485" y="602"/>
                    </a:cubicBezTo>
                    <a:cubicBezTo>
                      <a:pt x="485" y="602"/>
                      <a:pt x="487" y="596"/>
                      <a:pt x="487" y="594"/>
                    </a:cubicBezTo>
                    <a:cubicBezTo>
                      <a:pt x="487" y="591"/>
                      <a:pt x="510" y="575"/>
                      <a:pt x="510" y="574"/>
                    </a:cubicBezTo>
                    <a:cubicBezTo>
                      <a:pt x="507" y="569"/>
                      <a:pt x="489" y="577"/>
                      <a:pt x="486" y="580"/>
                    </a:cubicBezTo>
                    <a:cubicBezTo>
                      <a:pt x="486" y="580"/>
                      <a:pt x="482" y="585"/>
                      <a:pt x="481" y="583"/>
                    </a:cubicBezTo>
                    <a:cubicBezTo>
                      <a:pt x="480" y="579"/>
                      <a:pt x="494" y="572"/>
                      <a:pt x="492" y="571"/>
                    </a:cubicBezTo>
                    <a:cubicBezTo>
                      <a:pt x="482" y="567"/>
                      <a:pt x="454" y="568"/>
                      <a:pt x="451" y="575"/>
                    </a:cubicBezTo>
                    <a:cubicBezTo>
                      <a:pt x="450" y="577"/>
                      <a:pt x="437" y="581"/>
                      <a:pt x="435" y="581"/>
                    </a:cubicBezTo>
                    <a:cubicBezTo>
                      <a:pt x="434" y="581"/>
                      <a:pt x="429" y="581"/>
                      <a:pt x="430" y="581"/>
                    </a:cubicBezTo>
                    <a:cubicBezTo>
                      <a:pt x="431" y="578"/>
                      <a:pt x="470" y="566"/>
                      <a:pt x="451" y="564"/>
                    </a:cubicBezTo>
                    <a:cubicBezTo>
                      <a:pt x="443" y="563"/>
                      <a:pt x="452" y="561"/>
                      <a:pt x="452" y="558"/>
                    </a:cubicBezTo>
                    <a:cubicBezTo>
                      <a:pt x="449" y="549"/>
                      <a:pt x="417" y="559"/>
                      <a:pt x="414" y="559"/>
                    </a:cubicBezTo>
                    <a:cubicBezTo>
                      <a:pt x="413" y="559"/>
                      <a:pt x="420" y="550"/>
                      <a:pt x="419" y="549"/>
                    </a:cubicBezTo>
                    <a:cubicBezTo>
                      <a:pt x="418" y="547"/>
                      <a:pt x="410" y="547"/>
                      <a:pt x="410" y="546"/>
                    </a:cubicBezTo>
                    <a:cubicBezTo>
                      <a:pt x="411" y="542"/>
                      <a:pt x="421" y="546"/>
                      <a:pt x="423" y="541"/>
                    </a:cubicBezTo>
                    <a:cubicBezTo>
                      <a:pt x="424" y="538"/>
                      <a:pt x="422" y="528"/>
                      <a:pt x="425" y="529"/>
                    </a:cubicBezTo>
                    <a:cubicBezTo>
                      <a:pt x="433" y="531"/>
                      <a:pt x="425" y="542"/>
                      <a:pt x="427" y="544"/>
                    </a:cubicBezTo>
                    <a:cubicBezTo>
                      <a:pt x="429" y="546"/>
                      <a:pt x="479" y="554"/>
                      <a:pt x="487" y="556"/>
                    </a:cubicBezTo>
                    <a:cubicBezTo>
                      <a:pt x="499" y="559"/>
                      <a:pt x="523" y="541"/>
                      <a:pt x="511" y="530"/>
                    </a:cubicBezTo>
                    <a:cubicBezTo>
                      <a:pt x="502" y="521"/>
                      <a:pt x="475" y="529"/>
                      <a:pt x="464" y="524"/>
                    </a:cubicBezTo>
                    <a:cubicBezTo>
                      <a:pt x="456" y="520"/>
                      <a:pt x="461" y="516"/>
                      <a:pt x="457" y="514"/>
                    </a:cubicBezTo>
                    <a:cubicBezTo>
                      <a:pt x="443" y="507"/>
                      <a:pt x="433" y="508"/>
                      <a:pt x="421" y="498"/>
                    </a:cubicBezTo>
                    <a:cubicBezTo>
                      <a:pt x="419" y="496"/>
                      <a:pt x="408" y="492"/>
                      <a:pt x="407" y="495"/>
                    </a:cubicBezTo>
                    <a:cubicBezTo>
                      <a:pt x="402" y="506"/>
                      <a:pt x="430" y="520"/>
                      <a:pt x="418" y="527"/>
                    </a:cubicBezTo>
                    <a:cubicBezTo>
                      <a:pt x="414" y="529"/>
                      <a:pt x="400" y="506"/>
                      <a:pt x="389" y="515"/>
                    </a:cubicBezTo>
                    <a:cubicBezTo>
                      <a:pt x="384" y="519"/>
                      <a:pt x="383" y="527"/>
                      <a:pt x="385" y="532"/>
                    </a:cubicBezTo>
                    <a:cubicBezTo>
                      <a:pt x="386" y="534"/>
                      <a:pt x="398" y="537"/>
                      <a:pt x="396" y="539"/>
                    </a:cubicBezTo>
                    <a:cubicBezTo>
                      <a:pt x="392" y="545"/>
                      <a:pt x="377" y="535"/>
                      <a:pt x="371" y="538"/>
                    </a:cubicBezTo>
                    <a:cubicBezTo>
                      <a:pt x="370" y="538"/>
                      <a:pt x="356" y="551"/>
                      <a:pt x="351" y="552"/>
                    </a:cubicBezTo>
                    <a:cubicBezTo>
                      <a:pt x="345" y="552"/>
                      <a:pt x="365" y="537"/>
                      <a:pt x="359" y="534"/>
                    </a:cubicBezTo>
                    <a:cubicBezTo>
                      <a:pt x="352" y="531"/>
                      <a:pt x="331" y="526"/>
                      <a:pt x="311" y="523"/>
                    </a:cubicBezTo>
                    <a:cubicBezTo>
                      <a:pt x="315" y="532"/>
                      <a:pt x="319" y="537"/>
                      <a:pt x="319" y="547"/>
                    </a:cubicBezTo>
                    <a:cubicBezTo>
                      <a:pt x="319" y="551"/>
                      <a:pt x="319" y="554"/>
                      <a:pt x="318" y="557"/>
                    </a:cubicBezTo>
                    <a:cubicBezTo>
                      <a:pt x="317" y="558"/>
                      <a:pt x="316" y="560"/>
                      <a:pt x="315" y="561"/>
                    </a:cubicBezTo>
                    <a:cubicBezTo>
                      <a:pt x="313" y="563"/>
                      <a:pt x="310" y="565"/>
                      <a:pt x="306" y="565"/>
                    </a:cubicBezTo>
                    <a:cubicBezTo>
                      <a:pt x="306" y="565"/>
                      <a:pt x="305" y="565"/>
                      <a:pt x="304" y="565"/>
                    </a:cubicBezTo>
                    <a:cubicBezTo>
                      <a:pt x="286" y="564"/>
                      <a:pt x="258" y="544"/>
                      <a:pt x="245" y="545"/>
                    </a:cubicBezTo>
                    <a:cubicBezTo>
                      <a:pt x="244" y="545"/>
                      <a:pt x="243" y="545"/>
                      <a:pt x="242" y="545"/>
                    </a:cubicBezTo>
                    <a:cubicBezTo>
                      <a:pt x="242" y="545"/>
                      <a:pt x="242" y="545"/>
                      <a:pt x="242" y="546"/>
                    </a:cubicBezTo>
                    <a:cubicBezTo>
                      <a:pt x="241" y="546"/>
                      <a:pt x="246" y="547"/>
                      <a:pt x="248" y="548"/>
                    </a:cubicBezTo>
                    <a:cubicBezTo>
                      <a:pt x="258" y="554"/>
                      <a:pt x="242" y="569"/>
                      <a:pt x="238" y="572"/>
                    </a:cubicBezTo>
                    <a:cubicBezTo>
                      <a:pt x="222" y="583"/>
                      <a:pt x="185" y="584"/>
                      <a:pt x="174" y="598"/>
                    </a:cubicBezTo>
                    <a:cubicBezTo>
                      <a:pt x="173" y="599"/>
                      <a:pt x="172" y="600"/>
                      <a:pt x="172" y="602"/>
                    </a:cubicBezTo>
                    <a:cubicBezTo>
                      <a:pt x="172" y="602"/>
                      <a:pt x="172" y="603"/>
                      <a:pt x="171" y="604"/>
                    </a:cubicBezTo>
                    <a:cubicBezTo>
                      <a:pt x="169" y="617"/>
                      <a:pt x="170" y="643"/>
                      <a:pt x="154" y="644"/>
                    </a:cubicBezTo>
                    <a:cubicBezTo>
                      <a:pt x="152" y="644"/>
                      <a:pt x="149" y="644"/>
                      <a:pt x="147" y="643"/>
                    </a:cubicBezTo>
                    <a:cubicBezTo>
                      <a:pt x="145" y="643"/>
                      <a:pt x="143" y="642"/>
                      <a:pt x="141" y="641"/>
                    </a:cubicBezTo>
                    <a:cubicBezTo>
                      <a:pt x="121" y="650"/>
                      <a:pt x="92" y="664"/>
                      <a:pt x="95" y="667"/>
                    </a:cubicBezTo>
                    <a:cubicBezTo>
                      <a:pt x="103" y="676"/>
                      <a:pt x="125" y="656"/>
                      <a:pt x="128" y="678"/>
                    </a:cubicBezTo>
                    <a:cubicBezTo>
                      <a:pt x="132" y="707"/>
                      <a:pt x="87" y="696"/>
                      <a:pt x="108" y="749"/>
                    </a:cubicBezTo>
                    <a:cubicBezTo>
                      <a:pt x="111" y="755"/>
                      <a:pt x="114" y="770"/>
                      <a:pt x="119" y="775"/>
                    </a:cubicBezTo>
                    <a:cubicBezTo>
                      <a:pt x="132" y="787"/>
                      <a:pt x="161" y="783"/>
                      <a:pt x="177" y="793"/>
                    </a:cubicBezTo>
                    <a:cubicBezTo>
                      <a:pt x="190" y="802"/>
                      <a:pt x="195" y="824"/>
                      <a:pt x="208" y="835"/>
                    </a:cubicBezTo>
                    <a:cubicBezTo>
                      <a:pt x="214" y="840"/>
                      <a:pt x="234" y="846"/>
                      <a:pt x="238" y="853"/>
                    </a:cubicBezTo>
                    <a:cubicBezTo>
                      <a:pt x="251" y="883"/>
                      <a:pt x="141" y="944"/>
                      <a:pt x="151" y="980"/>
                    </a:cubicBezTo>
                    <a:cubicBezTo>
                      <a:pt x="155" y="992"/>
                      <a:pt x="170" y="1000"/>
                      <a:pt x="177" y="1011"/>
                    </a:cubicBezTo>
                    <a:cubicBezTo>
                      <a:pt x="192" y="1038"/>
                      <a:pt x="225" y="1093"/>
                      <a:pt x="234" y="1121"/>
                    </a:cubicBezTo>
                    <a:cubicBezTo>
                      <a:pt x="236" y="1126"/>
                      <a:pt x="252" y="1163"/>
                      <a:pt x="245" y="1167"/>
                    </a:cubicBezTo>
                    <a:cubicBezTo>
                      <a:pt x="239" y="1169"/>
                      <a:pt x="217" y="1161"/>
                      <a:pt x="211" y="1169"/>
                    </a:cubicBezTo>
                    <a:cubicBezTo>
                      <a:pt x="208" y="1173"/>
                      <a:pt x="218" y="1176"/>
                      <a:pt x="221" y="1179"/>
                    </a:cubicBezTo>
                    <a:cubicBezTo>
                      <a:pt x="226" y="1185"/>
                      <a:pt x="212" y="1189"/>
                      <a:pt x="212" y="1189"/>
                    </a:cubicBezTo>
                    <a:cubicBezTo>
                      <a:pt x="211" y="1191"/>
                      <a:pt x="212" y="1194"/>
                      <a:pt x="212" y="1196"/>
                    </a:cubicBezTo>
                    <a:cubicBezTo>
                      <a:pt x="212" y="1208"/>
                      <a:pt x="212" y="1208"/>
                      <a:pt x="212" y="1208"/>
                    </a:cubicBezTo>
                    <a:cubicBezTo>
                      <a:pt x="212" y="1214"/>
                      <a:pt x="195" y="1230"/>
                      <a:pt x="200" y="1232"/>
                    </a:cubicBezTo>
                    <a:cubicBezTo>
                      <a:pt x="213" y="1239"/>
                      <a:pt x="226" y="1225"/>
                      <a:pt x="223" y="1248"/>
                    </a:cubicBezTo>
                    <a:cubicBezTo>
                      <a:pt x="221" y="1258"/>
                      <a:pt x="186" y="1246"/>
                      <a:pt x="203" y="1280"/>
                    </a:cubicBezTo>
                    <a:cubicBezTo>
                      <a:pt x="216" y="1306"/>
                      <a:pt x="245" y="1292"/>
                      <a:pt x="254" y="1318"/>
                    </a:cubicBezTo>
                    <a:cubicBezTo>
                      <a:pt x="257" y="1326"/>
                      <a:pt x="235" y="1327"/>
                      <a:pt x="233" y="1331"/>
                    </a:cubicBezTo>
                    <a:cubicBezTo>
                      <a:pt x="227" y="1342"/>
                      <a:pt x="239" y="1340"/>
                      <a:pt x="242" y="1346"/>
                    </a:cubicBezTo>
                    <a:cubicBezTo>
                      <a:pt x="242" y="1346"/>
                      <a:pt x="239" y="1358"/>
                      <a:pt x="239" y="1358"/>
                    </a:cubicBezTo>
                    <a:cubicBezTo>
                      <a:pt x="244" y="1376"/>
                      <a:pt x="286" y="1363"/>
                      <a:pt x="290" y="1406"/>
                    </a:cubicBezTo>
                    <a:cubicBezTo>
                      <a:pt x="291" y="1425"/>
                      <a:pt x="236" y="1450"/>
                      <a:pt x="235" y="1456"/>
                    </a:cubicBezTo>
                    <a:cubicBezTo>
                      <a:pt x="232" y="1462"/>
                      <a:pt x="268" y="1487"/>
                      <a:pt x="273" y="1491"/>
                    </a:cubicBezTo>
                    <a:cubicBezTo>
                      <a:pt x="293" y="1508"/>
                      <a:pt x="321" y="1515"/>
                      <a:pt x="342" y="1532"/>
                    </a:cubicBezTo>
                    <a:cubicBezTo>
                      <a:pt x="350" y="1539"/>
                      <a:pt x="347" y="1549"/>
                      <a:pt x="355" y="1557"/>
                    </a:cubicBezTo>
                    <a:cubicBezTo>
                      <a:pt x="359" y="1562"/>
                      <a:pt x="374" y="1573"/>
                      <a:pt x="376" y="1579"/>
                    </a:cubicBezTo>
                    <a:cubicBezTo>
                      <a:pt x="377" y="1583"/>
                      <a:pt x="364" y="1598"/>
                      <a:pt x="362" y="1602"/>
                    </a:cubicBezTo>
                    <a:cubicBezTo>
                      <a:pt x="343" y="1641"/>
                      <a:pt x="331" y="1654"/>
                      <a:pt x="300" y="1684"/>
                    </a:cubicBezTo>
                    <a:cubicBezTo>
                      <a:pt x="282" y="1701"/>
                      <a:pt x="265" y="1719"/>
                      <a:pt x="247" y="1737"/>
                    </a:cubicBezTo>
                    <a:cubicBezTo>
                      <a:pt x="251" y="1741"/>
                      <a:pt x="254" y="1746"/>
                      <a:pt x="250" y="1747"/>
                    </a:cubicBezTo>
                    <a:cubicBezTo>
                      <a:pt x="246" y="1747"/>
                      <a:pt x="251" y="1759"/>
                      <a:pt x="247" y="1759"/>
                    </a:cubicBezTo>
                    <a:cubicBezTo>
                      <a:pt x="240" y="1759"/>
                      <a:pt x="234" y="1763"/>
                      <a:pt x="237" y="1750"/>
                    </a:cubicBezTo>
                    <a:cubicBezTo>
                      <a:pt x="237" y="1750"/>
                      <a:pt x="238" y="1748"/>
                      <a:pt x="238" y="1747"/>
                    </a:cubicBezTo>
                    <a:cubicBezTo>
                      <a:pt x="198" y="1788"/>
                      <a:pt x="158" y="1830"/>
                      <a:pt x="113" y="1865"/>
                    </a:cubicBezTo>
                    <a:cubicBezTo>
                      <a:pt x="89" y="1883"/>
                      <a:pt x="57" y="1901"/>
                      <a:pt x="38" y="1925"/>
                    </a:cubicBezTo>
                    <a:cubicBezTo>
                      <a:pt x="38" y="1927"/>
                      <a:pt x="38" y="1929"/>
                      <a:pt x="39" y="1929"/>
                    </a:cubicBezTo>
                    <a:cubicBezTo>
                      <a:pt x="41" y="1930"/>
                      <a:pt x="43" y="1923"/>
                      <a:pt x="44" y="1923"/>
                    </a:cubicBezTo>
                    <a:cubicBezTo>
                      <a:pt x="52" y="1932"/>
                      <a:pt x="66" y="1928"/>
                      <a:pt x="76" y="1927"/>
                    </a:cubicBezTo>
                    <a:cubicBezTo>
                      <a:pt x="78" y="1927"/>
                      <a:pt x="102" y="1900"/>
                      <a:pt x="116" y="1898"/>
                    </a:cubicBezTo>
                    <a:cubicBezTo>
                      <a:pt x="122" y="1897"/>
                      <a:pt x="124" y="1909"/>
                      <a:pt x="119" y="1909"/>
                    </a:cubicBezTo>
                    <a:cubicBezTo>
                      <a:pt x="107" y="1909"/>
                      <a:pt x="121" y="1916"/>
                      <a:pt x="116" y="1917"/>
                    </a:cubicBezTo>
                    <a:cubicBezTo>
                      <a:pt x="113" y="1917"/>
                      <a:pt x="104" y="1907"/>
                      <a:pt x="106" y="1917"/>
                    </a:cubicBezTo>
                    <a:cubicBezTo>
                      <a:pt x="106" y="1926"/>
                      <a:pt x="112" y="1917"/>
                      <a:pt x="115" y="1920"/>
                    </a:cubicBezTo>
                    <a:cubicBezTo>
                      <a:pt x="115" y="1920"/>
                      <a:pt x="118" y="1933"/>
                      <a:pt x="119" y="1936"/>
                    </a:cubicBezTo>
                    <a:cubicBezTo>
                      <a:pt x="119" y="1936"/>
                      <a:pt x="120" y="1938"/>
                      <a:pt x="119" y="1939"/>
                    </a:cubicBezTo>
                    <a:cubicBezTo>
                      <a:pt x="114" y="1942"/>
                      <a:pt x="97" y="1920"/>
                      <a:pt x="96" y="1924"/>
                    </a:cubicBezTo>
                    <a:cubicBezTo>
                      <a:pt x="93" y="1929"/>
                      <a:pt x="120" y="1963"/>
                      <a:pt x="127" y="1956"/>
                    </a:cubicBezTo>
                    <a:cubicBezTo>
                      <a:pt x="130" y="1953"/>
                      <a:pt x="145" y="1977"/>
                      <a:pt x="159" y="1980"/>
                    </a:cubicBezTo>
                    <a:cubicBezTo>
                      <a:pt x="177" y="1983"/>
                      <a:pt x="195" y="1971"/>
                      <a:pt x="212" y="1977"/>
                    </a:cubicBezTo>
                    <a:cubicBezTo>
                      <a:pt x="226" y="1983"/>
                      <a:pt x="223" y="1999"/>
                      <a:pt x="232" y="2002"/>
                    </a:cubicBezTo>
                    <a:cubicBezTo>
                      <a:pt x="247" y="2007"/>
                      <a:pt x="258" y="2001"/>
                      <a:pt x="254" y="2018"/>
                    </a:cubicBezTo>
                    <a:cubicBezTo>
                      <a:pt x="251" y="2035"/>
                      <a:pt x="170" y="1992"/>
                      <a:pt x="154" y="2006"/>
                    </a:cubicBezTo>
                    <a:cubicBezTo>
                      <a:pt x="146" y="2013"/>
                      <a:pt x="146" y="2036"/>
                      <a:pt x="130" y="2035"/>
                    </a:cubicBezTo>
                    <a:cubicBezTo>
                      <a:pt x="126" y="2035"/>
                      <a:pt x="103" y="2023"/>
                      <a:pt x="101" y="2025"/>
                    </a:cubicBezTo>
                    <a:cubicBezTo>
                      <a:pt x="92" y="2030"/>
                      <a:pt x="97" y="2051"/>
                      <a:pt x="90" y="2053"/>
                    </a:cubicBezTo>
                    <a:cubicBezTo>
                      <a:pt x="78" y="2055"/>
                      <a:pt x="69" y="2029"/>
                      <a:pt x="62" y="2034"/>
                    </a:cubicBezTo>
                    <a:cubicBezTo>
                      <a:pt x="52" y="2042"/>
                      <a:pt x="64" y="2066"/>
                      <a:pt x="60" y="2080"/>
                    </a:cubicBezTo>
                    <a:cubicBezTo>
                      <a:pt x="61" y="2081"/>
                      <a:pt x="62" y="2082"/>
                      <a:pt x="63" y="2083"/>
                    </a:cubicBezTo>
                    <a:cubicBezTo>
                      <a:pt x="64" y="2083"/>
                      <a:pt x="64" y="2084"/>
                      <a:pt x="64" y="2084"/>
                    </a:cubicBezTo>
                    <a:cubicBezTo>
                      <a:pt x="65" y="2085"/>
                      <a:pt x="66" y="2086"/>
                      <a:pt x="67" y="2086"/>
                    </a:cubicBezTo>
                    <a:cubicBezTo>
                      <a:pt x="67" y="2087"/>
                      <a:pt x="67" y="2087"/>
                      <a:pt x="68" y="2087"/>
                    </a:cubicBezTo>
                    <a:cubicBezTo>
                      <a:pt x="69" y="2088"/>
                      <a:pt x="69" y="2089"/>
                      <a:pt x="70" y="2090"/>
                    </a:cubicBezTo>
                    <a:cubicBezTo>
                      <a:pt x="70" y="2090"/>
                      <a:pt x="70" y="2090"/>
                      <a:pt x="70" y="2090"/>
                    </a:cubicBezTo>
                    <a:cubicBezTo>
                      <a:pt x="71" y="2091"/>
                      <a:pt x="72" y="2091"/>
                      <a:pt x="72" y="2092"/>
                    </a:cubicBezTo>
                    <a:cubicBezTo>
                      <a:pt x="72" y="2092"/>
                      <a:pt x="72" y="2092"/>
                      <a:pt x="72" y="2093"/>
                    </a:cubicBezTo>
                    <a:cubicBezTo>
                      <a:pt x="73" y="2094"/>
                      <a:pt x="74" y="2095"/>
                      <a:pt x="74" y="2096"/>
                    </a:cubicBezTo>
                    <a:cubicBezTo>
                      <a:pt x="75" y="2096"/>
                      <a:pt x="75" y="2096"/>
                      <a:pt x="75" y="2096"/>
                    </a:cubicBezTo>
                    <a:cubicBezTo>
                      <a:pt x="75" y="2097"/>
                      <a:pt x="75" y="2097"/>
                      <a:pt x="75" y="2097"/>
                    </a:cubicBezTo>
                    <a:cubicBezTo>
                      <a:pt x="75" y="2097"/>
                      <a:pt x="75" y="2097"/>
                      <a:pt x="75" y="2097"/>
                    </a:cubicBezTo>
                    <a:cubicBezTo>
                      <a:pt x="75" y="2098"/>
                      <a:pt x="75" y="2098"/>
                      <a:pt x="74" y="2098"/>
                    </a:cubicBezTo>
                    <a:cubicBezTo>
                      <a:pt x="74" y="2098"/>
                      <a:pt x="74" y="2098"/>
                      <a:pt x="74" y="2098"/>
                    </a:cubicBezTo>
                    <a:cubicBezTo>
                      <a:pt x="78" y="2099"/>
                      <a:pt x="82" y="2099"/>
                      <a:pt x="84" y="2099"/>
                    </a:cubicBezTo>
                    <a:cubicBezTo>
                      <a:pt x="83" y="2099"/>
                      <a:pt x="83" y="2099"/>
                      <a:pt x="83" y="2099"/>
                    </a:cubicBezTo>
                    <a:cubicBezTo>
                      <a:pt x="89" y="2100"/>
                      <a:pt x="104" y="2095"/>
                      <a:pt x="106" y="2101"/>
                    </a:cubicBezTo>
                    <a:cubicBezTo>
                      <a:pt x="107" y="2104"/>
                      <a:pt x="98" y="2102"/>
                      <a:pt x="96" y="2102"/>
                    </a:cubicBezTo>
                    <a:cubicBezTo>
                      <a:pt x="89" y="2103"/>
                      <a:pt x="89" y="2109"/>
                      <a:pt x="88" y="2109"/>
                    </a:cubicBezTo>
                    <a:cubicBezTo>
                      <a:pt x="83" y="2111"/>
                      <a:pt x="87" y="2097"/>
                      <a:pt x="81" y="2104"/>
                    </a:cubicBezTo>
                    <a:cubicBezTo>
                      <a:pt x="78" y="2107"/>
                      <a:pt x="76" y="2109"/>
                      <a:pt x="76" y="2112"/>
                    </a:cubicBezTo>
                    <a:cubicBezTo>
                      <a:pt x="75" y="2116"/>
                      <a:pt x="75" y="2120"/>
                      <a:pt x="72" y="2123"/>
                    </a:cubicBezTo>
                    <a:cubicBezTo>
                      <a:pt x="64" y="2129"/>
                      <a:pt x="75" y="2114"/>
                      <a:pt x="72" y="2108"/>
                    </a:cubicBezTo>
                    <a:cubicBezTo>
                      <a:pt x="68" y="2100"/>
                      <a:pt x="63" y="2117"/>
                      <a:pt x="61" y="2109"/>
                    </a:cubicBezTo>
                    <a:cubicBezTo>
                      <a:pt x="61" y="2107"/>
                      <a:pt x="59" y="2105"/>
                      <a:pt x="57" y="2106"/>
                    </a:cubicBezTo>
                    <a:cubicBezTo>
                      <a:pt x="52" y="2108"/>
                      <a:pt x="53" y="2122"/>
                      <a:pt x="48" y="2123"/>
                    </a:cubicBezTo>
                    <a:cubicBezTo>
                      <a:pt x="47" y="2123"/>
                      <a:pt x="50" y="2116"/>
                      <a:pt x="50" y="2115"/>
                    </a:cubicBezTo>
                    <a:cubicBezTo>
                      <a:pt x="50" y="2108"/>
                      <a:pt x="52" y="2102"/>
                      <a:pt x="60" y="2102"/>
                    </a:cubicBezTo>
                    <a:cubicBezTo>
                      <a:pt x="65" y="2101"/>
                      <a:pt x="70" y="2101"/>
                      <a:pt x="70" y="2100"/>
                    </a:cubicBezTo>
                    <a:cubicBezTo>
                      <a:pt x="70" y="2100"/>
                      <a:pt x="70" y="2100"/>
                      <a:pt x="70" y="2100"/>
                    </a:cubicBezTo>
                    <a:cubicBezTo>
                      <a:pt x="68" y="2101"/>
                      <a:pt x="65" y="2101"/>
                      <a:pt x="63" y="2101"/>
                    </a:cubicBezTo>
                    <a:cubicBezTo>
                      <a:pt x="62" y="2101"/>
                      <a:pt x="62" y="2101"/>
                      <a:pt x="61" y="2101"/>
                    </a:cubicBezTo>
                    <a:cubicBezTo>
                      <a:pt x="60" y="2101"/>
                      <a:pt x="60" y="2101"/>
                      <a:pt x="60" y="2101"/>
                    </a:cubicBezTo>
                    <a:cubicBezTo>
                      <a:pt x="59" y="2101"/>
                      <a:pt x="58" y="2101"/>
                      <a:pt x="57" y="2101"/>
                    </a:cubicBezTo>
                    <a:cubicBezTo>
                      <a:pt x="57" y="2102"/>
                      <a:pt x="57" y="2102"/>
                      <a:pt x="57" y="2102"/>
                    </a:cubicBezTo>
                    <a:cubicBezTo>
                      <a:pt x="56" y="2102"/>
                      <a:pt x="55" y="2102"/>
                      <a:pt x="54" y="2102"/>
                    </a:cubicBezTo>
                    <a:cubicBezTo>
                      <a:pt x="54" y="2102"/>
                      <a:pt x="54" y="2102"/>
                      <a:pt x="53" y="2102"/>
                    </a:cubicBezTo>
                    <a:cubicBezTo>
                      <a:pt x="53" y="2102"/>
                      <a:pt x="52" y="2103"/>
                      <a:pt x="51" y="2103"/>
                    </a:cubicBezTo>
                    <a:cubicBezTo>
                      <a:pt x="51" y="2103"/>
                      <a:pt x="51" y="2103"/>
                      <a:pt x="50" y="2103"/>
                    </a:cubicBezTo>
                    <a:cubicBezTo>
                      <a:pt x="50" y="2104"/>
                      <a:pt x="49" y="2104"/>
                      <a:pt x="48" y="2105"/>
                    </a:cubicBezTo>
                    <a:cubicBezTo>
                      <a:pt x="48" y="2105"/>
                      <a:pt x="48" y="2105"/>
                      <a:pt x="48" y="2105"/>
                    </a:cubicBezTo>
                    <a:cubicBezTo>
                      <a:pt x="47" y="2105"/>
                      <a:pt x="46" y="2106"/>
                      <a:pt x="46" y="2107"/>
                    </a:cubicBezTo>
                    <a:cubicBezTo>
                      <a:pt x="45" y="2107"/>
                      <a:pt x="45" y="2108"/>
                      <a:pt x="45" y="2109"/>
                    </a:cubicBezTo>
                    <a:cubicBezTo>
                      <a:pt x="44" y="2109"/>
                      <a:pt x="44" y="2109"/>
                      <a:pt x="44" y="2109"/>
                    </a:cubicBezTo>
                    <a:cubicBezTo>
                      <a:pt x="44" y="2110"/>
                      <a:pt x="44" y="2110"/>
                      <a:pt x="43" y="2111"/>
                    </a:cubicBezTo>
                    <a:cubicBezTo>
                      <a:pt x="43" y="2111"/>
                      <a:pt x="43" y="2111"/>
                      <a:pt x="43" y="2112"/>
                    </a:cubicBezTo>
                    <a:cubicBezTo>
                      <a:pt x="43" y="2112"/>
                      <a:pt x="43" y="2113"/>
                      <a:pt x="42" y="2113"/>
                    </a:cubicBezTo>
                    <a:cubicBezTo>
                      <a:pt x="42" y="2114"/>
                      <a:pt x="42" y="2114"/>
                      <a:pt x="42" y="2114"/>
                    </a:cubicBezTo>
                    <a:cubicBezTo>
                      <a:pt x="39" y="2125"/>
                      <a:pt x="40" y="2140"/>
                      <a:pt x="33" y="2149"/>
                    </a:cubicBezTo>
                    <a:cubicBezTo>
                      <a:pt x="33" y="2149"/>
                      <a:pt x="33" y="2149"/>
                      <a:pt x="33" y="2149"/>
                    </a:cubicBezTo>
                    <a:cubicBezTo>
                      <a:pt x="33" y="2149"/>
                      <a:pt x="33" y="2149"/>
                      <a:pt x="33" y="2149"/>
                    </a:cubicBezTo>
                    <a:cubicBezTo>
                      <a:pt x="35" y="2150"/>
                      <a:pt x="33" y="2155"/>
                      <a:pt x="32" y="2156"/>
                    </a:cubicBezTo>
                    <a:cubicBezTo>
                      <a:pt x="32" y="2165"/>
                      <a:pt x="40" y="2165"/>
                      <a:pt x="39" y="2171"/>
                    </a:cubicBezTo>
                    <a:cubicBezTo>
                      <a:pt x="39" y="2179"/>
                      <a:pt x="34" y="2189"/>
                      <a:pt x="36" y="2197"/>
                    </a:cubicBezTo>
                    <a:cubicBezTo>
                      <a:pt x="38" y="2201"/>
                      <a:pt x="41" y="2205"/>
                      <a:pt x="42" y="2209"/>
                    </a:cubicBezTo>
                    <a:cubicBezTo>
                      <a:pt x="43" y="2212"/>
                      <a:pt x="42" y="2215"/>
                      <a:pt x="42" y="2218"/>
                    </a:cubicBezTo>
                    <a:cubicBezTo>
                      <a:pt x="42" y="2219"/>
                      <a:pt x="44" y="2220"/>
                      <a:pt x="43" y="2222"/>
                    </a:cubicBezTo>
                    <a:cubicBezTo>
                      <a:pt x="43" y="2223"/>
                      <a:pt x="39" y="2231"/>
                      <a:pt x="37" y="2230"/>
                    </a:cubicBezTo>
                    <a:cubicBezTo>
                      <a:pt x="36" y="2229"/>
                      <a:pt x="40" y="2224"/>
                      <a:pt x="38" y="2224"/>
                    </a:cubicBezTo>
                    <a:cubicBezTo>
                      <a:pt x="35" y="2223"/>
                      <a:pt x="30" y="2235"/>
                      <a:pt x="28" y="2237"/>
                    </a:cubicBezTo>
                    <a:cubicBezTo>
                      <a:pt x="27" y="2238"/>
                      <a:pt x="24" y="2239"/>
                      <a:pt x="24" y="2240"/>
                    </a:cubicBezTo>
                    <a:cubicBezTo>
                      <a:pt x="24" y="2242"/>
                      <a:pt x="28" y="2243"/>
                      <a:pt x="27" y="2245"/>
                    </a:cubicBezTo>
                    <a:cubicBezTo>
                      <a:pt x="25" y="2250"/>
                      <a:pt x="19" y="2244"/>
                      <a:pt x="17" y="2244"/>
                    </a:cubicBezTo>
                    <a:cubicBezTo>
                      <a:pt x="15" y="2244"/>
                      <a:pt x="16" y="2250"/>
                      <a:pt x="15" y="2252"/>
                    </a:cubicBezTo>
                    <a:cubicBezTo>
                      <a:pt x="15" y="2253"/>
                      <a:pt x="13" y="2255"/>
                      <a:pt x="13" y="2257"/>
                    </a:cubicBezTo>
                    <a:cubicBezTo>
                      <a:pt x="14" y="2260"/>
                      <a:pt x="19" y="2255"/>
                      <a:pt x="20" y="2257"/>
                    </a:cubicBezTo>
                    <a:cubicBezTo>
                      <a:pt x="21" y="2258"/>
                      <a:pt x="22" y="2263"/>
                      <a:pt x="22" y="2264"/>
                    </a:cubicBezTo>
                    <a:cubicBezTo>
                      <a:pt x="22" y="2265"/>
                      <a:pt x="19" y="2265"/>
                      <a:pt x="20" y="2266"/>
                    </a:cubicBezTo>
                    <a:cubicBezTo>
                      <a:pt x="21" y="2267"/>
                      <a:pt x="22" y="2265"/>
                      <a:pt x="22" y="2268"/>
                    </a:cubicBezTo>
                    <a:cubicBezTo>
                      <a:pt x="22" y="2269"/>
                      <a:pt x="21" y="2269"/>
                      <a:pt x="22" y="2270"/>
                    </a:cubicBezTo>
                    <a:cubicBezTo>
                      <a:pt x="22" y="2270"/>
                      <a:pt x="29" y="2266"/>
                      <a:pt x="31" y="2265"/>
                    </a:cubicBezTo>
                    <a:cubicBezTo>
                      <a:pt x="33" y="2265"/>
                      <a:pt x="34" y="2266"/>
                      <a:pt x="35" y="2266"/>
                    </a:cubicBezTo>
                    <a:cubicBezTo>
                      <a:pt x="37" y="2265"/>
                      <a:pt x="38" y="2262"/>
                      <a:pt x="40" y="2263"/>
                    </a:cubicBezTo>
                    <a:cubicBezTo>
                      <a:pt x="42" y="2263"/>
                      <a:pt x="41" y="2267"/>
                      <a:pt x="44" y="2267"/>
                    </a:cubicBezTo>
                    <a:cubicBezTo>
                      <a:pt x="47" y="2267"/>
                      <a:pt x="49" y="2264"/>
                      <a:pt x="51" y="2264"/>
                    </a:cubicBezTo>
                    <a:cubicBezTo>
                      <a:pt x="53" y="2265"/>
                      <a:pt x="54" y="2269"/>
                      <a:pt x="55" y="2270"/>
                    </a:cubicBezTo>
                    <a:cubicBezTo>
                      <a:pt x="57" y="2271"/>
                      <a:pt x="59" y="2272"/>
                      <a:pt x="61" y="2273"/>
                    </a:cubicBezTo>
                    <a:cubicBezTo>
                      <a:pt x="62" y="2275"/>
                      <a:pt x="61" y="2278"/>
                      <a:pt x="62" y="2280"/>
                    </a:cubicBezTo>
                    <a:cubicBezTo>
                      <a:pt x="65" y="2283"/>
                      <a:pt x="70" y="2284"/>
                      <a:pt x="71" y="2289"/>
                    </a:cubicBezTo>
                    <a:cubicBezTo>
                      <a:pt x="71" y="2291"/>
                      <a:pt x="69" y="2293"/>
                      <a:pt x="70" y="2295"/>
                    </a:cubicBezTo>
                    <a:cubicBezTo>
                      <a:pt x="70" y="2297"/>
                      <a:pt x="73" y="2299"/>
                      <a:pt x="73" y="2301"/>
                    </a:cubicBezTo>
                    <a:cubicBezTo>
                      <a:pt x="73" y="2302"/>
                      <a:pt x="70" y="2310"/>
                      <a:pt x="69" y="2311"/>
                    </a:cubicBezTo>
                    <a:cubicBezTo>
                      <a:pt x="67" y="2311"/>
                      <a:pt x="66" y="2308"/>
                      <a:pt x="64" y="2309"/>
                    </a:cubicBezTo>
                    <a:cubicBezTo>
                      <a:pt x="61" y="2309"/>
                      <a:pt x="55" y="2311"/>
                      <a:pt x="52" y="2310"/>
                    </a:cubicBezTo>
                    <a:cubicBezTo>
                      <a:pt x="51" y="2309"/>
                      <a:pt x="51" y="2305"/>
                      <a:pt x="50" y="2303"/>
                    </a:cubicBezTo>
                    <a:cubicBezTo>
                      <a:pt x="48" y="2302"/>
                      <a:pt x="43" y="2303"/>
                      <a:pt x="43" y="2301"/>
                    </a:cubicBezTo>
                    <a:cubicBezTo>
                      <a:pt x="43" y="2299"/>
                      <a:pt x="48" y="2300"/>
                      <a:pt x="48" y="2298"/>
                    </a:cubicBezTo>
                    <a:cubicBezTo>
                      <a:pt x="48" y="2295"/>
                      <a:pt x="41" y="2294"/>
                      <a:pt x="39" y="2292"/>
                    </a:cubicBezTo>
                    <a:cubicBezTo>
                      <a:pt x="36" y="2290"/>
                      <a:pt x="38" y="2286"/>
                      <a:pt x="33" y="2284"/>
                    </a:cubicBezTo>
                    <a:cubicBezTo>
                      <a:pt x="30" y="2284"/>
                      <a:pt x="29" y="2284"/>
                      <a:pt x="28" y="2285"/>
                    </a:cubicBezTo>
                    <a:cubicBezTo>
                      <a:pt x="28" y="2285"/>
                      <a:pt x="28" y="2285"/>
                      <a:pt x="28" y="2285"/>
                    </a:cubicBezTo>
                    <a:cubicBezTo>
                      <a:pt x="28" y="2286"/>
                      <a:pt x="27" y="2288"/>
                      <a:pt x="27" y="2289"/>
                    </a:cubicBezTo>
                    <a:cubicBezTo>
                      <a:pt x="27" y="2290"/>
                      <a:pt x="27" y="2290"/>
                      <a:pt x="27" y="2290"/>
                    </a:cubicBezTo>
                    <a:cubicBezTo>
                      <a:pt x="27" y="2290"/>
                      <a:pt x="27" y="2291"/>
                      <a:pt x="27" y="2291"/>
                    </a:cubicBezTo>
                    <a:cubicBezTo>
                      <a:pt x="27" y="2292"/>
                      <a:pt x="27" y="2292"/>
                      <a:pt x="27" y="2293"/>
                    </a:cubicBezTo>
                    <a:cubicBezTo>
                      <a:pt x="27" y="2293"/>
                      <a:pt x="27" y="2293"/>
                      <a:pt x="27" y="2294"/>
                    </a:cubicBezTo>
                    <a:cubicBezTo>
                      <a:pt x="27" y="2294"/>
                      <a:pt x="27" y="2294"/>
                      <a:pt x="27" y="2295"/>
                    </a:cubicBezTo>
                    <a:cubicBezTo>
                      <a:pt x="27" y="2295"/>
                      <a:pt x="27" y="2295"/>
                      <a:pt x="27" y="2295"/>
                    </a:cubicBezTo>
                    <a:cubicBezTo>
                      <a:pt x="27" y="2296"/>
                      <a:pt x="27" y="2296"/>
                      <a:pt x="27" y="2297"/>
                    </a:cubicBezTo>
                    <a:cubicBezTo>
                      <a:pt x="27" y="2297"/>
                      <a:pt x="27" y="2297"/>
                      <a:pt x="27" y="2297"/>
                    </a:cubicBezTo>
                    <a:cubicBezTo>
                      <a:pt x="27" y="2298"/>
                      <a:pt x="27" y="2298"/>
                      <a:pt x="27" y="2298"/>
                    </a:cubicBezTo>
                    <a:cubicBezTo>
                      <a:pt x="27" y="2298"/>
                      <a:pt x="27" y="2299"/>
                      <a:pt x="27" y="2299"/>
                    </a:cubicBezTo>
                    <a:cubicBezTo>
                      <a:pt x="27" y="2299"/>
                      <a:pt x="28" y="2300"/>
                      <a:pt x="28" y="2300"/>
                    </a:cubicBezTo>
                    <a:cubicBezTo>
                      <a:pt x="29" y="2302"/>
                      <a:pt x="43" y="2303"/>
                      <a:pt x="40" y="2307"/>
                    </a:cubicBezTo>
                    <a:cubicBezTo>
                      <a:pt x="33" y="2316"/>
                      <a:pt x="24" y="2309"/>
                      <a:pt x="16" y="2314"/>
                    </a:cubicBezTo>
                    <a:cubicBezTo>
                      <a:pt x="14" y="2316"/>
                      <a:pt x="13" y="2319"/>
                      <a:pt x="13" y="2321"/>
                    </a:cubicBezTo>
                    <a:cubicBezTo>
                      <a:pt x="13" y="2324"/>
                      <a:pt x="16" y="2326"/>
                      <a:pt x="15" y="2328"/>
                    </a:cubicBezTo>
                    <a:cubicBezTo>
                      <a:pt x="12" y="2331"/>
                      <a:pt x="7" y="2329"/>
                      <a:pt x="4" y="2331"/>
                    </a:cubicBezTo>
                    <a:cubicBezTo>
                      <a:pt x="0" y="2333"/>
                      <a:pt x="2" y="2350"/>
                      <a:pt x="0" y="2354"/>
                    </a:cubicBezTo>
                    <a:cubicBezTo>
                      <a:pt x="23" y="2354"/>
                      <a:pt x="7" y="2355"/>
                      <a:pt x="15" y="2368"/>
                    </a:cubicBezTo>
                    <a:cubicBezTo>
                      <a:pt x="19" y="2376"/>
                      <a:pt x="37" y="2378"/>
                      <a:pt x="43" y="2384"/>
                    </a:cubicBezTo>
                    <a:cubicBezTo>
                      <a:pt x="55" y="2397"/>
                      <a:pt x="29" y="2409"/>
                      <a:pt x="29" y="2412"/>
                    </a:cubicBezTo>
                    <a:cubicBezTo>
                      <a:pt x="30" y="2415"/>
                      <a:pt x="36" y="2416"/>
                      <a:pt x="37" y="2419"/>
                    </a:cubicBezTo>
                    <a:cubicBezTo>
                      <a:pt x="38" y="2422"/>
                      <a:pt x="25" y="2449"/>
                      <a:pt x="25" y="2449"/>
                    </a:cubicBezTo>
                    <a:cubicBezTo>
                      <a:pt x="29" y="2451"/>
                      <a:pt x="39" y="2444"/>
                      <a:pt x="44" y="2447"/>
                    </a:cubicBezTo>
                    <a:cubicBezTo>
                      <a:pt x="59" y="2456"/>
                      <a:pt x="40" y="2456"/>
                      <a:pt x="47" y="2466"/>
                    </a:cubicBezTo>
                    <a:cubicBezTo>
                      <a:pt x="57" y="2479"/>
                      <a:pt x="94" y="2524"/>
                      <a:pt x="71" y="2546"/>
                    </a:cubicBezTo>
                    <a:cubicBezTo>
                      <a:pt x="93" y="2573"/>
                      <a:pt x="93" y="2540"/>
                      <a:pt x="114" y="2556"/>
                    </a:cubicBezTo>
                    <a:cubicBezTo>
                      <a:pt x="119" y="2559"/>
                      <a:pt x="117" y="2574"/>
                      <a:pt x="126" y="2574"/>
                    </a:cubicBezTo>
                    <a:cubicBezTo>
                      <a:pt x="146" y="2573"/>
                      <a:pt x="156" y="2553"/>
                      <a:pt x="184" y="2574"/>
                    </a:cubicBezTo>
                    <a:cubicBezTo>
                      <a:pt x="187" y="2576"/>
                      <a:pt x="168" y="2608"/>
                      <a:pt x="191" y="2611"/>
                    </a:cubicBezTo>
                    <a:cubicBezTo>
                      <a:pt x="196" y="2611"/>
                      <a:pt x="204" y="2598"/>
                      <a:pt x="209" y="2597"/>
                    </a:cubicBezTo>
                    <a:cubicBezTo>
                      <a:pt x="225" y="2593"/>
                      <a:pt x="238" y="2587"/>
                      <a:pt x="255" y="2585"/>
                    </a:cubicBezTo>
                    <a:cubicBezTo>
                      <a:pt x="277" y="2584"/>
                      <a:pt x="286" y="2617"/>
                      <a:pt x="303" y="2622"/>
                    </a:cubicBezTo>
                    <a:cubicBezTo>
                      <a:pt x="304" y="2623"/>
                      <a:pt x="315" y="2617"/>
                      <a:pt x="318" y="2622"/>
                    </a:cubicBezTo>
                    <a:cubicBezTo>
                      <a:pt x="323" y="2633"/>
                      <a:pt x="307" y="2665"/>
                      <a:pt x="307" y="2666"/>
                    </a:cubicBezTo>
                    <a:cubicBezTo>
                      <a:pt x="314" y="2675"/>
                      <a:pt x="324" y="2685"/>
                      <a:pt x="327" y="2698"/>
                    </a:cubicBezTo>
                    <a:cubicBezTo>
                      <a:pt x="327" y="2701"/>
                      <a:pt x="319" y="2698"/>
                      <a:pt x="316" y="2700"/>
                    </a:cubicBezTo>
                    <a:cubicBezTo>
                      <a:pt x="314" y="2702"/>
                      <a:pt x="321" y="2706"/>
                      <a:pt x="319" y="2709"/>
                    </a:cubicBezTo>
                    <a:cubicBezTo>
                      <a:pt x="312" y="2719"/>
                      <a:pt x="314" y="2707"/>
                      <a:pt x="310" y="2720"/>
                    </a:cubicBezTo>
                    <a:cubicBezTo>
                      <a:pt x="309" y="2726"/>
                      <a:pt x="301" y="2723"/>
                      <a:pt x="304" y="2732"/>
                    </a:cubicBezTo>
                    <a:cubicBezTo>
                      <a:pt x="308" y="2743"/>
                      <a:pt x="333" y="2751"/>
                      <a:pt x="340" y="2755"/>
                    </a:cubicBezTo>
                    <a:cubicBezTo>
                      <a:pt x="344" y="2756"/>
                      <a:pt x="328" y="2770"/>
                      <a:pt x="331" y="2773"/>
                    </a:cubicBezTo>
                    <a:cubicBezTo>
                      <a:pt x="352" y="2791"/>
                      <a:pt x="340" y="2790"/>
                      <a:pt x="353" y="2809"/>
                    </a:cubicBezTo>
                    <a:cubicBezTo>
                      <a:pt x="362" y="2822"/>
                      <a:pt x="394" y="2825"/>
                      <a:pt x="399" y="2832"/>
                    </a:cubicBezTo>
                    <a:cubicBezTo>
                      <a:pt x="409" y="2842"/>
                      <a:pt x="388" y="2859"/>
                      <a:pt x="392" y="2868"/>
                    </a:cubicBezTo>
                    <a:cubicBezTo>
                      <a:pt x="394" y="2871"/>
                      <a:pt x="431" y="2867"/>
                      <a:pt x="437" y="2870"/>
                    </a:cubicBezTo>
                    <a:cubicBezTo>
                      <a:pt x="478" y="2891"/>
                      <a:pt x="436" y="2882"/>
                      <a:pt x="456" y="2902"/>
                    </a:cubicBezTo>
                    <a:cubicBezTo>
                      <a:pt x="461" y="2907"/>
                      <a:pt x="474" y="2907"/>
                      <a:pt x="478" y="2913"/>
                    </a:cubicBezTo>
                    <a:cubicBezTo>
                      <a:pt x="492" y="2931"/>
                      <a:pt x="459" y="2929"/>
                      <a:pt x="454" y="2935"/>
                    </a:cubicBezTo>
                    <a:cubicBezTo>
                      <a:pt x="449" y="2942"/>
                      <a:pt x="445" y="2961"/>
                      <a:pt x="426" y="2964"/>
                    </a:cubicBezTo>
                    <a:cubicBezTo>
                      <a:pt x="398" y="2970"/>
                      <a:pt x="391" y="2942"/>
                      <a:pt x="362" y="2946"/>
                    </a:cubicBezTo>
                    <a:cubicBezTo>
                      <a:pt x="356" y="2947"/>
                      <a:pt x="360" y="2956"/>
                      <a:pt x="358" y="2960"/>
                    </a:cubicBezTo>
                    <a:cubicBezTo>
                      <a:pt x="355" y="2965"/>
                      <a:pt x="347" y="2968"/>
                      <a:pt x="347" y="2973"/>
                    </a:cubicBezTo>
                    <a:cubicBezTo>
                      <a:pt x="349" y="2983"/>
                      <a:pt x="371" y="2996"/>
                      <a:pt x="376" y="3005"/>
                    </a:cubicBezTo>
                    <a:cubicBezTo>
                      <a:pt x="383" y="3017"/>
                      <a:pt x="372" y="3007"/>
                      <a:pt x="368" y="3016"/>
                    </a:cubicBezTo>
                    <a:cubicBezTo>
                      <a:pt x="366" y="3021"/>
                      <a:pt x="382" y="3033"/>
                      <a:pt x="382" y="3036"/>
                    </a:cubicBezTo>
                    <a:cubicBezTo>
                      <a:pt x="381" y="3039"/>
                      <a:pt x="375" y="3038"/>
                      <a:pt x="374" y="3040"/>
                    </a:cubicBezTo>
                    <a:cubicBezTo>
                      <a:pt x="372" y="3048"/>
                      <a:pt x="387" y="3090"/>
                      <a:pt x="394" y="3096"/>
                    </a:cubicBezTo>
                    <a:cubicBezTo>
                      <a:pt x="403" y="3105"/>
                      <a:pt x="431" y="3108"/>
                      <a:pt x="443" y="3089"/>
                    </a:cubicBezTo>
                    <a:cubicBezTo>
                      <a:pt x="445" y="3085"/>
                      <a:pt x="441" y="3066"/>
                      <a:pt x="449" y="3065"/>
                    </a:cubicBezTo>
                    <a:cubicBezTo>
                      <a:pt x="463" y="3064"/>
                      <a:pt x="482" y="3080"/>
                      <a:pt x="496" y="3076"/>
                    </a:cubicBezTo>
                    <a:cubicBezTo>
                      <a:pt x="505" y="3074"/>
                      <a:pt x="511" y="3061"/>
                      <a:pt x="520" y="3058"/>
                    </a:cubicBezTo>
                    <a:cubicBezTo>
                      <a:pt x="536" y="3053"/>
                      <a:pt x="542" y="3064"/>
                      <a:pt x="550" y="3069"/>
                    </a:cubicBezTo>
                    <a:cubicBezTo>
                      <a:pt x="554" y="3073"/>
                      <a:pt x="571" y="3058"/>
                      <a:pt x="576" y="3060"/>
                    </a:cubicBezTo>
                    <a:cubicBezTo>
                      <a:pt x="598" y="3072"/>
                      <a:pt x="597" y="3109"/>
                      <a:pt x="602" y="3114"/>
                    </a:cubicBezTo>
                    <a:cubicBezTo>
                      <a:pt x="604" y="3117"/>
                      <a:pt x="616" y="3122"/>
                      <a:pt x="620" y="3125"/>
                    </a:cubicBezTo>
                    <a:cubicBezTo>
                      <a:pt x="649" y="3148"/>
                      <a:pt x="609" y="3142"/>
                      <a:pt x="602" y="3152"/>
                    </a:cubicBezTo>
                    <a:cubicBezTo>
                      <a:pt x="596" y="3158"/>
                      <a:pt x="610" y="3165"/>
                      <a:pt x="612" y="3169"/>
                    </a:cubicBezTo>
                    <a:cubicBezTo>
                      <a:pt x="614" y="3174"/>
                      <a:pt x="609" y="3186"/>
                      <a:pt x="609" y="3187"/>
                    </a:cubicBezTo>
                    <a:cubicBezTo>
                      <a:pt x="610" y="3190"/>
                      <a:pt x="617" y="3190"/>
                      <a:pt x="618" y="3194"/>
                    </a:cubicBezTo>
                    <a:cubicBezTo>
                      <a:pt x="619" y="3196"/>
                      <a:pt x="618" y="3200"/>
                      <a:pt x="616" y="3202"/>
                    </a:cubicBezTo>
                    <a:cubicBezTo>
                      <a:pt x="615" y="3205"/>
                      <a:pt x="610" y="3204"/>
                      <a:pt x="610" y="3207"/>
                    </a:cubicBezTo>
                    <a:cubicBezTo>
                      <a:pt x="612" y="3218"/>
                      <a:pt x="623" y="3207"/>
                      <a:pt x="625" y="3207"/>
                    </a:cubicBezTo>
                    <a:cubicBezTo>
                      <a:pt x="637" y="3204"/>
                      <a:pt x="645" y="3215"/>
                      <a:pt x="651" y="3218"/>
                    </a:cubicBezTo>
                    <a:cubicBezTo>
                      <a:pt x="659" y="3222"/>
                      <a:pt x="676" y="3213"/>
                      <a:pt x="686" y="3213"/>
                    </a:cubicBezTo>
                    <a:cubicBezTo>
                      <a:pt x="688" y="3214"/>
                      <a:pt x="690" y="3214"/>
                      <a:pt x="691" y="3216"/>
                    </a:cubicBezTo>
                    <a:cubicBezTo>
                      <a:pt x="694" y="3220"/>
                      <a:pt x="690" y="3233"/>
                      <a:pt x="697" y="3235"/>
                    </a:cubicBezTo>
                    <a:cubicBezTo>
                      <a:pt x="702" y="3238"/>
                      <a:pt x="709" y="3232"/>
                      <a:pt x="713" y="3238"/>
                    </a:cubicBezTo>
                    <a:cubicBezTo>
                      <a:pt x="715" y="3241"/>
                      <a:pt x="707" y="3243"/>
                      <a:pt x="707" y="3246"/>
                    </a:cubicBezTo>
                    <a:cubicBezTo>
                      <a:pt x="707" y="3247"/>
                      <a:pt x="715" y="3266"/>
                      <a:pt x="716" y="3268"/>
                    </a:cubicBezTo>
                    <a:cubicBezTo>
                      <a:pt x="717" y="3271"/>
                      <a:pt x="726" y="3279"/>
                      <a:pt x="723" y="3284"/>
                    </a:cubicBezTo>
                    <a:cubicBezTo>
                      <a:pt x="716" y="3295"/>
                      <a:pt x="717" y="3312"/>
                      <a:pt x="732" y="3323"/>
                    </a:cubicBezTo>
                    <a:cubicBezTo>
                      <a:pt x="749" y="3335"/>
                      <a:pt x="766" y="3308"/>
                      <a:pt x="786" y="3321"/>
                    </a:cubicBezTo>
                    <a:cubicBezTo>
                      <a:pt x="790" y="3324"/>
                      <a:pt x="790" y="3331"/>
                      <a:pt x="793" y="3334"/>
                    </a:cubicBezTo>
                    <a:cubicBezTo>
                      <a:pt x="800" y="3341"/>
                      <a:pt x="798" y="3331"/>
                      <a:pt x="807" y="3332"/>
                    </a:cubicBezTo>
                    <a:cubicBezTo>
                      <a:pt x="814" y="3333"/>
                      <a:pt x="816" y="3350"/>
                      <a:pt x="826" y="3345"/>
                    </a:cubicBezTo>
                    <a:cubicBezTo>
                      <a:pt x="833" y="3342"/>
                      <a:pt x="894" y="3311"/>
                      <a:pt x="900" y="3317"/>
                    </a:cubicBezTo>
                    <a:cubicBezTo>
                      <a:pt x="908" y="3324"/>
                      <a:pt x="910" y="3336"/>
                      <a:pt x="912" y="3345"/>
                    </a:cubicBezTo>
                    <a:cubicBezTo>
                      <a:pt x="916" y="3360"/>
                      <a:pt x="932" y="3361"/>
                      <a:pt x="940" y="3369"/>
                    </a:cubicBezTo>
                    <a:cubicBezTo>
                      <a:pt x="940" y="3369"/>
                      <a:pt x="949" y="3387"/>
                      <a:pt x="949" y="3387"/>
                    </a:cubicBezTo>
                    <a:cubicBezTo>
                      <a:pt x="968" y="3398"/>
                      <a:pt x="958" y="3358"/>
                      <a:pt x="976" y="3365"/>
                    </a:cubicBezTo>
                    <a:cubicBezTo>
                      <a:pt x="982" y="3367"/>
                      <a:pt x="986" y="3379"/>
                      <a:pt x="992" y="3380"/>
                    </a:cubicBezTo>
                    <a:cubicBezTo>
                      <a:pt x="998" y="3381"/>
                      <a:pt x="1003" y="3374"/>
                      <a:pt x="1009" y="3376"/>
                    </a:cubicBezTo>
                    <a:cubicBezTo>
                      <a:pt x="1016" y="3378"/>
                      <a:pt x="1021" y="3399"/>
                      <a:pt x="1032" y="3400"/>
                    </a:cubicBezTo>
                    <a:cubicBezTo>
                      <a:pt x="1040" y="3400"/>
                      <a:pt x="1050" y="3386"/>
                      <a:pt x="1055" y="3391"/>
                    </a:cubicBezTo>
                    <a:cubicBezTo>
                      <a:pt x="1078" y="3419"/>
                      <a:pt x="1068" y="3397"/>
                      <a:pt x="1087" y="3408"/>
                    </a:cubicBezTo>
                    <a:cubicBezTo>
                      <a:pt x="1097" y="3414"/>
                      <a:pt x="1092" y="3430"/>
                      <a:pt x="1110" y="3432"/>
                    </a:cubicBezTo>
                    <a:cubicBezTo>
                      <a:pt x="1121" y="3434"/>
                      <a:pt x="1126" y="3417"/>
                      <a:pt x="1138" y="3426"/>
                    </a:cubicBezTo>
                    <a:cubicBezTo>
                      <a:pt x="1145" y="3431"/>
                      <a:pt x="1128" y="3435"/>
                      <a:pt x="1131" y="3443"/>
                    </a:cubicBezTo>
                    <a:cubicBezTo>
                      <a:pt x="1133" y="3454"/>
                      <a:pt x="1145" y="3459"/>
                      <a:pt x="1141" y="3472"/>
                    </a:cubicBezTo>
                    <a:cubicBezTo>
                      <a:pt x="1135" y="3489"/>
                      <a:pt x="1097" y="3501"/>
                      <a:pt x="1099" y="3508"/>
                    </a:cubicBezTo>
                    <a:cubicBezTo>
                      <a:pt x="1103" y="3519"/>
                      <a:pt x="1117" y="3518"/>
                      <a:pt x="1126" y="3519"/>
                    </a:cubicBezTo>
                    <a:cubicBezTo>
                      <a:pt x="1129" y="3519"/>
                      <a:pt x="1134" y="3519"/>
                      <a:pt x="1133" y="3521"/>
                    </a:cubicBezTo>
                    <a:cubicBezTo>
                      <a:pt x="1127" y="3541"/>
                      <a:pt x="1100" y="3517"/>
                      <a:pt x="1095" y="3554"/>
                    </a:cubicBezTo>
                    <a:cubicBezTo>
                      <a:pt x="1094" y="3562"/>
                      <a:pt x="1109" y="3556"/>
                      <a:pt x="1113" y="3562"/>
                    </a:cubicBezTo>
                    <a:cubicBezTo>
                      <a:pt x="1120" y="3576"/>
                      <a:pt x="1113" y="3584"/>
                      <a:pt x="1113" y="3595"/>
                    </a:cubicBezTo>
                    <a:cubicBezTo>
                      <a:pt x="1113" y="3596"/>
                      <a:pt x="1127" y="3592"/>
                      <a:pt x="1128" y="3597"/>
                    </a:cubicBezTo>
                    <a:cubicBezTo>
                      <a:pt x="1129" y="3602"/>
                      <a:pt x="1122" y="3603"/>
                      <a:pt x="1120" y="3606"/>
                    </a:cubicBezTo>
                    <a:cubicBezTo>
                      <a:pt x="1114" y="3613"/>
                      <a:pt x="1117" y="3623"/>
                      <a:pt x="1114" y="3629"/>
                    </a:cubicBezTo>
                    <a:cubicBezTo>
                      <a:pt x="1113" y="3631"/>
                      <a:pt x="1108" y="3629"/>
                      <a:pt x="1107" y="3631"/>
                    </a:cubicBezTo>
                    <a:cubicBezTo>
                      <a:pt x="1105" y="3634"/>
                      <a:pt x="1112" y="3647"/>
                      <a:pt x="1107" y="3653"/>
                    </a:cubicBezTo>
                    <a:cubicBezTo>
                      <a:pt x="1105" y="3654"/>
                      <a:pt x="1103" y="3653"/>
                      <a:pt x="1101" y="3653"/>
                    </a:cubicBezTo>
                    <a:cubicBezTo>
                      <a:pt x="1084" y="3653"/>
                      <a:pt x="1068" y="3653"/>
                      <a:pt x="1051" y="3652"/>
                    </a:cubicBezTo>
                    <a:cubicBezTo>
                      <a:pt x="1044" y="3651"/>
                      <a:pt x="1038" y="3651"/>
                      <a:pt x="1032" y="3651"/>
                    </a:cubicBezTo>
                    <a:cubicBezTo>
                      <a:pt x="1029" y="3651"/>
                      <a:pt x="1026" y="3650"/>
                      <a:pt x="1024" y="3651"/>
                    </a:cubicBezTo>
                    <a:cubicBezTo>
                      <a:pt x="1015" y="3655"/>
                      <a:pt x="1021" y="3670"/>
                      <a:pt x="1016" y="3674"/>
                    </a:cubicBezTo>
                    <a:cubicBezTo>
                      <a:pt x="1007" y="3683"/>
                      <a:pt x="988" y="3680"/>
                      <a:pt x="977" y="3687"/>
                    </a:cubicBezTo>
                    <a:cubicBezTo>
                      <a:pt x="973" y="3690"/>
                      <a:pt x="967" y="3716"/>
                      <a:pt x="966" y="3721"/>
                    </a:cubicBezTo>
                    <a:cubicBezTo>
                      <a:pt x="965" y="3725"/>
                      <a:pt x="973" y="3722"/>
                      <a:pt x="976" y="3724"/>
                    </a:cubicBezTo>
                    <a:cubicBezTo>
                      <a:pt x="977" y="3724"/>
                      <a:pt x="977" y="3727"/>
                      <a:pt x="976" y="3728"/>
                    </a:cubicBezTo>
                    <a:cubicBezTo>
                      <a:pt x="970" y="3736"/>
                      <a:pt x="968" y="3739"/>
                      <a:pt x="971" y="3751"/>
                    </a:cubicBezTo>
                    <a:cubicBezTo>
                      <a:pt x="984" y="3741"/>
                      <a:pt x="994" y="3728"/>
                      <a:pt x="1010" y="3728"/>
                    </a:cubicBezTo>
                    <a:cubicBezTo>
                      <a:pt x="1012" y="3728"/>
                      <a:pt x="1019" y="3724"/>
                      <a:pt x="1021" y="3726"/>
                    </a:cubicBezTo>
                    <a:cubicBezTo>
                      <a:pt x="1022" y="3728"/>
                      <a:pt x="983" y="3739"/>
                      <a:pt x="991" y="3746"/>
                    </a:cubicBezTo>
                    <a:cubicBezTo>
                      <a:pt x="1006" y="3759"/>
                      <a:pt x="1049" y="3714"/>
                      <a:pt x="1061" y="3729"/>
                    </a:cubicBezTo>
                    <a:cubicBezTo>
                      <a:pt x="1065" y="3735"/>
                      <a:pt x="1058" y="3738"/>
                      <a:pt x="1059" y="3744"/>
                    </a:cubicBezTo>
                    <a:cubicBezTo>
                      <a:pt x="1062" y="3758"/>
                      <a:pt x="1069" y="3739"/>
                      <a:pt x="1071" y="3748"/>
                    </a:cubicBezTo>
                    <a:cubicBezTo>
                      <a:pt x="1072" y="3751"/>
                      <a:pt x="1064" y="3750"/>
                      <a:pt x="1063" y="3753"/>
                    </a:cubicBezTo>
                    <a:cubicBezTo>
                      <a:pt x="1061" y="3761"/>
                      <a:pt x="986" y="3782"/>
                      <a:pt x="984" y="3784"/>
                    </a:cubicBezTo>
                    <a:cubicBezTo>
                      <a:pt x="966" y="3807"/>
                      <a:pt x="998" y="3787"/>
                      <a:pt x="1001" y="3803"/>
                    </a:cubicBezTo>
                    <a:cubicBezTo>
                      <a:pt x="1001" y="3804"/>
                      <a:pt x="1001" y="3806"/>
                      <a:pt x="1000" y="3807"/>
                    </a:cubicBezTo>
                    <a:cubicBezTo>
                      <a:pt x="998" y="3807"/>
                      <a:pt x="992" y="3808"/>
                      <a:pt x="990" y="3808"/>
                    </a:cubicBezTo>
                    <a:cubicBezTo>
                      <a:pt x="982" y="3809"/>
                      <a:pt x="973" y="3797"/>
                      <a:pt x="972" y="3797"/>
                    </a:cubicBezTo>
                    <a:cubicBezTo>
                      <a:pt x="964" y="3798"/>
                      <a:pt x="956" y="3810"/>
                      <a:pt x="949" y="3811"/>
                    </a:cubicBezTo>
                    <a:cubicBezTo>
                      <a:pt x="944" y="3811"/>
                      <a:pt x="933" y="3812"/>
                      <a:pt x="930" y="3808"/>
                    </a:cubicBezTo>
                    <a:cubicBezTo>
                      <a:pt x="929" y="3807"/>
                      <a:pt x="924" y="3802"/>
                      <a:pt x="924" y="3805"/>
                    </a:cubicBezTo>
                    <a:cubicBezTo>
                      <a:pt x="923" y="3815"/>
                      <a:pt x="937" y="3841"/>
                      <a:pt x="947" y="3846"/>
                    </a:cubicBezTo>
                    <a:cubicBezTo>
                      <a:pt x="948" y="3846"/>
                      <a:pt x="949" y="3844"/>
                      <a:pt x="949" y="3843"/>
                    </a:cubicBezTo>
                    <a:cubicBezTo>
                      <a:pt x="951" y="3839"/>
                      <a:pt x="950" y="3836"/>
                      <a:pt x="956" y="3840"/>
                    </a:cubicBezTo>
                    <a:cubicBezTo>
                      <a:pt x="964" y="3846"/>
                      <a:pt x="1000" y="3877"/>
                      <a:pt x="998" y="3885"/>
                    </a:cubicBezTo>
                    <a:cubicBezTo>
                      <a:pt x="995" y="3895"/>
                      <a:pt x="970" y="3869"/>
                      <a:pt x="965" y="3873"/>
                    </a:cubicBezTo>
                    <a:cubicBezTo>
                      <a:pt x="959" y="3877"/>
                      <a:pt x="955" y="3917"/>
                      <a:pt x="948" y="3912"/>
                    </a:cubicBezTo>
                    <a:cubicBezTo>
                      <a:pt x="946" y="3911"/>
                      <a:pt x="949" y="3908"/>
                      <a:pt x="950" y="3907"/>
                    </a:cubicBezTo>
                    <a:cubicBezTo>
                      <a:pt x="956" y="3900"/>
                      <a:pt x="956" y="3874"/>
                      <a:pt x="943" y="3886"/>
                    </a:cubicBezTo>
                    <a:cubicBezTo>
                      <a:pt x="934" y="3893"/>
                      <a:pt x="940" y="3910"/>
                      <a:pt x="934" y="3919"/>
                    </a:cubicBezTo>
                    <a:cubicBezTo>
                      <a:pt x="930" y="3925"/>
                      <a:pt x="922" y="3927"/>
                      <a:pt x="918" y="3931"/>
                    </a:cubicBezTo>
                    <a:cubicBezTo>
                      <a:pt x="916" y="3933"/>
                      <a:pt x="923" y="3937"/>
                      <a:pt x="921" y="3938"/>
                    </a:cubicBezTo>
                    <a:cubicBezTo>
                      <a:pt x="915" y="3942"/>
                      <a:pt x="915" y="3931"/>
                      <a:pt x="913" y="3933"/>
                    </a:cubicBezTo>
                    <a:cubicBezTo>
                      <a:pt x="910" y="3936"/>
                      <a:pt x="910" y="3963"/>
                      <a:pt x="913" y="3964"/>
                    </a:cubicBezTo>
                    <a:cubicBezTo>
                      <a:pt x="915" y="3964"/>
                      <a:pt x="915" y="3961"/>
                      <a:pt x="916" y="3960"/>
                    </a:cubicBezTo>
                    <a:cubicBezTo>
                      <a:pt x="919" y="3955"/>
                      <a:pt x="914" y="3942"/>
                      <a:pt x="916" y="3941"/>
                    </a:cubicBezTo>
                    <a:cubicBezTo>
                      <a:pt x="917" y="3941"/>
                      <a:pt x="917" y="3943"/>
                      <a:pt x="919" y="3944"/>
                    </a:cubicBezTo>
                    <a:cubicBezTo>
                      <a:pt x="922" y="3945"/>
                      <a:pt x="922" y="3948"/>
                      <a:pt x="921" y="3952"/>
                    </a:cubicBezTo>
                    <a:cubicBezTo>
                      <a:pt x="917" y="3960"/>
                      <a:pt x="926" y="3957"/>
                      <a:pt x="923" y="3966"/>
                    </a:cubicBezTo>
                    <a:cubicBezTo>
                      <a:pt x="922" y="3967"/>
                      <a:pt x="923" y="3968"/>
                      <a:pt x="924" y="3967"/>
                    </a:cubicBezTo>
                    <a:cubicBezTo>
                      <a:pt x="924" y="3967"/>
                      <a:pt x="928" y="3965"/>
                      <a:pt x="926" y="3966"/>
                    </a:cubicBezTo>
                    <a:cubicBezTo>
                      <a:pt x="923" y="3969"/>
                      <a:pt x="928" y="3976"/>
                      <a:pt x="924" y="3979"/>
                    </a:cubicBezTo>
                    <a:cubicBezTo>
                      <a:pt x="924" y="3979"/>
                      <a:pt x="883" y="3968"/>
                      <a:pt x="873" y="3975"/>
                    </a:cubicBezTo>
                    <a:cubicBezTo>
                      <a:pt x="868" y="3978"/>
                      <a:pt x="888" y="3980"/>
                      <a:pt x="887" y="3982"/>
                    </a:cubicBezTo>
                    <a:cubicBezTo>
                      <a:pt x="886" y="3983"/>
                      <a:pt x="883" y="3981"/>
                      <a:pt x="881" y="3982"/>
                    </a:cubicBezTo>
                    <a:cubicBezTo>
                      <a:pt x="879" y="3983"/>
                      <a:pt x="868" y="3990"/>
                      <a:pt x="865" y="3986"/>
                    </a:cubicBezTo>
                    <a:cubicBezTo>
                      <a:pt x="863" y="3984"/>
                      <a:pt x="873" y="3977"/>
                      <a:pt x="871" y="3974"/>
                    </a:cubicBezTo>
                    <a:cubicBezTo>
                      <a:pt x="863" y="3962"/>
                      <a:pt x="836" y="3956"/>
                      <a:pt x="829" y="3972"/>
                    </a:cubicBezTo>
                    <a:cubicBezTo>
                      <a:pt x="828" y="3974"/>
                      <a:pt x="840" y="3965"/>
                      <a:pt x="845" y="3970"/>
                    </a:cubicBezTo>
                    <a:cubicBezTo>
                      <a:pt x="845" y="3971"/>
                      <a:pt x="842" y="3973"/>
                      <a:pt x="842" y="3974"/>
                    </a:cubicBezTo>
                    <a:cubicBezTo>
                      <a:pt x="843" y="3983"/>
                      <a:pt x="838" y="3970"/>
                      <a:pt x="837" y="3975"/>
                    </a:cubicBezTo>
                    <a:cubicBezTo>
                      <a:pt x="836" y="3976"/>
                      <a:pt x="838" y="3979"/>
                      <a:pt x="840" y="3979"/>
                    </a:cubicBezTo>
                    <a:cubicBezTo>
                      <a:pt x="841" y="3980"/>
                      <a:pt x="862" y="3972"/>
                      <a:pt x="855" y="3981"/>
                    </a:cubicBezTo>
                    <a:cubicBezTo>
                      <a:pt x="851" y="3987"/>
                      <a:pt x="821" y="3989"/>
                      <a:pt x="821" y="3992"/>
                    </a:cubicBezTo>
                    <a:cubicBezTo>
                      <a:pt x="819" y="3999"/>
                      <a:pt x="865" y="4012"/>
                      <a:pt x="876" y="4018"/>
                    </a:cubicBezTo>
                    <a:cubicBezTo>
                      <a:pt x="896" y="4028"/>
                      <a:pt x="878" y="4045"/>
                      <a:pt x="915" y="4058"/>
                    </a:cubicBezTo>
                    <a:cubicBezTo>
                      <a:pt x="920" y="4060"/>
                      <a:pt x="926" y="4065"/>
                      <a:pt x="931" y="4062"/>
                    </a:cubicBezTo>
                    <a:cubicBezTo>
                      <a:pt x="936" y="4059"/>
                      <a:pt x="926" y="4053"/>
                      <a:pt x="928" y="4051"/>
                    </a:cubicBezTo>
                    <a:cubicBezTo>
                      <a:pt x="928" y="4050"/>
                      <a:pt x="935" y="4054"/>
                      <a:pt x="935" y="4054"/>
                    </a:cubicBezTo>
                    <a:cubicBezTo>
                      <a:pt x="950" y="4064"/>
                      <a:pt x="949" y="4085"/>
                      <a:pt x="965" y="4093"/>
                    </a:cubicBezTo>
                    <a:cubicBezTo>
                      <a:pt x="981" y="4100"/>
                      <a:pt x="999" y="4098"/>
                      <a:pt x="1015" y="4107"/>
                    </a:cubicBezTo>
                    <a:cubicBezTo>
                      <a:pt x="1040" y="4122"/>
                      <a:pt x="1105" y="4190"/>
                      <a:pt x="1118" y="4215"/>
                    </a:cubicBezTo>
                    <a:cubicBezTo>
                      <a:pt x="1119" y="4217"/>
                      <a:pt x="1122" y="4218"/>
                      <a:pt x="1125" y="4219"/>
                    </a:cubicBezTo>
                    <a:cubicBezTo>
                      <a:pt x="1138" y="4185"/>
                      <a:pt x="1148" y="4202"/>
                      <a:pt x="1175" y="4202"/>
                    </a:cubicBezTo>
                    <a:cubicBezTo>
                      <a:pt x="1180" y="4202"/>
                      <a:pt x="1184" y="4197"/>
                      <a:pt x="1188" y="4198"/>
                    </a:cubicBezTo>
                    <a:cubicBezTo>
                      <a:pt x="1200" y="4201"/>
                      <a:pt x="1208" y="4217"/>
                      <a:pt x="1220" y="4221"/>
                    </a:cubicBezTo>
                    <a:cubicBezTo>
                      <a:pt x="1228" y="4224"/>
                      <a:pt x="1242" y="4221"/>
                      <a:pt x="1251" y="4223"/>
                    </a:cubicBezTo>
                    <a:cubicBezTo>
                      <a:pt x="1257" y="4224"/>
                      <a:pt x="1262" y="4237"/>
                      <a:pt x="1267" y="4239"/>
                    </a:cubicBezTo>
                    <a:cubicBezTo>
                      <a:pt x="1293" y="4252"/>
                      <a:pt x="1319" y="4231"/>
                      <a:pt x="1343" y="4237"/>
                    </a:cubicBezTo>
                    <a:cubicBezTo>
                      <a:pt x="1348" y="4239"/>
                      <a:pt x="1357" y="4248"/>
                      <a:pt x="1362" y="4248"/>
                    </a:cubicBezTo>
                    <a:cubicBezTo>
                      <a:pt x="1369" y="4247"/>
                      <a:pt x="1388" y="4245"/>
                      <a:pt x="1395" y="4254"/>
                    </a:cubicBezTo>
                    <a:cubicBezTo>
                      <a:pt x="1413" y="4278"/>
                      <a:pt x="1441" y="4279"/>
                      <a:pt x="1468" y="4297"/>
                    </a:cubicBezTo>
                    <a:cubicBezTo>
                      <a:pt x="1471" y="4299"/>
                      <a:pt x="1459" y="4310"/>
                      <a:pt x="1459" y="4312"/>
                    </a:cubicBezTo>
                    <a:cubicBezTo>
                      <a:pt x="1459" y="4316"/>
                      <a:pt x="1477" y="4322"/>
                      <a:pt x="1480" y="4322"/>
                    </a:cubicBezTo>
                    <a:cubicBezTo>
                      <a:pt x="1494" y="4323"/>
                      <a:pt x="1500" y="4307"/>
                      <a:pt x="1508" y="4302"/>
                    </a:cubicBezTo>
                    <a:cubicBezTo>
                      <a:pt x="1516" y="4296"/>
                      <a:pt x="1538" y="4294"/>
                      <a:pt x="1545" y="4300"/>
                    </a:cubicBezTo>
                    <a:cubicBezTo>
                      <a:pt x="1549" y="4303"/>
                      <a:pt x="1548" y="4315"/>
                      <a:pt x="1554" y="4314"/>
                    </a:cubicBezTo>
                    <a:cubicBezTo>
                      <a:pt x="1567" y="4312"/>
                      <a:pt x="1541" y="4294"/>
                      <a:pt x="1585" y="4302"/>
                    </a:cubicBezTo>
                    <a:cubicBezTo>
                      <a:pt x="1594" y="4303"/>
                      <a:pt x="1597" y="4322"/>
                      <a:pt x="1604" y="4324"/>
                    </a:cubicBezTo>
                    <a:cubicBezTo>
                      <a:pt x="1610" y="4326"/>
                      <a:pt x="1640" y="4318"/>
                      <a:pt x="1640" y="4333"/>
                    </a:cubicBezTo>
                    <a:cubicBezTo>
                      <a:pt x="1640" y="4343"/>
                      <a:pt x="1628" y="4353"/>
                      <a:pt x="1628" y="4364"/>
                    </a:cubicBezTo>
                    <a:cubicBezTo>
                      <a:pt x="1628" y="4365"/>
                      <a:pt x="1641" y="4371"/>
                      <a:pt x="1642" y="4372"/>
                    </a:cubicBezTo>
                    <a:cubicBezTo>
                      <a:pt x="1651" y="4376"/>
                      <a:pt x="1652" y="4384"/>
                      <a:pt x="1658" y="4388"/>
                    </a:cubicBezTo>
                    <a:cubicBezTo>
                      <a:pt x="1672" y="4397"/>
                      <a:pt x="1690" y="4393"/>
                      <a:pt x="1702" y="4401"/>
                    </a:cubicBezTo>
                    <a:cubicBezTo>
                      <a:pt x="1706" y="4404"/>
                      <a:pt x="1709" y="4408"/>
                      <a:pt x="1711" y="4415"/>
                    </a:cubicBezTo>
                    <a:cubicBezTo>
                      <a:pt x="1712" y="4418"/>
                      <a:pt x="1728" y="4406"/>
                      <a:pt x="1729" y="4407"/>
                    </a:cubicBezTo>
                    <a:cubicBezTo>
                      <a:pt x="1733" y="4408"/>
                      <a:pt x="1730" y="4415"/>
                      <a:pt x="1732" y="4419"/>
                    </a:cubicBezTo>
                    <a:cubicBezTo>
                      <a:pt x="1739" y="4430"/>
                      <a:pt x="1755" y="4440"/>
                      <a:pt x="1762" y="4442"/>
                    </a:cubicBezTo>
                    <a:cubicBezTo>
                      <a:pt x="1771" y="4444"/>
                      <a:pt x="1772" y="4467"/>
                      <a:pt x="1774" y="4472"/>
                    </a:cubicBezTo>
                    <a:cubicBezTo>
                      <a:pt x="1778" y="4486"/>
                      <a:pt x="1819" y="4491"/>
                      <a:pt x="1830" y="4487"/>
                    </a:cubicBezTo>
                    <a:cubicBezTo>
                      <a:pt x="1834" y="4486"/>
                      <a:pt x="1839" y="4462"/>
                      <a:pt x="1845" y="4456"/>
                    </a:cubicBezTo>
                    <a:cubicBezTo>
                      <a:pt x="1871" y="4433"/>
                      <a:pt x="1869" y="4451"/>
                      <a:pt x="1891" y="4412"/>
                    </a:cubicBezTo>
                    <a:cubicBezTo>
                      <a:pt x="1882" y="4405"/>
                      <a:pt x="1872" y="4400"/>
                      <a:pt x="1870" y="4390"/>
                    </a:cubicBezTo>
                    <a:cubicBezTo>
                      <a:pt x="1870" y="4390"/>
                      <a:pt x="1870" y="4390"/>
                      <a:pt x="1870" y="4390"/>
                    </a:cubicBezTo>
                    <a:cubicBezTo>
                      <a:pt x="1859" y="4366"/>
                      <a:pt x="1844" y="4337"/>
                      <a:pt x="1827" y="4317"/>
                    </a:cubicBezTo>
                    <a:cubicBezTo>
                      <a:pt x="1824" y="4314"/>
                      <a:pt x="1818" y="4315"/>
                      <a:pt x="1816" y="4312"/>
                    </a:cubicBezTo>
                    <a:cubicBezTo>
                      <a:pt x="1810" y="4304"/>
                      <a:pt x="1818" y="4291"/>
                      <a:pt x="1812" y="4283"/>
                    </a:cubicBezTo>
                    <a:cubicBezTo>
                      <a:pt x="1807" y="4277"/>
                      <a:pt x="1793" y="4273"/>
                      <a:pt x="1791" y="4264"/>
                    </a:cubicBezTo>
                    <a:cubicBezTo>
                      <a:pt x="1788" y="4248"/>
                      <a:pt x="1802" y="4241"/>
                      <a:pt x="1803" y="4229"/>
                    </a:cubicBezTo>
                    <a:cubicBezTo>
                      <a:pt x="1803" y="4219"/>
                      <a:pt x="1796" y="4231"/>
                      <a:pt x="1794" y="4231"/>
                    </a:cubicBezTo>
                    <a:cubicBezTo>
                      <a:pt x="1790" y="4230"/>
                      <a:pt x="1796" y="4198"/>
                      <a:pt x="1797" y="4195"/>
                    </a:cubicBezTo>
                    <a:cubicBezTo>
                      <a:pt x="1799" y="4185"/>
                      <a:pt x="1802" y="4174"/>
                      <a:pt x="1807" y="4165"/>
                    </a:cubicBezTo>
                    <a:cubicBezTo>
                      <a:pt x="1808" y="4162"/>
                      <a:pt x="1814" y="4160"/>
                      <a:pt x="1812" y="4158"/>
                    </a:cubicBezTo>
                    <a:cubicBezTo>
                      <a:pt x="1796" y="4133"/>
                      <a:pt x="1795" y="4207"/>
                      <a:pt x="1786" y="4204"/>
                    </a:cubicBezTo>
                    <a:cubicBezTo>
                      <a:pt x="1774" y="4199"/>
                      <a:pt x="1791" y="4176"/>
                      <a:pt x="1792" y="4171"/>
                    </a:cubicBezTo>
                    <a:cubicBezTo>
                      <a:pt x="1793" y="4163"/>
                      <a:pt x="1778" y="4130"/>
                      <a:pt x="1772" y="4115"/>
                    </a:cubicBezTo>
                    <a:cubicBezTo>
                      <a:pt x="1770" y="4109"/>
                      <a:pt x="1767" y="4119"/>
                      <a:pt x="1764" y="4116"/>
                    </a:cubicBezTo>
                    <a:cubicBezTo>
                      <a:pt x="1757" y="4111"/>
                      <a:pt x="1758" y="4101"/>
                      <a:pt x="1753" y="4097"/>
                    </a:cubicBezTo>
                    <a:cubicBezTo>
                      <a:pt x="1740" y="4088"/>
                      <a:pt x="1723" y="4099"/>
                      <a:pt x="1722" y="4078"/>
                    </a:cubicBezTo>
                    <a:cubicBezTo>
                      <a:pt x="1720" y="4057"/>
                      <a:pt x="1751" y="4046"/>
                      <a:pt x="1751" y="4038"/>
                    </a:cubicBezTo>
                    <a:cubicBezTo>
                      <a:pt x="1751" y="4009"/>
                      <a:pt x="1754" y="4046"/>
                      <a:pt x="1757" y="4043"/>
                    </a:cubicBezTo>
                    <a:cubicBezTo>
                      <a:pt x="1763" y="4037"/>
                      <a:pt x="1757" y="4029"/>
                      <a:pt x="1759" y="4022"/>
                    </a:cubicBezTo>
                    <a:cubicBezTo>
                      <a:pt x="1759" y="4020"/>
                      <a:pt x="1763" y="4025"/>
                      <a:pt x="1763" y="4025"/>
                    </a:cubicBezTo>
                    <a:cubicBezTo>
                      <a:pt x="1764" y="4026"/>
                      <a:pt x="1774" y="4003"/>
                      <a:pt x="1775" y="3998"/>
                    </a:cubicBezTo>
                    <a:cubicBezTo>
                      <a:pt x="1776" y="3996"/>
                      <a:pt x="1789" y="3977"/>
                      <a:pt x="1791" y="3968"/>
                    </a:cubicBezTo>
                    <a:cubicBezTo>
                      <a:pt x="1792" y="3966"/>
                      <a:pt x="1778" y="3963"/>
                      <a:pt x="1787" y="3963"/>
                    </a:cubicBezTo>
                    <a:cubicBezTo>
                      <a:pt x="1797" y="3962"/>
                      <a:pt x="1791" y="3961"/>
                      <a:pt x="1796" y="3954"/>
                    </a:cubicBezTo>
                    <a:cubicBezTo>
                      <a:pt x="1797" y="3953"/>
                      <a:pt x="1794" y="3938"/>
                      <a:pt x="1796" y="3945"/>
                    </a:cubicBezTo>
                    <a:cubicBezTo>
                      <a:pt x="1797" y="3950"/>
                      <a:pt x="1801" y="3950"/>
                      <a:pt x="1801" y="3945"/>
                    </a:cubicBezTo>
                    <a:cubicBezTo>
                      <a:pt x="1801" y="3940"/>
                      <a:pt x="1782" y="3923"/>
                      <a:pt x="1784" y="3921"/>
                    </a:cubicBezTo>
                    <a:cubicBezTo>
                      <a:pt x="1785" y="3921"/>
                      <a:pt x="1787" y="3921"/>
                      <a:pt x="1787" y="3922"/>
                    </a:cubicBezTo>
                    <a:cubicBezTo>
                      <a:pt x="1787" y="3924"/>
                      <a:pt x="1787" y="3924"/>
                      <a:pt x="1789" y="3924"/>
                    </a:cubicBezTo>
                    <a:cubicBezTo>
                      <a:pt x="1790" y="3924"/>
                      <a:pt x="1801" y="3935"/>
                      <a:pt x="1802" y="3938"/>
                    </a:cubicBezTo>
                    <a:cubicBezTo>
                      <a:pt x="1803" y="3940"/>
                      <a:pt x="1805" y="3949"/>
                      <a:pt x="1808" y="3946"/>
                    </a:cubicBezTo>
                    <a:cubicBezTo>
                      <a:pt x="1812" y="3943"/>
                      <a:pt x="1802" y="3923"/>
                      <a:pt x="1800" y="3923"/>
                    </a:cubicBezTo>
                    <a:cubicBezTo>
                      <a:pt x="1799" y="3923"/>
                      <a:pt x="1799" y="3919"/>
                      <a:pt x="1799" y="3919"/>
                    </a:cubicBezTo>
                    <a:cubicBezTo>
                      <a:pt x="1805" y="3916"/>
                      <a:pt x="1824" y="3939"/>
                      <a:pt x="1824" y="3939"/>
                    </a:cubicBezTo>
                    <a:cubicBezTo>
                      <a:pt x="1828" y="3937"/>
                      <a:pt x="1822" y="3928"/>
                      <a:pt x="1826" y="3925"/>
                    </a:cubicBezTo>
                    <a:cubicBezTo>
                      <a:pt x="1833" y="3920"/>
                      <a:pt x="1853" y="3929"/>
                      <a:pt x="1861" y="3926"/>
                    </a:cubicBezTo>
                    <a:cubicBezTo>
                      <a:pt x="1863" y="3926"/>
                      <a:pt x="1855" y="3919"/>
                      <a:pt x="1861" y="3919"/>
                    </a:cubicBezTo>
                    <a:cubicBezTo>
                      <a:pt x="1871" y="3918"/>
                      <a:pt x="1872" y="3898"/>
                      <a:pt x="1889" y="3894"/>
                    </a:cubicBezTo>
                    <a:cubicBezTo>
                      <a:pt x="1893" y="3893"/>
                      <a:pt x="1900" y="3910"/>
                      <a:pt x="1905" y="3910"/>
                    </a:cubicBezTo>
                    <a:cubicBezTo>
                      <a:pt x="1906" y="3910"/>
                      <a:pt x="1909" y="3912"/>
                      <a:pt x="1910" y="3910"/>
                    </a:cubicBezTo>
                    <a:cubicBezTo>
                      <a:pt x="1910" y="3909"/>
                      <a:pt x="1904" y="3893"/>
                      <a:pt x="1903" y="3893"/>
                    </a:cubicBezTo>
                    <a:cubicBezTo>
                      <a:pt x="1902" y="3892"/>
                      <a:pt x="1897" y="3896"/>
                      <a:pt x="1897" y="3895"/>
                    </a:cubicBezTo>
                    <a:cubicBezTo>
                      <a:pt x="1897" y="3894"/>
                      <a:pt x="1898" y="3893"/>
                      <a:pt x="1899" y="3892"/>
                    </a:cubicBezTo>
                    <a:cubicBezTo>
                      <a:pt x="1911" y="3885"/>
                      <a:pt x="1897" y="3885"/>
                      <a:pt x="1895" y="3879"/>
                    </a:cubicBezTo>
                    <a:cubicBezTo>
                      <a:pt x="1894" y="3875"/>
                      <a:pt x="1906" y="3870"/>
                      <a:pt x="1910" y="3879"/>
                    </a:cubicBezTo>
                    <a:cubicBezTo>
                      <a:pt x="1915" y="3889"/>
                      <a:pt x="1911" y="3873"/>
                      <a:pt x="1911" y="3873"/>
                    </a:cubicBezTo>
                    <a:cubicBezTo>
                      <a:pt x="1912" y="3874"/>
                      <a:pt x="1921" y="3884"/>
                      <a:pt x="1917" y="3878"/>
                    </a:cubicBezTo>
                    <a:cubicBezTo>
                      <a:pt x="1916" y="3877"/>
                      <a:pt x="1913" y="3870"/>
                      <a:pt x="1915" y="3872"/>
                    </a:cubicBezTo>
                    <a:cubicBezTo>
                      <a:pt x="1916" y="3872"/>
                      <a:pt x="1918" y="3877"/>
                      <a:pt x="1918" y="3877"/>
                    </a:cubicBezTo>
                    <a:cubicBezTo>
                      <a:pt x="1919" y="3876"/>
                      <a:pt x="1917" y="3871"/>
                      <a:pt x="1917" y="3870"/>
                    </a:cubicBezTo>
                    <a:cubicBezTo>
                      <a:pt x="1918" y="3869"/>
                      <a:pt x="1921" y="3873"/>
                      <a:pt x="1921" y="3874"/>
                    </a:cubicBezTo>
                    <a:cubicBezTo>
                      <a:pt x="1926" y="3888"/>
                      <a:pt x="1930" y="3854"/>
                      <a:pt x="1936" y="3867"/>
                    </a:cubicBezTo>
                    <a:cubicBezTo>
                      <a:pt x="1936" y="3867"/>
                      <a:pt x="1938" y="3874"/>
                      <a:pt x="1939" y="3870"/>
                    </a:cubicBezTo>
                    <a:cubicBezTo>
                      <a:pt x="1942" y="3863"/>
                      <a:pt x="1927" y="3850"/>
                      <a:pt x="1942" y="3847"/>
                    </a:cubicBezTo>
                    <a:cubicBezTo>
                      <a:pt x="1945" y="3846"/>
                      <a:pt x="1940" y="3851"/>
                      <a:pt x="1942" y="3853"/>
                    </a:cubicBezTo>
                    <a:cubicBezTo>
                      <a:pt x="1944" y="3855"/>
                      <a:pt x="1950" y="3854"/>
                      <a:pt x="1951" y="3856"/>
                    </a:cubicBezTo>
                    <a:cubicBezTo>
                      <a:pt x="1952" y="3857"/>
                      <a:pt x="1955" y="3859"/>
                      <a:pt x="1956" y="3857"/>
                    </a:cubicBezTo>
                    <a:cubicBezTo>
                      <a:pt x="1956" y="3856"/>
                      <a:pt x="1951" y="3850"/>
                      <a:pt x="1948" y="3845"/>
                    </a:cubicBezTo>
                    <a:cubicBezTo>
                      <a:pt x="1934" y="3836"/>
                      <a:pt x="1864" y="3809"/>
                      <a:pt x="1887" y="3794"/>
                    </a:cubicBezTo>
                    <a:cubicBezTo>
                      <a:pt x="1897" y="3787"/>
                      <a:pt x="1929" y="3817"/>
                      <a:pt x="1931" y="3790"/>
                    </a:cubicBezTo>
                    <a:cubicBezTo>
                      <a:pt x="1932" y="3786"/>
                      <a:pt x="1860" y="3673"/>
                      <a:pt x="1851" y="3666"/>
                    </a:cubicBezTo>
                    <a:cubicBezTo>
                      <a:pt x="1839" y="3656"/>
                      <a:pt x="1823" y="3666"/>
                      <a:pt x="1810" y="3664"/>
                    </a:cubicBezTo>
                    <a:cubicBezTo>
                      <a:pt x="1802" y="3662"/>
                      <a:pt x="1796" y="3653"/>
                      <a:pt x="1789" y="3653"/>
                    </a:cubicBezTo>
                    <a:cubicBezTo>
                      <a:pt x="1785" y="3653"/>
                      <a:pt x="1789" y="3674"/>
                      <a:pt x="1784" y="3674"/>
                    </a:cubicBezTo>
                    <a:cubicBezTo>
                      <a:pt x="1781" y="3675"/>
                      <a:pt x="1764" y="3660"/>
                      <a:pt x="1762" y="3657"/>
                    </a:cubicBezTo>
                    <a:cubicBezTo>
                      <a:pt x="1760" y="3655"/>
                      <a:pt x="1767" y="3653"/>
                      <a:pt x="1766" y="3651"/>
                    </a:cubicBezTo>
                    <a:cubicBezTo>
                      <a:pt x="1766" y="3651"/>
                      <a:pt x="1756" y="3634"/>
                      <a:pt x="1756" y="3634"/>
                    </a:cubicBezTo>
                    <a:cubicBezTo>
                      <a:pt x="1758" y="3625"/>
                      <a:pt x="1774" y="3640"/>
                      <a:pt x="1769" y="3623"/>
                    </a:cubicBezTo>
                    <a:cubicBezTo>
                      <a:pt x="1769" y="3620"/>
                      <a:pt x="1762" y="3623"/>
                      <a:pt x="1761" y="3621"/>
                    </a:cubicBezTo>
                    <a:cubicBezTo>
                      <a:pt x="1757" y="3615"/>
                      <a:pt x="1765" y="3607"/>
                      <a:pt x="1762" y="3601"/>
                    </a:cubicBezTo>
                    <a:cubicBezTo>
                      <a:pt x="1755" y="3589"/>
                      <a:pt x="1710" y="3592"/>
                      <a:pt x="1706" y="3580"/>
                    </a:cubicBezTo>
                    <a:cubicBezTo>
                      <a:pt x="1704" y="3574"/>
                      <a:pt x="1710" y="3569"/>
                      <a:pt x="1712" y="3563"/>
                    </a:cubicBezTo>
                    <a:cubicBezTo>
                      <a:pt x="1717" y="3549"/>
                      <a:pt x="1721" y="3524"/>
                      <a:pt x="1731" y="3513"/>
                    </a:cubicBezTo>
                    <a:cubicBezTo>
                      <a:pt x="1738" y="3504"/>
                      <a:pt x="1757" y="3499"/>
                      <a:pt x="1756" y="3482"/>
                    </a:cubicBezTo>
                    <a:cubicBezTo>
                      <a:pt x="1755" y="3467"/>
                      <a:pt x="1737" y="3470"/>
                      <a:pt x="1732" y="3461"/>
                    </a:cubicBezTo>
                    <a:cubicBezTo>
                      <a:pt x="1730" y="3455"/>
                      <a:pt x="1735" y="3449"/>
                      <a:pt x="1736" y="3443"/>
                    </a:cubicBezTo>
                    <a:cubicBezTo>
                      <a:pt x="1738" y="3429"/>
                      <a:pt x="1738" y="3401"/>
                      <a:pt x="1746" y="3389"/>
                    </a:cubicBezTo>
                    <a:cubicBezTo>
                      <a:pt x="1753" y="3377"/>
                      <a:pt x="1773" y="3379"/>
                      <a:pt x="1781" y="3363"/>
                    </a:cubicBezTo>
                    <a:cubicBezTo>
                      <a:pt x="1787" y="3352"/>
                      <a:pt x="1764" y="3349"/>
                      <a:pt x="1790" y="3323"/>
                    </a:cubicBezTo>
                    <a:cubicBezTo>
                      <a:pt x="1825" y="3289"/>
                      <a:pt x="1849" y="3395"/>
                      <a:pt x="1873" y="3395"/>
                    </a:cubicBezTo>
                    <a:cubicBezTo>
                      <a:pt x="1882" y="3396"/>
                      <a:pt x="1907" y="3385"/>
                      <a:pt x="1914" y="3380"/>
                    </a:cubicBezTo>
                    <a:cubicBezTo>
                      <a:pt x="1921" y="3369"/>
                      <a:pt x="1921" y="3369"/>
                      <a:pt x="1921" y="3369"/>
                    </a:cubicBezTo>
                    <a:cubicBezTo>
                      <a:pt x="1922" y="3353"/>
                      <a:pt x="1916" y="3366"/>
                      <a:pt x="1909" y="3358"/>
                    </a:cubicBezTo>
                    <a:cubicBezTo>
                      <a:pt x="1906" y="3356"/>
                      <a:pt x="1913" y="3351"/>
                      <a:pt x="1912" y="3347"/>
                    </a:cubicBezTo>
                    <a:cubicBezTo>
                      <a:pt x="1911" y="3344"/>
                      <a:pt x="1908" y="3342"/>
                      <a:pt x="1906" y="3339"/>
                    </a:cubicBezTo>
                    <a:cubicBezTo>
                      <a:pt x="1902" y="3329"/>
                      <a:pt x="1908" y="3302"/>
                      <a:pt x="1900" y="3295"/>
                    </a:cubicBezTo>
                    <a:cubicBezTo>
                      <a:pt x="1897" y="3292"/>
                      <a:pt x="1889" y="3291"/>
                      <a:pt x="1891" y="3288"/>
                    </a:cubicBezTo>
                    <a:cubicBezTo>
                      <a:pt x="1892" y="3287"/>
                      <a:pt x="1912" y="3296"/>
                      <a:pt x="1918" y="3293"/>
                    </a:cubicBezTo>
                    <a:cubicBezTo>
                      <a:pt x="1928" y="3287"/>
                      <a:pt x="1933" y="3273"/>
                      <a:pt x="1943" y="3268"/>
                    </a:cubicBezTo>
                    <a:cubicBezTo>
                      <a:pt x="1950" y="3265"/>
                      <a:pt x="1961" y="3266"/>
                      <a:pt x="1967" y="3260"/>
                    </a:cubicBezTo>
                    <a:cubicBezTo>
                      <a:pt x="1971" y="3256"/>
                      <a:pt x="1955" y="3231"/>
                      <a:pt x="1970" y="3224"/>
                    </a:cubicBezTo>
                    <a:cubicBezTo>
                      <a:pt x="1978" y="3221"/>
                      <a:pt x="1991" y="3229"/>
                      <a:pt x="2000" y="3227"/>
                    </a:cubicBezTo>
                    <a:cubicBezTo>
                      <a:pt x="2006" y="3225"/>
                      <a:pt x="2010" y="3214"/>
                      <a:pt x="2016" y="3211"/>
                    </a:cubicBezTo>
                    <a:cubicBezTo>
                      <a:pt x="2023" y="3208"/>
                      <a:pt x="2032" y="3210"/>
                      <a:pt x="2038" y="3207"/>
                    </a:cubicBezTo>
                    <a:cubicBezTo>
                      <a:pt x="2046" y="3203"/>
                      <a:pt x="2062" y="3187"/>
                      <a:pt x="2067" y="3180"/>
                    </a:cubicBezTo>
                    <a:cubicBezTo>
                      <a:pt x="2069" y="3177"/>
                      <a:pt x="2064" y="3157"/>
                      <a:pt x="2073" y="3156"/>
                    </a:cubicBezTo>
                    <a:cubicBezTo>
                      <a:pt x="2083" y="3155"/>
                      <a:pt x="2079" y="3177"/>
                      <a:pt x="2090" y="3163"/>
                    </a:cubicBezTo>
                    <a:cubicBezTo>
                      <a:pt x="2092" y="3160"/>
                      <a:pt x="2082" y="3140"/>
                      <a:pt x="2086" y="3140"/>
                    </a:cubicBezTo>
                    <a:cubicBezTo>
                      <a:pt x="2092" y="3141"/>
                      <a:pt x="2096" y="3149"/>
                      <a:pt x="2102" y="3152"/>
                    </a:cubicBezTo>
                    <a:cubicBezTo>
                      <a:pt x="2110" y="3154"/>
                      <a:pt x="2122" y="3146"/>
                      <a:pt x="2130" y="3149"/>
                    </a:cubicBezTo>
                    <a:cubicBezTo>
                      <a:pt x="2157" y="3159"/>
                      <a:pt x="2130" y="3166"/>
                      <a:pt x="2129" y="3171"/>
                    </a:cubicBezTo>
                    <a:cubicBezTo>
                      <a:pt x="2128" y="3178"/>
                      <a:pt x="2143" y="3182"/>
                      <a:pt x="2147" y="3180"/>
                    </a:cubicBezTo>
                    <a:cubicBezTo>
                      <a:pt x="2152" y="3178"/>
                      <a:pt x="2154" y="3171"/>
                      <a:pt x="2159" y="3169"/>
                    </a:cubicBezTo>
                    <a:cubicBezTo>
                      <a:pt x="2171" y="3166"/>
                      <a:pt x="2159" y="3185"/>
                      <a:pt x="2169" y="3182"/>
                    </a:cubicBezTo>
                    <a:cubicBezTo>
                      <a:pt x="2171" y="3182"/>
                      <a:pt x="2172" y="3180"/>
                      <a:pt x="2174" y="3178"/>
                    </a:cubicBezTo>
                    <a:cubicBezTo>
                      <a:pt x="2181" y="3171"/>
                      <a:pt x="2173" y="3155"/>
                      <a:pt x="2188" y="3152"/>
                    </a:cubicBezTo>
                    <a:cubicBezTo>
                      <a:pt x="2199" y="3149"/>
                      <a:pt x="2204" y="3154"/>
                      <a:pt x="2214" y="3148"/>
                    </a:cubicBezTo>
                    <a:cubicBezTo>
                      <a:pt x="2219" y="3146"/>
                      <a:pt x="2223" y="3135"/>
                      <a:pt x="2227" y="3138"/>
                    </a:cubicBezTo>
                    <a:cubicBezTo>
                      <a:pt x="2236" y="3146"/>
                      <a:pt x="2234" y="3169"/>
                      <a:pt x="2242" y="3178"/>
                    </a:cubicBezTo>
                    <a:cubicBezTo>
                      <a:pt x="2249" y="3187"/>
                      <a:pt x="2314" y="3170"/>
                      <a:pt x="2336" y="3185"/>
                    </a:cubicBezTo>
                    <a:cubicBezTo>
                      <a:pt x="2345" y="3191"/>
                      <a:pt x="2337" y="3202"/>
                      <a:pt x="2346" y="3211"/>
                    </a:cubicBezTo>
                    <a:cubicBezTo>
                      <a:pt x="2350" y="3215"/>
                      <a:pt x="2364" y="3213"/>
                      <a:pt x="2370" y="3216"/>
                    </a:cubicBezTo>
                    <a:cubicBezTo>
                      <a:pt x="2386" y="3223"/>
                      <a:pt x="2383" y="3233"/>
                      <a:pt x="2391" y="3244"/>
                    </a:cubicBezTo>
                    <a:cubicBezTo>
                      <a:pt x="2396" y="3252"/>
                      <a:pt x="2412" y="3255"/>
                      <a:pt x="2419" y="3262"/>
                    </a:cubicBezTo>
                    <a:cubicBezTo>
                      <a:pt x="2427" y="3269"/>
                      <a:pt x="2408" y="3282"/>
                      <a:pt x="2410" y="3293"/>
                    </a:cubicBezTo>
                    <a:cubicBezTo>
                      <a:pt x="2411" y="3302"/>
                      <a:pt x="2423" y="3306"/>
                      <a:pt x="2431" y="3301"/>
                    </a:cubicBezTo>
                    <a:cubicBezTo>
                      <a:pt x="2437" y="3297"/>
                      <a:pt x="2436" y="3268"/>
                      <a:pt x="2435" y="3260"/>
                    </a:cubicBezTo>
                    <a:cubicBezTo>
                      <a:pt x="2434" y="3251"/>
                      <a:pt x="2423" y="3256"/>
                      <a:pt x="2420" y="3251"/>
                    </a:cubicBezTo>
                    <a:cubicBezTo>
                      <a:pt x="2419" y="3247"/>
                      <a:pt x="2421" y="3242"/>
                      <a:pt x="2425" y="3240"/>
                    </a:cubicBezTo>
                    <a:cubicBezTo>
                      <a:pt x="2448" y="3223"/>
                      <a:pt x="2480" y="3282"/>
                      <a:pt x="2496" y="3288"/>
                    </a:cubicBezTo>
                    <a:cubicBezTo>
                      <a:pt x="2500" y="3290"/>
                      <a:pt x="2504" y="3284"/>
                      <a:pt x="2508" y="3286"/>
                    </a:cubicBezTo>
                    <a:cubicBezTo>
                      <a:pt x="2514" y="3290"/>
                      <a:pt x="2516" y="3305"/>
                      <a:pt x="2526" y="3304"/>
                    </a:cubicBezTo>
                    <a:cubicBezTo>
                      <a:pt x="2532" y="3303"/>
                      <a:pt x="2560" y="3281"/>
                      <a:pt x="2563" y="3275"/>
                    </a:cubicBezTo>
                    <a:cubicBezTo>
                      <a:pt x="2565" y="3271"/>
                      <a:pt x="2563" y="3255"/>
                      <a:pt x="2569" y="3253"/>
                    </a:cubicBezTo>
                    <a:cubicBezTo>
                      <a:pt x="2572" y="3252"/>
                      <a:pt x="2579" y="3259"/>
                      <a:pt x="2582" y="3257"/>
                    </a:cubicBezTo>
                    <a:cubicBezTo>
                      <a:pt x="2594" y="3253"/>
                      <a:pt x="2588" y="3234"/>
                      <a:pt x="2597" y="3231"/>
                    </a:cubicBezTo>
                    <a:cubicBezTo>
                      <a:pt x="2605" y="3229"/>
                      <a:pt x="2605" y="3253"/>
                      <a:pt x="2618" y="3244"/>
                    </a:cubicBezTo>
                    <a:cubicBezTo>
                      <a:pt x="2621" y="3242"/>
                      <a:pt x="2613" y="3236"/>
                      <a:pt x="2615" y="3233"/>
                    </a:cubicBezTo>
                    <a:cubicBezTo>
                      <a:pt x="2615" y="3233"/>
                      <a:pt x="2654" y="3226"/>
                      <a:pt x="2659" y="3229"/>
                    </a:cubicBezTo>
                    <a:cubicBezTo>
                      <a:pt x="2666" y="3232"/>
                      <a:pt x="2672" y="3270"/>
                      <a:pt x="2686" y="3260"/>
                    </a:cubicBezTo>
                    <a:cubicBezTo>
                      <a:pt x="2689" y="3258"/>
                      <a:pt x="2689" y="3252"/>
                      <a:pt x="2692" y="3251"/>
                    </a:cubicBezTo>
                    <a:cubicBezTo>
                      <a:pt x="2697" y="3249"/>
                      <a:pt x="2702" y="3256"/>
                      <a:pt x="2707" y="3255"/>
                    </a:cubicBezTo>
                    <a:cubicBezTo>
                      <a:pt x="2711" y="3254"/>
                      <a:pt x="2708" y="3234"/>
                      <a:pt x="2708" y="3231"/>
                    </a:cubicBezTo>
                    <a:cubicBezTo>
                      <a:pt x="2711" y="3221"/>
                      <a:pt x="2735" y="3232"/>
                      <a:pt x="2741" y="3233"/>
                    </a:cubicBezTo>
                    <a:cubicBezTo>
                      <a:pt x="2748" y="3234"/>
                      <a:pt x="2755" y="3219"/>
                      <a:pt x="2760" y="3222"/>
                    </a:cubicBezTo>
                    <a:cubicBezTo>
                      <a:pt x="2763" y="3224"/>
                      <a:pt x="2762" y="3229"/>
                      <a:pt x="2765" y="3231"/>
                    </a:cubicBezTo>
                    <a:cubicBezTo>
                      <a:pt x="2771" y="3236"/>
                      <a:pt x="2781" y="3229"/>
                      <a:pt x="2786" y="3238"/>
                    </a:cubicBezTo>
                    <a:cubicBezTo>
                      <a:pt x="2789" y="3244"/>
                      <a:pt x="2780" y="3260"/>
                      <a:pt x="2790" y="3268"/>
                    </a:cubicBezTo>
                    <a:cubicBezTo>
                      <a:pt x="2793" y="3271"/>
                      <a:pt x="2798" y="3267"/>
                      <a:pt x="2801" y="3268"/>
                    </a:cubicBezTo>
                    <a:cubicBezTo>
                      <a:pt x="2805" y="3270"/>
                      <a:pt x="2808" y="3281"/>
                      <a:pt x="2814" y="3284"/>
                    </a:cubicBezTo>
                    <a:cubicBezTo>
                      <a:pt x="2828" y="3289"/>
                      <a:pt x="2865" y="3286"/>
                      <a:pt x="2872" y="3297"/>
                    </a:cubicBezTo>
                    <a:cubicBezTo>
                      <a:pt x="2876" y="3303"/>
                      <a:pt x="2846" y="3303"/>
                      <a:pt x="2869" y="3310"/>
                    </a:cubicBezTo>
                    <a:cubicBezTo>
                      <a:pt x="2898" y="3320"/>
                      <a:pt x="2905" y="3258"/>
                      <a:pt x="2918" y="3260"/>
                    </a:cubicBezTo>
                    <a:cubicBezTo>
                      <a:pt x="2927" y="3261"/>
                      <a:pt x="2927" y="3280"/>
                      <a:pt x="2939" y="3284"/>
                    </a:cubicBezTo>
                    <a:cubicBezTo>
                      <a:pt x="2963" y="3292"/>
                      <a:pt x="3014" y="3283"/>
                      <a:pt x="3035" y="3268"/>
                    </a:cubicBezTo>
                    <a:cubicBezTo>
                      <a:pt x="3044" y="3263"/>
                      <a:pt x="3042" y="3236"/>
                      <a:pt x="3044" y="3227"/>
                    </a:cubicBezTo>
                    <a:cubicBezTo>
                      <a:pt x="3045" y="3221"/>
                      <a:pt x="3046" y="3215"/>
                      <a:pt x="3049" y="3211"/>
                    </a:cubicBezTo>
                    <a:cubicBezTo>
                      <a:pt x="3050" y="3210"/>
                      <a:pt x="3052" y="3210"/>
                      <a:pt x="3054" y="3209"/>
                    </a:cubicBezTo>
                    <a:cubicBezTo>
                      <a:pt x="3056" y="3208"/>
                      <a:pt x="3060" y="3209"/>
                      <a:pt x="3059" y="3207"/>
                    </a:cubicBezTo>
                    <a:cubicBezTo>
                      <a:pt x="3058" y="3204"/>
                      <a:pt x="3054" y="3205"/>
                      <a:pt x="3052" y="3202"/>
                    </a:cubicBezTo>
                    <a:cubicBezTo>
                      <a:pt x="3047" y="3197"/>
                      <a:pt x="3048" y="3189"/>
                      <a:pt x="3043" y="3185"/>
                    </a:cubicBezTo>
                    <a:cubicBezTo>
                      <a:pt x="3034" y="3176"/>
                      <a:pt x="3010" y="3185"/>
                      <a:pt x="3000" y="3178"/>
                    </a:cubicBezTo>
                    <a:cubicBezTo>
                      <a:pt x="2992" y="3173"/>
                      <a:pt x="2996" y="3165"/>
                      <a:pt x="2994" y="3160"/>
                    </a:cubicBezTo>
                    <a:cubicBezTo>
                      <a:pt x="2990" y="3154"/>
                      <a:pt x="2953" y="3156"/>
                      <a:pt x="2945" y="3154"/>
                    </a:cubicBezTo>
                    <a:cubicBezTo>
                      <a:pt x="2933" y="3150"/>
                      <a:pt x="2963" y="3140"/>
                      <a:pt x="2952" y="3134"/>
                    </a:cubicBezTo>
                    <a:cubicBezTo>
                      <a:pt x="2940" y="3126"/>
                      <a:pt x="2905" y="3135"/>
                      <a:pt x="2911" y="3109"/>
                    </a:cubicBezTo>
                    <a:cubicBezTo>
                      <a:pt x="2911" y="3109"/>
                      <a:pt x="2912" y="3109"/>
                      <a:pt x="2912" y="3109"/>
                    </a:cubicBezTo>
                    <a:cubicBezTo>
                      <a:pt x="2920" y="3109"/>
                      <a:pt x="2920" y="3109"/>
                      <a:pt x="2920" y="3109"/>
                    </a:cubicBezTo>
                    <a:cubicBezTo>
                      <a:pt x="2923" y="3109"/>
                      <a:pt x="2926" y="3110"/>
                      <a:pt x="2928" y="3109"/>
                    </a:cubicBezTo>
                    <a:cubicBezTo>
                      <a:pt x="2937" y="3106"/>
                      <a:pt x="2942" y="3092"/>
                      <a:pt x="2951" y="3089"/>
                    </a:cubicBezTo>
                    <a:cubicBezTo>
                      <a:pt x="2967" y="3084"/>
                      <a:pt x="2994" y="3085"/>
                      <a:pt x="3004" y="3065"/>
                    </a:cubicBezTo>
                    <a:cubicBezTo>
                      <a:pt x="3011" y="3053"/>
                      <a:pt x="2986" y="3042"/>
                      <a:pt x="2983" y="3038"/>
                    </a:cubicBezTo>
                    <a:cubicBezTo>
                      <a:pt x="2982" y="3036"/>
                      <a:pt x="2983" y="3034"/>
                      <a:pt x="2983" y="3031"/>
                    </a:cubicBezTo>
                    <a:cubicBezTo>
                      <a:pt x="2983" y="3029"/>
                      <a:pt x="2985" y="3027"/>
                      <a:pt x="2983" y="3025"/>
                    </a:cubicBezTo>
                    <a:cubicBezTo>
                      <a:pt x="2983" y="3024"/>
                      <a:pt x="2972" y="3021"/>
                      <a:pt x="2971" y="3020"/>
                    </a:cubicBezTo>
                    <a:cubicBezTo>
                      <a:pt x="2961" y="3005"/>
                      <a:pt x="3007" y="2996"/>
                      <a:pt x="3006" y="2985"/>
                    </a:cubicBezTo>
                    <a:cubicBezTo>
                      <a:pt x="3005" y="2981"/>
                      <a:pt x="2997" y="2981"/>
                      <a:pt x="2998" y="2978"/>
                    </a:cubicBezTo>
                    <a:cubicBezTo>
                      <a:pt x="3005" y="2958"/>
                      <a:pt x="3103" y="3003"/>
                      <a:pt x="3101" y="2967"/>
                    </a:cubicBezTo>
                    <a:cubicBezTo>
                      <a:pt x="3100" y="2954"/>
                      <a:pt x="3079" y="2958"/>
                      <a:pt x="3071" y="2953"/>
                    </a:cubicBezTo>
                    <a:cubicBezTo>
                      <a:pt x="3066" y="2950"/>
                      <a:pt x="3064" y="2944"/>
                      <a:pt x="3059" y="2942"/>
                    </a:cubicBezTo>
                    <a:cubicBezTo>
                      <a:pt x="3051" y="2939"/>
                      <a:pt x="3023" y="2949"/>
                      <a:pt x="3013" y="2933"/>
                    </a:cubicBezTo>
                    <a:cubicBezTo>
                      <a:pt x="2994" y="2904"/>
                      <a:pt x="3046" y="2914"/>
                      <a:pt x="3050" y="2906"/>
                    </a:cubicBezTo>
                    <a:cubicBezTo>
                      <a:pt x="3062" y="2886"/>
                      <a:pt x="3012" y="2908"/>
                      <a:pt x="2989" y="2893"/>
                    </a:cubicBezTo>
                    <a:cubicBezTo>
                      <a:pt x="2987" y="2891"/>
                      <a:pt x="2994" y="2888"/>
                      <a:pt x="2997" y="2888"/>
                    </a:cubicBezTo>
                    <a:cubicBezTo>
                      <a:pt x="2999" y="2888"/>
                      <a:pt x="3022" y="2869"/>
                      <a:pt x="3019" y="2863"/>
                    </a:cubicBezTo>
                    <a:cubicBezTo>
                      <a:pt x="3016" y="2858"/>
                      <a:pt x="2995" y="2862"/>
                      <a:pt x="2998" y="2852"/>
                    </a:cubicBezTo>
                    <a:cubicBezTo>
                      <a:pt x="3003" y="2838"/>
                      <a:pt x="3013" y="2851"/>
                      <a:pt x="3016" y="2852"/>
                    </a:cubicBezTo>
                    <a:cubicBezTo>
                      <a:pt x="3019" y="2853"/>
                      <a:pt x="3017" y="2821"/>
                      <a:pt x="3038" y="2832"/>
                    </a:cubicBezTo>
                    <a:cubicBezTo>
                      <a:pt x="3041" y="2833"/>
                      <a:pt x="3047" y="2843"/>
                      <a:pt x="3050" y="2845"/>
                    </a:cubicBezTo>
                    <a:cubicBezTo>
                      <a:pt x="3053" y="2847"/>
                      <a:pt x="3065" y="2835"/>
                      <a:pt x="3073" y="2841"/>
                    </a:cubicBezTo>
                    <a:cubicBezTo>
                      <a:pt x="3075" y="2842"/>
                      <a:pt x="3082" y="2856"/>
                      <a:pt x="3090" y="2850"/>
                    </a:cubicBezTo>
                    <a:cubicBezTo>
                      <a:pt x="3092" y="2848"/>
                      <a:pt x="3090" y="2845"/>
                      <a:pt x="3090" y="2843"/>
                    </a:cubicBezTo>
                    <a:cubicBezTo>
                      <a:pt x="3089" y="2841"/>
                      <a:pt x="3087" y="2838"/>
                      <a:pt x="3089" y="2836"/>
                    </a:cubicBezTo>
                    <a:cubicBezTo>
                      <a:pt x="3091" y="2834"/>
                      <a:pt x="3095" y="2836"/>
                      <a:pt x="3099" y="2836"/>
                    </a:cubicBezTo>
                    <a:cubicBezTo>
                      <a:pt x="3118" y="2836"/>
                      <a:pt x="3118" y="2836"/>
                      <a:pt x="3118" y="2836"/>
                    </a:cubicBezTo>
                    <a:cubicBezTo>
                      <a:pt x="3121" y="2836"/>
                      <a:pt x="3125" y="2835"/>
                      <a:pt x="3128" y="2836"/>
                    </a:cubicBezTo>
                    <a:cubicBezTo>
                      <a:pt x="3131" y="2837"/>
                      <a:pt x="3123" y="2842"/>
                      <a:pt x="3123" y="2845"/>
                    </a:cubicBezTo>
                    <a:cubicBezTo>
                      <a:pt x="3123" y="2846"/>
                      <a:pt x="3136" y="2861"/>
                      <a:pt x="3138" y="2856"/>
                    </a:cubicBezTo>
                    <a:cubicBezTo>
                      <a:pt x="3141" y="2849"/>
                      <a:pt x="3138" y="2843"/>
                      <a:pt x="3138" y="2836"/>
                    </a:cubicBezTo>
                    <a:cubicBezTo>
                      <a:pt x="3138" y="2823"/>
                      <a:pt x="3181" y="2831"/>
                      <a:pt x="3187" y="2827"/>
                    </a:cubicBezTo>
                    <a:cubicBezTo>
                      <a:pt x="3190" y="2826"/>
                      <a:pt x="3186" y="2819"/>
                      <a:pt x="3188" y="2818"/>
                    </a:cubicBezTo>
                    <a:cubicBezTo>
                      <a:pt x="3197" y="2814"/>
                      <a:pt x="3205" y="2819"/>
                      <a:pt x="3212" y="2818"/>
                    </a:cubicBezTo>
                    <a:cubicBezTo>
                      <a:pt x="3222" y="2817"/>
                      <a:pt x="3233" y="2804"/>
                      <a:pt x="3242" y="2804"/>
                    </a:cubicBezTo>
                    <a:cubicBezTo>
                      <a:pt x="3248" y="2805"/>
                      <a:pt x="3251" y="2812"/>
                      <a:pt x="3257" y="2814"/>
                    </a:cubicBezTo>
                    <a:cubicBezTo>
                      <a:pt x="3272" y="2816"/>
                      <a:pt x="3263" y="2800"/>
                      <a:pt x="3264" y="2800"/>
                    </a:cubicBezTo>
                    <a:cubicBezTo>
                      <a:pt x="3279" y="2792"/>
                      <a:pt x="3304" y="2792"/>
                      <a:pt x="3319" y="2786"/>
                    </a:cubicBezTo>
                    <a:cubicBezTo>
                      <a:pt x="3323" y="2785"/>
                      <a:pt x="3325" y="2792"/>
                      <a:pt x="3328" y="2793"/>
                    </a:cubicBezTo>
                    <a:cubicBezTo>
                      <a:pt x="3337" y="2796"/>
                      <a:pt x="3344" y="2782"/>
                      <a:pt x="3353" y="2786"/>
                    </a:cubicBezTo>
                    <a:cubicBezTo>
                      <a:pt x="3363" y="2791"/>
                      <a:pt x="3360" y="2803"/>
                      <a:pt x="3374" y="2798"/>
                    </a:cubicBezTo>
                    <a:cubicBezTo>
                      <a:pt x="3380" y="2796"/>
                      <a:pt x="3372" y="2775"/>
                      <a:pt x="3374" y="2770"/>
                    </a:cubicBezTo>
                    <a:cubicBezTo>
                      <a:pt x="3383" y="2751"/>
                      <a:pt x="3410" y="2764"/>
                      <a:pt x="3422" y="2759"/>
                    </a:cubicBezTo>
                    <a:cubicBezTo>
                      <a:pt x="3424" y="2758"/>
                      <a:pt x="3435" y="2739"/>
                      <a:pt x="3441" y="2743"/>
                    </a:cubicBezTo>
                    <a:cubicBezTo>
                      <a:pt x="3445" y="2746"/>
                      <a:pt x="3439" y="2754"/>
                      <a:pt x="3443" y="2757"/>
                    </a:cubicBezTo>
                    <a:cubicBezTo>
                      <a:pt x="3444" y="2758"/>
                      <a:pt x="3479" y="2747"/>
                      <a:pt x="3482" y="2746"/>
                    </a:cubicBezTo>
                    <a:cubicBezTo>
                      <a:pt x="3512" y="2740"/>
                      <a:pt x="3539" y="2739"/>
                      <a:pt x="3560" y="2723"/>
                    </a:cubicBezTo>
                    <a:cubicBezTo>
                      <a:pt x="3564" y="2720"/>
                      <a:pt x="3580" y="2726"/>
                      <a:pt x="3585" y="2725"/>
                    </a:cubicBezTo>
                    <a:cubicBezTo>
                      <a:pt x="3598" y="2723"/>
                      <a:pt x="3599" y="2714"/>
                      <a:pt x="3607" y="2709"/>
                    </a:cubicBezTo>
                    <a:cubicBezTo>
                      <a:pt x="3618" y="2703"/>
                      <a:pt x="3628" y="2717"/>
                      <a:pt x="3640" y="2709"/>
                    </a:cubicBezTo>
                    <a:cubicBezTo>
                      <a:pt x="3661" y="2696"/>
                      <a:pt x="3638" y="2682"/>
                      <a:pt x="3640" y="2679"/>
                    </a:cubicBezTo>
                    <a:cubicBezTo>
                      <a:pt x="3646" y="2672"/>
                      <a:pt x="3670" y="2680"/>
                      <a:pt x="3677" y="2677"/>
                    </a:cubicBezTo>
                    <a:cubicBezTo>
                      <a:pt x="3685" y="2674"/>
                      <a:pt x="3678" y="2653"/>
                      <a:pt x="3686" y="2654"/>
                    </a:cubicBezTo>
                    <a:cubicBezTo>
                      <a:pt x="3701" y="2657"/>
                      <a:pt x="3710" y="2668"/>
                      <a:pt x="3711" y="2666"/>
                    </a:cubicBezTo>
                    <a:cubicBezTo>
                      <a:pt x="3714" y="2661"/>
                      <a:pt x="3698" y="2644"/>
                      <a:pt x="3707" y="2643"/>
                    </a:cubicBezTo>
                    <a:cubicBezTo>
                      <a:pt x="3719" y="2642"/>
                      <a:pt x="3723" y="2653"/>
                      <a:pt x="3728" y="2657"/>
                    </a:cubicBezTo>
                    <a:cubicBezTo>
                      <a:pt x="3730" y="2658"/>
                      <a:pt x="3732" y="2655"/>
                      <a:pt x="3734" y="2654"/>
                    </a:cubicBezTo>
                    <a:cubicBezTo>
                      <a:pt x="3747" y="2649"/>
                      <a:pt x="3757" y="2652"/>
                      <a:pt x="3771" y="2657"/>
                    </a:cubicBezTo>
                    <a:cubicBezTo>
                      <a:pt x="3784" y="2661"/>
                      <a:pt x="3809" y="2688"/>
                      <a:pt x="3821" y="2686"/>
                    </a:cubicBezTo>
                    <a:cubicBezTo>
                      <a:pt x="3828" y="2685"/>
                      <a:pt x="3838" y="2665"/>
                      <a:pt x="3842" y="2663"/>
                    </a:cubicBezTo>
                    <a:cubicBezTo>
                      <a:pt x="3844" y="2663"/>
                      <a:pt x="3876" y="2662"/>
                      <a:pt x="3876" y="2663"/>
                    </a:cubicBezTo>
                    <a:cubicBezTo>
                      <a:pt x="3877" y="2666"/>
                      <a:pt x="3872" y="2668"/>
                      <a:pt x="3872" y="2670"/>
                    </a:cubicBezTo>
                    <a:cubicBezTo>
                      <a:pt x="3872" y="2679"/>
                      <a:pt x="3890" y="2686"/>
                      <a:pt x="3890" y="2698"/>
                    </a:cubicBezTo>
                    <a:cubicBezTo>
                      <a:pt x="3890" y="2710"/>
                      <a:pt x="3885" y="2719"/>
                      <a:pt x="3891" y="2732"/>
                    </a:cubicBezTo>
                    <a:cubicBezTo>
                      <a:pt x="3898" y="2744"/>
                      <a:pt x="3911" y="2736"/>
                      <a:pt x="3915" y="2748"/>
                    </a:cubicBezTo>
                    <a:cubicBezTo>
                      <a:pt x="3919" y="2759"/>
                      <a:pt x="3904" y="2754"/>
                      <a:pt x="3905" y="2765"/>
                    </a:cubicBezTo>
                    <a:cubicBezTo>
                      <a:pt x="3905" y="2771"/>
                      <a:pt x="3905" y="2778"/>
                      <a:pt x="3906" y="2784"/>
                    </a:cubicBezTo>
                    <a:cubicBezTo>
                      <a:pt x="3907" y="2788"/>
                      <a:pt x="3913" y="2794"/>
                      <a:pt x="3909" y="2795"/>
                    </a:cubicBezTo>
                    <a:cubicBezTo>
                      <a:pt x="3906" y="2797"/>
                      <a:pt x="3903" y="2795"/>
                      <a:pt x="3899" y="2795"/>
                    </a:cubicBezTo>
                    <a:cubicBezTo>
                      <a:pt x="3896" y="2795"/>
                      <a:pt x="3892" y="2794"/>
                      <a:pt x="3890" y="2795"/>
                    </a:cubicBezTo>
                    <a:cubicBezTo>
                      <a:pt x="3889" y="2796"/>
                      <a:pt x="3900" y="2826"/>
                      <a:pt x="3906" y="2827"/>
                    </a:cubicBezTo>
                    <a:cubicBezTo>
                      <a:pt x="3913" y="2828"/>
                      <a:pt x="3915" y="2813"/>
                      <a:pt x="3919" y="2811"/>
                    </a:cubicBezTo>
                    <a:cubicBezTo>
                      <a:pt x="3936" y="2804"/>
                      <a:pt x="3929" y="2831"/>
                      <a:pt x="3948" y="2825"/>
                    </a:cubicBezTo>
                    <a:cubicBezTo>
                      <a:pt x="3960" y="2821"/>
                      <a:pt x="3951" y="2810"/>
                      <a:pt x="3958" y="2807"/>
                    </a:cubicBezTo>
                    <a:cubicBezTo>
                      <a:pt x="3976" y="2799"/>
                      <a:pt x="3988" y="2827"/>
                      <a:pt x="3997" y="2823"/>
                    </a:cubicBezTo>
                    <a:cubicBezTo>
                      <a:pt x="3998" y="2822"/>
                      <a:pt x="3998" y="2820"/>
                      <a:pt x="3998" y="2818"/>
                    </a:cubicBezTo>
                    <a:cubicBezTo>
                      <a:pt x="3998" y="2816"/>
                      <a:pt x="3998" y="2815"/>
                      <a:pt x="3997" y="2814"/>
                    </a:cubicBezTo>
                    <a:cubicBezTo>
                      <a:pt x="3995" y="2812"/>
                      <a:pt x="3993" y="2812"/>
                      <a:pt x="3992" y="2811"/>
                    </a:cubicBezTo>
                    <a:cubicBezTo>
                      <a:pt x="3990" y="2810"/>
                      <a:pt x="3987" y="2811"/>
                      <a:pt x="3986" y="2809"/>
                    </a:cubicBezTo>
                    <a:cubicBezTo>
                      <a:pt x="3986" y="2809"/>
                      <a:pt x="3991" y="2798"/>
                      <a:pt x="3991" y="2798"/>
                    </a:cubicBezTo>
                    <a:cubicBezTo>
                      <a:pt x="3989" y="2794"/>
                      <a:pt x="3980" y="2789"/>
                      <a:pt x="3983" y="2789"/>
                    </a:cubicBezTo>
                    <a:cubicBezTo>
                      <a:pt x="3990" y="2787"/>
                      <a:pt x="4012" y="2798"/>
                      <a:pt x="4012" y="2807"/>
                    </a:cubicBezTo>
                    <a:cubicBezTo>
                      <a:pt x="4011" y="2810"/>
                      <a:pt x="4006" y="2813"/>
                      <a:pt x="4007" y="2816"/>
                    </a:cubicBezTo>
                    <a:cubicBezTo>
                      <a:pt x="4007" y="2816"/>
                      <a:pt x="4025" y="2820"/>
                      <a:pt x="4025" y="2820"/>
                    </a:cubicBezTo>
                    <a:cubicBezTo>
                      <a:pt x="4013" y="2827"/>
                      <a:pt x="4013" y="2827"/>
                      <a:pt x="4013" y="2827"/>
                    </a:cubicBezTo>
                    <a:cubicBezTo>
                      <a:pt x="4010" y="2832"/>
                      <a:pt x="4020" y="2835"/>
                      <a:pt x="4017" y="2843"/>
                    </a:cubicBezTo>
                    <a:cubicBezTo>
                      <a:pt x="4016" y="2846"/>
                      <a:pt x="4011" y="2854"/>
                      <a:pt x="4021" y="2852"/>
                    </a:cubicBezTo>
                    <a:cubicBezTo>
                      <a:pt x="4021" y="2852"/>
                      <a:pt x="4029" y="2843"/>
                      <a:pt x="4029" y="2843"/>
                    </a:cubicBezTo>
                    <a:cubicBezTo>
                      <a:pt x="4030" y="2843"/>
                      <a:pt x="4044" y="2846"/>
                      <a:pt x="4044" y="2845"/>
                    </a:cubicBezTo>
                    <a:cubicBezTo>
                      <a:pt x="4043" y="2834"/>
                      <a:pt x="4013" y="2830"/>
                      <a:pt x="4034" y="2820"/>
                    </a:cubicBezTo>
                    <a:cubicBezTo>
                      <a:pt x="4070" y="2804"/>
                      <a:pt x="4069" y="2859"/>
                      <a:pt x="4102" y="2847"/>
                    </a:cubicBezTo>
                    <a:cubicBezTo>
                      <a:pt x="4104" y="2847"/>
                      <a:pt x="4103" y="2843"/>
                      <a:pt x="4105" y="2843"/>
                    </a:cubicBezTo>
                    <a:cubicBezTo>
                      <a:pt x="4108" y="2843"/>
                      <a:pt x="4110" y="2847"/>
                      <a:pt x="4113" y="2847"/>
                    </a:cubicBezTo>
                    <a:cubicBezTo>
                      <a:pt x="4116" y="2847"/>
                      <a:pt x="4126" y="2817"/>
                      <a:pt x="4136" y="2832"/>
                    </a:cubicBezTo>
                    <a:cubicBezTo>
                      <a:pt x="4137" y="2833"/>
                      <a:pt x="4133" y="2858"/>
                      <a:pt x="4132" y="2859"/>
                    </a:cubicBezTo>
                    <a:cubicBezTo>
                      <a:pt x="4128" y="2862"/>
                      <a:pt x="4113" y="2853"/>
                      <a:pt x="4108" y="2856"/>
                    </a:cubicBezTo>
                    <a:cubicBezTo>
                      <a:pt x="4104" y="2859"/>
                      <a:pt x="4087" y="2893"/>
                      <a:pt x="4090" y="2897"/>
                    </a:cubicBezTo>
                    <a:cubicBezTo>
                      <a:pt x="4093" y="2902"/>
                      <a:pt x="4104" y="2898"/>
                      <a:pt x="4105" y="2904"/>
                    </a:cubicBezTo>
                    <a:cubicBezTo>
                      <a:pt x="4106" y="2908"/>
                      <a:pt x="4102" y="2918"/>
                      <a:pt x="4107" y="2917"/>
                    </a:cubicBezTo>
                    <a:cubicBezTo>
                      <a:pt x="4115" y="2916"/>
                      <a:pt x="4121" y="2896"/>
                      <a:pt x="4129" y="2893"/>
                    </a:cubicBezTo>
                    <a:cubicBezTo>
                      <a:pt x="4131" y="2892"/>
                      <a:pt x="4147" y="2889"/>
                      <a:pt x="4150" y="2888"/>
                    </a:cubicBezTo>
                    <a:cubicBezTo>
                      <a:pt x="4165" y="2885"/>
                      <a:pt x="4159" y="2895"/>
                      <a:pt x="4165" y="2899"/>
                    </a:cubicBezTo>
                    <a:cubicBezTo>
                      <a:pt x="4179" y="2895"/>
                      <a:pt x="4179" y="2895"/>
                      <a:pt x="4179" y="2895"/>
                    </a:cubicBezTo>
                    <a:cubicBezTo>
                      <a:pt x="4181" y="2896"/>
                      <a:pt x="4186" y="2914"/>
                      <a:pt x="4191" y="2913"/>
                    </a:cubicBezTo>
                    <a:cubicBezTo>
                      <a:pt x="4209" y="2909"/>
                      <a:pt x="4191" y="2887"/>
                      <a:pt x="4199" y="2881"/>
                    </a:cubicBezTo>
                    <a:cubicBezTo>
                      <a:pt x="4203" y="2878"/>
                      <a:pt x="4210" y="2886"/>
                      <a:pt x="4215" y="2884"/>
                    </a:cubicBezTo>
                    <a:cubicBezTo>
                      <a:pt x="4219" y="2882"/>
                      <a:pt x="4225" y="2866"/>
                      <a:pt x="4227" y="2863"/>
                    </a:cubicBezTo>
                    <a:cubicBezTo>
                      <a:pt x="4232" y="2858"/>
                      <a:pt x="4245" y="2867"/>
                      <a:pt x="4249" y="2868"/>
                    </a:cubicBezTo>
                    <a:cubicBezTo>
                      <a:pt x="4252" y="2868"/>
                      <a:pt x="4286" y="2844"/>
                      <a:pt x="4286" y="2841"/>
                    </a:cubicBezTo>
                    <a:cubicBezTo>
                      <a:pt x="4286" y="2841"/>
                      <a:pt x="4281" y="2832"/>
                      <a:pt x="4281" y="2832"/>
                    </a:cubicBezTo>
                    <a:cubicBezTo>
                      <a:pt x="4283" y="2824"/>
                      <a:pt x="4316" y="2821"/>
                      <a:pt x="4325" y="2817"/>
                    </a:cubicBezTo>
                    <a:cubicBezTo>
                      <a:pt x="4343" y="2809"/>
                      <a:pt x="4358" y="2791"/>
                      <a:pt x="4367" y="2793"/>
                    </a:cubicBezTo>
                    <a:cubicBezTo>
                      <a:pt x="4369" y="2794"/>
                      <a:pt x="4371" y="2794"/>
                      <a:pt x="4373" y="2794"/>
                    </a:cubicBezTo>
                    <a:cubicBezTo>
                      <a:pt x="4375" y="2795"/>
                      <a:pt x="4377" y="2796"/>
                      <a:pt x="4379" y="2795"/>
                    </a:cubicBezTo>
                    <a:cubicBezTo>
                      <a:pt x="4385" y="2795"/>
                      <a:pt x="4416" y="2768"/>
                      <a:pt x="4417" y="2775"/>
                    </a:cubicBezTo>
                    <a:cubicBezTo>
                      <a:pt x="4420" y="2788"/>
                      <a:pt x="4411" y="2780"/>
                      <a:pt x="4405" y="2786"/>
                    </a:cubicBezTo>
                    <a:cubicBezTo>
                      <a:pt x="4404" y="2787"/>
                      <a:pt x="4404" y="2790"/>
                      <a:pt x="4405" y="2791"/>
                    </a:cubicBezTo>
                    <a:cubicBezTo>
                      <a:pt x="4412" y="2796"/>
                      <a:pt x="4413" y="2811"/>
                      <a:pt x="4401" y="2820"/>
                    </a:cubicBezTo>
                    <a:cubicBezTo>
                      <a:pt x="4394" y="2825"/>
                      <a:pt x="4374" y="2813"/>
                      <a:pt x="4371" y="2818"/>
                    </a:cubicBezTo>
                    <a:cubicBezTo>
                      <a:pt x="4366" y="2827"/>
                      <a:pt x="4393" y="2852"/>
                      <a:pt x="4398" y="2856"/>
                    </a:cubicBezTo>
                    <a:cubicBezTo>
                      <a:pt x="4441" y="2887"/>
                      <a:pt x="4492" y="2915"/>
                      <a:pt x="4519" y="2961"/>
                    </a:cubicBezTo>
                    <a:cubicBezTo>
                      <a:pt x="4563" y="3035"/>
                      <a:pt x="4608" y="3108"/>
                      <a:pt x="4651" y="3182"/>
                    </a:cubicBezTo>
                    <a:cubicBezTo>
                      <a:pt x="4660" y="3198"/>
                      <a:pt x="4686" y="3269"/>
                      <a:pt x="4700" y="3275"/>
                    </a:cubicBezTo>
                    <a:cubicBezTo>
                      <a:pt x="4707" y="3279"/>
                      <a:pt x="4689" y="3257"/>
                      <a:pt x="4698" y="3260"/>
                    </a:cubicBezTo>
                    <a:cubicBezTo>
                      <a:pt x="4701" y="3260"/>
                      <a:pt x="4703" y="3271"/>
                      <a:pt x="4708" y="3264"/>
                    </a:cubicBezTo>
                    <a:cubicBezTo>
                      <a:pt x="4710" y="3262"/>
                      <a:pt x="4708" y="3259"/>
                      <a:pt x="4710" y="3257"/>
                    </a:cubicBezTo>
                    <a:cubicBezTo>
                      <a:pt x="4716" y="3252"/>
                      <a:pt x="4730" y="3256"/>
                      <a:pt x="4734" y="3246"/>
                    </a:cubicBezTo>
                    <a:cubicBezTo>
                      <a:pt x="4737" y="3239"/>
                      <a:pt x="4727" y="3219"/>
                      <a:pt x="4731" y="3216"/>
                    </a:cubicBezTo>
                    <a:cubicBezTo>
                      <a:pt x="4749" y="3213"/>
                      <a:pt x="4749" y="3213"/>
                      <a:pt x="4749" y="3213"/>
                    </a:cubicBezTo>
                    <a:cubicBezTo>
                      <a:pt x="4752" y="3210"/>
                      <a:pt x="4748" y="3201"/>
                      <a:pt x="4753" y="3200"/>
                    </a:cubicBezTo>
                    <a:cubicBezTo>
                      <a:pt x="4762" y="3199"/>
                      <a:pt x="4765" y="3205"/>
                      <a:pt x="4772" y="3202"/>
                    </a:cubicBezTo>
                    <a:cubicBezTo>
                      <a:pt x="4776" y="3201"/>
                      <a:pt x="4773" y="3210"/>
                      <a:pt x="4775" y="3213"/>
                    </a:cubicBezTo>
                    <a:cubicBezTo>
                      <a:pt x="4779" y="3219"/>
                      <a:pt x="4798" y="3215"/>
                      <a:pt x="4798" y="3218"/>
                    </a:cubicBezTo>
                    <a:cubicBezTo>
                      <a:pt x="4797" y="3222"/>
                      <a:pt x="4785" y="3246"/>
                      <a:pt x="4787" y="3249"/>
                    </a:cubicBezTo>
                    <a:cubicBezTo>
                      <a:pt x="4789" y="3251"/>
                      <a:pt x="4793" y="3249"/>
                      <a:pt x="4796" y="3249"/>
                    </a:cubicBezTo>
                    <a:cubicBezTo>
                      <a:pt x="4802" y="3248"/>
                      <a:pt x="4807" y="3248"/>
                      <a:pt x="4813" y="3247"/>
                    </a:cubicBezTo>
                    <a:cubicBezTo>
                      <a:pt x="4815" y="3247"/>
                      <a:pt x="4817" y="3245"/>
                      <a:pt x="4818" y="3246"/>
                    </a:cubicBezTo>
                    <a:cubicBezTo>
                      <a:pt x="4833" y="3260"/>
                      <a:pt x="4809" y="3277"/>
                      <a:pt x="4835" y="3277"/>
                    </a:cubicBezTo>
                    <a:cubicBezTo>
                      <a:pt x="4843" y="3277"/>
                      <a:pt x="4844" y="3273"/>
                      <a:pt x="4850" y="3271"/>
                    </a:cubicBezTo>
                    <a:cubicBezTo>
                      <a:pt x="4860" y="3266"/>
                      <a:pt x="4872" y="3277"/>
                      <a:pt x="4879" y="3279"/>
                    </a:cubicBezTo>
                    <a:cubicBezTo>
                      <a:pt x="4883" y="3281"/>
                      <a:pt x="4888" y="3280"/>
                      <a:pt x="4892" y="3278"/>
                    </a:cubicBezTo>
                    <a:lnTo>
                      <a:pt x="4892" y="447"/>
                    </a:lnTo>
                    <a:close/>
                    <a:moveTo>
                      <a:pt x="4328" y="369"/>
                    </a:moveTo>
                    <a:cubicBezTo>
                      <a:pt x="4324" y="370"/>
                      <a:pt x="4306" y="373"/>
                      <a:pt x="4307" y="365"/>
                    </a:cubicBezTo>
                    <a:cubicBezTo>
                      <a:pt x="4308" y="364"/>
                      <a:pt x="4308" y="364"/>
                      <a:pt x="4308" y="364"/>
                    </a:cubicBezTo>
                    <a:cubicBezTo>
                      <a:pt x="4318" y="352"/>
                      <a:pt x="4334" y="367"/>
                      <a:pt x="4328" y="369"/>
                    </a:cubicBezTo>
                    <a:close/>
                    <a:moveTo>
                      <a:pt x="4030" y="694"/>
                    </a:moveTo>
                    <a:cubicBezTo>
                      <a:pt x="4026" y="702"/>
                      <a:pt x="4002" y="691"/>
                      <a:pt x="4006" y="689"/>
                    </a:cubicBezTo>
                    <a:cubicBezTo>
                      <a:pt x="4005" y="689"/>
                      <a:pt x="4005" y="689"/>
                      <a:pt x="4005" y="689"/>
                    </a:cubicBezTo>
                    <a:cubicBezTo>
                      <a:pt x="4008" y="689"/>
                      <a:pt x="4034" y="683"/>
                      <a:pt x="4030" y="694"/>
                    </a:cubicBezTo>
                    <a:close/>
                    <a:moveTo>
                      <a:pt x="3989" y="610"/>
                    </a:moveTo>
                    <a:cubicBezTo>
                      <a:pt x="3988" y="610"/>
                      <a:pt x="3988" y="610"/>
                      <a:pt x="3988" y="610"/>
                    </a:cubicBezTo>
                    <a:cubicBezTo>
                      <a:pt x="3992" y="608"/>
                      <a:pt x="3995" y="607"/>
                      <a:pt x="3998" y="603"/>
                    </a:cubicBezTo>
                    <a:cubicBezTo>
                      <a:pt x="4004" y="594"/>
                      <a:pt x="4009" y="610"/>
                      <a:pt x="4003" y="615"/>
                    </a:cubicBezTo>
                    <a:cubicBezTo>
                      <a:pt x="3999" y="618"/>
                      <a:pt x="3982" y="614"/>
                      <a:pt x="3989" y="610"/>
                    </a:cubicBezTo>
                    <a:close/>
                    <a:moveTo>
                      <a:pt x="3931" y="825"/>
                    </a:moveTo>
                    <a:cubicBezTo>
                      <a:pt x="3929" y="825"/>
                      <a:pt x="3913" y="830"/>
                      <a:pt x="3913" y="826"/>
                    </a:cubicBezTo>
                    <a:cubicBezTo>
                      <a:pt x="3912" y="822"/>
                      <a:pt x="3924" y="820"/>
                      <a:pt x="3925" y="814"/>
                    </a:cubicBezTo>
                    <a:cubicBezTo>
                      <a:pt x="3925" y="815"/>
                      <a:pt x="3925" y="815"/>
                      <a:pt x="3924" y="815"/>
                    </a:cubicBezTo>
                    <a:cubicBezTo>
                      <a:pt x="3926" y="814"/>
                      <a:pt x="3926" y="814"/>
                      <a:pt x="3926" y="814"/>
                    </a:cubicBezTo>
                    <a:cubicBezTo>
                      <a:pt x="3926" y="814"/>
                      <a:pt x="3925" y="814"/>
                      <a:pt x="3925" y="814"/>
                    </a:cubicBezTo>
                    <a:cubicBezTo>
                      <a:pt x="3956" y="790"/>
                      <a:pt x="3985" y="813"/>
                      <a:pt x="3931" y="825"/>
                    </a:cubicBezTo>
                    <a:close/>
                    <a:moveTo>
                      <a:pt x="3911" y="530"/>
                    </a:moveTo>
                    <a:cubicBezTo>
                      <a:pt x="3911" y="530"/>
                      <a:pt x="3911" y="530"/>
                      <a:pt x="3911" y="530"/>
                    </a:cubicBezTo>
                    <a:cubicBezTo>
                      <a:pt x="3915" y="526"/>
                      <a:pt x="3936" y="524"/>
                      <a:pt x="3932" y="533"/>
                    </a:cubicBezTo>
                    <a:cubicBezTo>
                      <a:pt x="3928" y="539"/>
                      <a:pt x="3910" y="534"/>
                      <a:pt x="3911" y="530"/>
                    </a:cubicBezTo>
                    <a:cubicBezTo>
                      <a:pt x="3911" y="530"/>
                      <a:pt x="3911" y="530"/>
                      <a:pt x="3911" y="530"/>
                    </a:cubicBezTo>
                    <a:close/>
                    <a:moveTo>
                      <a:pt x="3925" y="805"/>
                    </a:moveTo>
                    <a:cubicBezTo>
                      <a:pt x="3925" y="806"/>
                      <a:pt x="3925" y="806"/>
                      <a:pt x="3925" y="806"/>
                    </a:cubicBezTo>
                    <a:cubicBezTo>
                      <a:pt x="3925" y="811"/>
                      <a:pt x="3883" y="810"/>
                      <a:pt x="3883" y="797"/>
                    </a:cubicBezTo>
                    <a:cubicBezTo>
                      <a:pt x="3882" y="783"/>
                      <a:pt x="3920" y="796"/>
                      <a:pt x="3925" y="805"/>
                    </a:cubicBezTo>
                    <a:close/>
                    <a:moveTo>
                      <a:pt x="3897" y="528"/>
                    </a:moveTo>
                    <a:cubicBezTo>
                      <a:pt x="3894" y="536"/>
                      <a:pt x="3871" y="532"/>
                      <a:pt x="3872" y="529"/>
                    </a:cubicBezTo>
                    <a:cubicBezTo>
                      <a:pt x="3872" y="529"/>
                      <a:pt x="3872" y="529"/>
                      <a:pt x="3872" y="529"/>
                    </a:cubicBezTo>
                    <a:cubicBezTo>
                      <a:pt x="3872" y="529"/>
                      <a:pt x="3872" y="529"/>
                      <a:pt x="3872" y="529"/>
                    </a:cubicBezTo>
                    <a:cubicBezTo>
                      <a:pt x="3872" y="529"/>
                      <a:pt x="3872" y="529"/>
                      <a:pt x="3872" y="529"/>
                    </a:cubicBezTo>
                    <a:cubicBezTo>
                      <a:pt x="3875" y="526"/>
                      <a:pt x="3882" y="511"/>
                      <a:pt x="3891" y="523"/>
                    </a:cubicBezTo>
                    <a:cubicBezTo>
                      <a:pt x="3892" y="524"/>
                      <a:pt x="3898" y="527"/>
                      <a:pt x="3897" y="528"/>
                    </a:cubicBezTo>
                    <a:close/>
                    <a:moveTo>
                      <a:pt x="3886" y="476"/>
                    </a:moveTo>
                    <a:cubicBezTo>
                      <a:pt x="3885" y="479"/>
                      <a:pt x="3880" y="479"/>
                      <a:pt x="3879" y="481"/>
                    </a:cubicBezTo>
                    <a:cubicBezTo>
                      <a:pt x="3879" y="482"/>
                      <a:pt x="3893" y="486"/>
                      <a:pt x="3895" y="489"/>
                    </a:cubicBezTo>
                    <a:cubicBezTo>
                      <a:pt x="3895" y="490"/>
                      <a:pt x="3895" y="490"/>
                      <a:pt x="3895" y="490"/>
                    </a:cubicBezTo>
                    <a:cubicBezTo>
                      <a:pt x="3898" y="504"/>
                      <a:pt x="3861" y="491"/>
                      <a:pt x="3862" y="481"/>
                    </a:cubicBezTo>
                    <a:cubicBezTo>
                      <a:pt x="3862" y="480"/>
                      <a:pt x="3895" y="453"/>
                      <a:pt x="3886" y="476"/>
                    </a:cubicBezTo>
                    <a:close/>
                    <a:moveTo>
                      <a:pt x="3849" y="478"/>
                    </a:moveTo>
                    <a:cubicBezTo>
                      <a:pt x="3850" y="492"/>
                      <a:pt x="3815" y="493"/>
                      <a:pt x="3811" y="479"/>
                    </a:cubicBezTo>
                    <a:cubicBezTo>
                      <a:pt x="3811" y="479"/>
                      <a:pt x="3811" y="479"/>
                      <a:pt x="3811" y="479"/>
                    </a:cubicBezTo>
                    <a:cubicBezTo>
                      <a:pt x="3813" y="459"/>
                      <a:pt x="3848" y="467"/>
                      <a:pt x="3849" y="478"/>
                    </a:cubicBezTo>
                    <a:close/>
                    <a:moveTo>
                      <a:pt x="3828" y="540"/>
                    </a:moveTo>
                    <a:cubicBezTo>
                      <a:pt x="3825" y="549"/>
                      <a:pt x="3802" y="545"/>
                      <a:pt x="3803" y="535"/>
                    </a:cubicBezTo>
                    <a:cubicBezTo>
                      <a:pt x="3801" y="523"/>
                      <a:pt x="3832" y="530"/>
                      <a:pt x="3828" y="540"/>
                    </a:cubicBezTo>
                    <a:close/>
                    <a:moveTo>
                      <a:pt x="3719" y="573"/>
                    </a:moveTo>
                    <a:cubicBezTo>
                      <a:pt x="3706" y="572"/>
                      <a:pt x="3691" y="558"/>
                      <a:pt x="3711" y="558"/>
                    </a:cubicBezTo>
                    <a:cubicBezTo>
                      <a:pt x="3713" y="558"/>
                      <a:pt x="3713" y="558"/>
                      <a:pt x="3713" y="558"/>
                    </a:cubicBezTo>
                    <a:cubicBezTo>
                      <a:pt x="3731" y="564"/>
                      <a:pt x="3751" y="578"/>
                      <a:pt x="3719" y="573"/>
                    </a:cubicBezTo>
                    <a:close/>
                    <a:moveTo>
                      <a:pt x="693" y="802"/>
                    </a:moveTo>
                    <a:cubicBezTo>
                      <a:pt x="697" y="798"/>
                      <a:pt x="697" y="809"/>
                      <a:pt x="702" y="800"/>
                    </a:cubicBezTo>
                    <a:cubicBezTo>
                      <a:pt x="704" y="797"/>
                      <a:pt x="698" y="794"/>
                      <a:pt x="700" y="791"/>
                    </a:cubicBezTo>
                    <a:cubicBezTo>
                      <a:pt x="703" y="788"/>
                      <a:pt x="707" y="795"/>
                      <a:pt x="707" y="797"/>
                    </a:cubicBezTo>
                    <a:cubicBezTo>
                      <a:pt x="707" y="796"/>
                      <a:pt x="707" y="796"/>
                      <a:pt x="707" y="796"/>
                    </a:cubicBezTo>
                    <a:cubicBezTo>
                      <a:pt x="709" y="807"/>
                      <a:pt x="699" y="806"/>
                      <a:pt x="699" y="810"/>
                    </a:cubicBezTo>
                    <a:cubicBezTo>
                      <a:pt x="699" y="813"/>
                      <a:pt x="707" y="821"/>
                      <a:pt x="706" y="828"/>
                    </a:cubicBezTo>
                    <a:cubicBezTo>
                      <a:pt x="706" y="833"/>
                      <a:pt x="696" y="833"/>
                      <a:pt x="693" y="837"/>
                    </a:cubicBezTo>
                    <a:cubicBezTo>
                      <a:pt x="690" y="841"/>
                      <a:pt x="694" y="846"/>
                      <a:pt x="690" y="852"/>
                    </a:cubicBezTo>
                    <a:cubicBezTo>
                      <a:pt x="689" y="854"/>
                      <a:pt x="688" y="854"/>
                      <a:pt x="685" y="853"/>
                    </a:cubicBezTo>
                    <a:cubicBezTo>
                      <a:pt x="667" y="842"/>
                      <a:pt x="696" y="827"/>
                      <a:pt x="697" y="820"/>
                    </a:cubicBezTo>
                    <a:cubicBezTo>
                      <a:pt x="697" y="817"/>
                      <a:pt x="678" y="816"/>
                      <a:pt x="693" y="802"/>
                    </a:cubicBezTo>
                    <a:close/>
                    <a:moveTo>
                      <a:pt x="611" y="826"/>
                    </a:moveTo>
                    <a:cubicBezTo>
                      <a:pt x="616" y="827"/>
                      <a:pt x="618" y="819"/>
                      <a:pt x="622" y="826"/>
                    </a:cubicBezTo>
                    <a:cubicBezTo>
                      <a:pt x="622" y="826"/>
                      <a:pt x="622" y="826"/>
                      <a:pt x="622" y="826"/>
                    </a:cubicBezTo>
                    <a:cubicBezTo>
                      <a:pt x="625" y="843"/>
                      <a:pt x="631" y="842"/>
                      <a:pt x="639" y="856"/>
                    </a:cubicBezTo>
                    <a:cubicBezTo>
                      <a:pt x="651" y="877"/>
                      <a:pt x="625" y="887"/>
                      <a:pt x="617" y="877"/>
                    </a:cubicBezTo>
                    <a:cubicBezTo>
                      <a:pt x="616" y="875"/>
                      <a:pt x="620" y="860"/>
                      <a:pt x="621" y="856"/>
                    </a:cubicBezTo>
                    <a:cubicBezTo>
                      <a:pt x="621" y="850"/>
                      <a:pt x="609" y="843"/>
                      <a:pt x="610" y="843"/>
                    </a:cubicBezTo>
                    <a:cubicBezTo>
                      <a:pt x="612" y="844"/>
                      <a:pt x="614" y="846"/>
                      <a:pt x="615" y="844"/>
                    </a:cubicBezTo>
                    <a:cubicBezTo>
                      <a:pt x="619" y="837"/>
                      <a:pt x="600" y="821"/>
                      <a:pt x="611" y="826"/>
                    </a:cubicBezTo>
                    <a:close/>
                    <a:moveTo>
                      <a:pt x="619" y="1469"/>
                    </a:moveTo>
                    <a:cubicBezTo>
                      <a:pt x="620" y="1466"/>
                      <a:pt x="618" y="1462"/>
                      <a:pt x="620" y="1460"/>
                    </a:cubicBezTo>
                    <a:cubicBezTo>
                      <a:pt x="621" y="1457"/>
                      <a:pt x="626" y="1458"/>
                      <a:pt x="628" y="1456"/>
                    </a:cubicBezTo>
                    <a:cubicBezTo>
                      <a:pt x="631" y="1452"/>
                      <a:pt x="622" y="1440"/>
                      <a:pt x="622" y="1440"/>
                    </a:cubicBezTo>
                    <a:cubicBezTo>
                      <a:pt x="624" y="1438"/>
                      <a:pt x="629" y="1447"/>
                      <a:pt x="631" y="1445"/>
                    </a:cubicBezTo>
                    <a:cubicBezTo>
                      <a:pt x="635" y="1442"/>
                      <a:pt x="618" y="1433"/>
                      <a:pt x="633" y="1437"/>
                    </a:cubicBezTo>
                    <a:cubicBezTo>
                      <a:pt x="634" y="1437"/>
                      <a:pt x="635" y="1437"/>
                      <a:pt x="637" y="1437"/>
                    </a:cubicBezTo>
                    <a:cubicBezTo>
                      <a:pt x="637" y="1437"/>
                      <a:pt x="637" y="1437"/>
                      <a:pt x="637" y="1437"/>
                    </a:cubicBezTo>
                    <a:cubicBezTo>
                      <a:pt x="637" y="1438"/>
                      <a:pt x="637" y="1438"/>
                      <a:pt x="637" y="1438"/>
                    </a:cubicBezTo>
                    <a:cubicBezTo>
                      <a:pt x="637" y="1438"/>
                      <a:pt x="637" y="1438"/>
                      <a:pt x="637" y="1437"/>
                    </a:cubicBezTo>
                    <a:cubicBezTo>
                      <a:pt x="638" y="1439"/>
                      <a:pt x="645" y="1447"/>
                      <a:pt x="645" y="1447"/>
                    </a:cubicBezTo>
                    <a:cubicBezTo>
                      <a:pt x="647" y="1448"/>
                      <a:pt x="658" y="1441"/>
                      <a:pt x="659" y="1441"/>
                    </a:cubicBezTo>
                    <a:cubicBezTo>
                      <a:pt x="660" y="1443"/>
                      <a:pt x="658" y="1445"/>
                      <a:pt x="658" y="1446"/>
                    </a:cubicBezTo>
                    <a:cubicBezTo>
                      <a:pt x="658" y="1448"/>
                      <a:pt x="659" y="1450"/>
                      <a:pt x="658" y="1451"/>
                    </a:cubicBezTo>
                    <a:cubicBezTo>
                      <a:pt x="656" y="1452"/>
                      <a:pt x="654" y="1450"/>
                      <a:pt x="652" y="1451"/>
                    </a:cubicBezTo>
                    <a:cubicBezTo>
                      <a:pt x="646" y="1455"/>
                      <a:pt x="658" y="1454"/>
                      <a:pt x="659" y="1455"/>
                    </a:cubicBezTo>
                    <a:cubicBezTo>
                      <a:pt x="661" y="1455"/>
                      <a:pt x="662" y="1455"/>
                      <a:pt x="663" y="1455"/>
                    </a:cubicBezTo>
                    <a:cubicBezTo>
                      <a:pt x="664" y="1455"/>
                      <a:pt x="665" y="1455"/>
                      <a:pt x="666" y="1455"/>
                    </a:cubicBezTo>
                    <a:cubicBezTo>
                      <a:pt x="668" y="1454"/>
                      <a:pt x="669" y="1452"/>
                      <a:pt x="671" y="1452"/>
                    </a:cubicBezTo>
                    <a:cubicBezTo>
                      <a:pt x="674" y="1452"/>
                      <a:pt x="673" y="1457"/>
                      <a:pt x="674" y="1459"/>
                    </a:cubicBezTo>
                    <a:cubicBezTo>
                      <a:pt x="676" y="1463"/>
                      <a:pt x="688" y="1484"/>
                      <a:pt x="687" y="1485"/>
                    </a:cubicBezTo>
                    <a:cubicBezTo>
                      <a:pt x="687" y="1487"/>
                      <a:pt x="683" y="1481"/>
                      <a:pt x="682" y="1482"/>
                    </a:cubicBezTo>
                    <a:cubicBezTo>
                      <a:pt x="681" y="1484"/>
                      <a:pt x="683" y="1485"/>
                      <a:pt x="683" y="1487"/>
                    </a:cubicBezTo>
                    <a:cubicBezTo>
                      <a:pt x="683" y="1488"/>
                      <a:pt x="683" y="1490"/>
                      <a:pt x="684" y="1491"/>
                    </a:cubicBezTo>
                    <a:cubicBezTo>
                      <a:pt x="687" y="1493"/>
                      <a:pt x="697" y="1494"/>
                      <a:pt x="701" y="1495"/>
                    </a:cubicBezTo>
                    <a:cubicBezTo>
                      <a:pt x="703" y="1495"/>
                      <a:pt x="705" y="1497"/>
                      <a:pt x="707" y="1496"/>
                    </a:cubicBezTo>
                    <a:cubicBezTo>
                      <a:pt x="708" y="1495"/>
                      <a:pt x="707" y="1492"/>
                      <a:pt x="708" y="1491"/>
                    </a:cubicBezTo>
                    <a:cubicBezTo>
                      <a:pt x="709" y="1490"/>
                      <a:pt x="711" y="1491"/>
                      <a:pt x="712" y="1491"/>
                    </a:cubicBezTo>
                    <a:cubicBezTo>
                      <a:pt x="713" y="1491"/>
                      <a:pt x="714" y="1491"/>
                      <a:pt x="715" y="1491"/>
                    </a:cubicBezTo>
                    <a:cubicBezTo>
                      <a:pt x="716" y="1491"/>
                      <a:pt x="718" y="1491"/>
                      <a:pt x="719" y="1491"/>
                    </a:cubicBezTo>
                    <a:cubicBezTo>
                      <a:pt x="720" y="1491"/>
                      <a:pt x="721" y="1490"/>
                      <a:pt x="722" y="1491"/>
                    </a:cubicBezTo>
                    <a:cubicBezTo>
                      <a:pt x="725" y="1492"/>
                      <a:pt x="726" y="1496"/>
                      <a:pt x="727" y="1498"/>
                    </a:cubicBezTo>
                    <a:cubicBezTo>
                      <a:pt x="729" y="1500"/>
                      <a:pt x="734" y="1502"/>
                      <a:pt x="733" y="1505"/>
                    </a:cubicBezTo>
                    <a:cubicBezTo>
                      <a:pt x="733" y="1506"/>
                      <a:pt x="721" y="1507"/>
                      <a:pt x="717" y="1507"/>
                    </a:cubicBezTo>
                    <a:cubicBezTo>
                      <a:pt x="712" y="1508"/>
                      <a:pt x="705" y="1508"/>
                      <a:pt x="701" y="1509"/>
                    </a:cubicBezTo>
                    <a:cubicBezTo>
                      <a:pt x="699" y="1510"/>
                      <a:pt x="698" y="1512"/>
                      <a:pt x="696" y="1512"/>
                    </a:cubicBezTo>
                    <a:cubicBezTo>
                      <a:pt x="693" y="1512"/>
                      <a:pt x="676" y="1489"/>
                      <a:pt x="672" y="1493"/>
                    </a:cubicBezTo>
                    <a:cubicBezTo>
                      <a:pt x="670" y="1495"/>
                      <a:pt x="673" y="1506"/>
                      <a:pt x="673" y="1508"/>
                    </a:cubicBezTo>
                    <a:cubicBezTo>
                      <a:pt x="674" y="1511"/>
                      <a:pt x="673" y="1514"/>
                      <a:pt x="675" y="1517"/>
                    </a:cubicBezTo>
                    <a:cubicBezTo>
                      <a:pt x="676" y="1519"/>
                      <a:pt x="680" y="1518"/>
                      <a:pt x="680" y="1520"/>
                    </a:cubicBezTo>
                    <a:cubicBezTo>
                      <a:pt x="680" y="1520"/>
                      <a:pt x="679" y="1528"/>
                      <a:pt x="679" y="1528"/>
                    </a:cubicBezTo>
                    <a:cubicBezTo>
                      <a:pt x="680" y="1533"/>
                      <a:pt x="687" y="1536"/>
                      <a:pt x="687" y="1541"/>
                    </a:cubicBezTo>
                    <a:cubicBezTo>
                      <a:pt x="688" y="1546"/>
                      <a:pt x="684" y="1552"/>
                      <a:pt x="683" y="1557"/>
                    </a:cubicBezTo>
                    <a:cubicBezTo>
                      <a:pt x="683" y="1558"/>
                      <a:pt x="683" y="1559"/>
                      <a:pt x="683" y="1561"/>
                    </a:cubicBezTo>
                    <a:cubicBezTo>
                      <a:pt x="683" y="1562"/>
                      <a:pt x="683" y="1563"/>
                      <a:pt x="683" y="1564"/>
                    </a:cubicBezTo>
                    <a:cubicBezTo>
                      <a:pt x="683" y="1566"/>
                      <a:pt x="683" y="1567"/>
                      <a:pt x="683" y="1568"/>
                    </a:cubicBezTo>
                    <a:cubicBezTo>
                      <a:pt x="683" y="1569"/>
                      <a:pt x="683" y="1570"/>
                      <a:pt x="683" y="1572"/>
                    </a:cubicBezTo>
                    <a:cubicBezTo>
                      <a:pt x="682" y="1574"/>
                      <a:pt x="679" y="1577"/>
                      <a:pt x="677" y="1579"/>
                    </a:cubicBezTo>
                    <a:cubicBezTo>
                      <a:pt x="676" y="1579"/>
                      <a:pt x="676" y="1581"/>
                      <a:pt x="675" y="1581"/>
                    </a:cubicBezTo>
                    <a:cubicBezTo>
                      <a:pt x="672" y="1580"/>
                      <a:pt x="677" y="1577"/>
                      <a:pt x="678" y="1573"/>
                    </a:cubicBezTo>
                    <a:cubicBezTo>
                      <a:pt x="679" y="1569"/>
                      <a:pt x="672" y="1559"/>
                      <a:pt x="676" y="1556"/>
                    </a:cubicBezTo>
                    <a:cubicBezTo>
                      <a:pt x="676" y="1556"/>
                      <a:pt x="680" y="1561"/>
                      <a:pt x="680" y="1561"/>
                    </a:cubicBezTo>
                    <a:cubicBezTo>
                      <a:pt x="681" y="1560"/>
                      <a:pt x="681" y="1558"/>
                      <a:pt x="681" y="1557"/>
                    </a:cubicBezTo>
                    <a:cubicBezTo>
                      <a:pt x="682" y="1556"/>
                      <a:pt x="683" y="1554"/>
                      <a:pt x="682" y="1553"/>
                    </a:cubicBezTo>
                    <a:cubicBezTo>
                      <a:pt x="682" y="1547"/>
                      <a:pt x="675" y="1541"/>
                      <a:pt x="673" y="1535"/>
                    </a:cubicBezTo>
                    <a:cubicBezTo>
                      <a:pt x="673" y="1532"/>
                      <a:pt x="675" y="1528"/>
                      <a:pt x="675" y="1525"/>
                    </a:cubicBezTo>
                    <a:cubicBezTo>
                      <a:pt x="674" y="1521"/>
                      <a:pt x="668" y="1516"/>
                      <a:pt x="668" y="1512"/>
                    </a:cubicBezTo>
                    <a:cubicBezTo>
                      <a:pt x="668" y="1510"/>
                      <a:pt x="671" y="1508"/>
                      <a:pt x="670" y="1506"/>
                    </a:cubicBezTo>
                    <a:cubicBezTo>
                      <a:pt x="669" y="1503"/>
                      <a:pt x="643" y="1492"/>
                      <a:pt x="643" y="1489"/>
                    </a:cubicBezTo>
                    <a:cubicBezTo>
                      <a:pt x="642" y="1487"/>
                      <a:pt x="648" y="1486"/>
                      <a:pt x="648" y="1484"/>
                    </a:cubicBezTo>
                    <a:cubicBezTo>
                      <a:pt x="648" y="1471"/>
                      <a:pt x="642" y="1492"/>
                      <a:pt x="639" y="1479"/>
                    </a:cubicBezTo>
                    <a:cubicBezTo>
                      <a:pt x="639" y="1479"/>
                      <a:pt x="641" y="1469"/>
                      <a:pt x="641" y="1469"/>
                    </a:cubicBezTo>
                    <a:cubicBezTo>
                      <a:pt x="641" y="1468"/>
                      <a:pt x="639" y="1467"/>
                      <a:pt x="638" y="1466"/>
                    </a:cubicBezTo>
                    <a:cubicBezTo>
                      <a:pt x="637" y="1465"/>
                      <a:pt x="632" y="1460"/>
                      <a:pt x="630" y="1459"/>
                    </a:cubicBezTo>
                    <a:cubicBezTo>
                      <a:pt x="629" y="1459"/>
                      <a:pt x="628" y="1460"/>
                      <a:pt x="626" y="1460"/>
                    </a:cubicBezTo>
                    <a:cubicBezTo>
                      <a:pt x="616" y="1463"/>
                      <a:pt x="627" y="1470"/>
                      <a:pt x="623" y="1475"/>
                    </a:cubicBezTo>
                    <a:cubicBezTo>
                      <a:pt x="622" y="1476"/>
                      <a:pt x="621" y="1476"/>
                      <a:pt x="619" y="1476"/>
                    </a:cubicBezTo>
                    <a:cubicBezTo>
                      <a:pt x="618" y="1477"/>
                      <a:pt x="617" y="1479"/>
                      <a:pt x="616" y="1477"/>
                    </a:cubicBezTo>
                    <a:cubicBezTo>
                      <a:pt x="614" y="1475"/>
                      <a:pt x="618" y="1472"/>
                      <a:pt x="619" y="1469"/>
                    </a:cubicBezTo>
                    <a:close/>
                    <a:moveTo>
                      <a:pt x="538" y="1154"/>
                    </a:moveTo>
                    <a:cubicBezTo>
                      <a:pt x="541" y="1154"/>
                      <a:pt x="532" y="1151"/>
                      <a:pt x="538" y="1149"/>
                    </a:cubicBezTo>
                    <a:cubicBezTo>
                      <a:pt x="540" y="1148"/>
                      <a:pt x="541" y="1148"/>
                      <a:pt x="543" y="1147"/>
                    </a:cubicBezTo>
                    <a:cubicBezTo>
                      <a:pt x="543" y="1147"/>
                      <a:pt x="543" y="1147"/>
                      <a:pt x="543" y="1147"/>
                    </a:cubicBezTo>
                    <a:cubicBezTo>
                      <a:pt x="544" y="1147"/>
                      <a:pt x="544" y="1147"/>
                      <a:pt x="544" y="1147"/>
                    </a:cubicBezTo>
                    <a:cubicBezTo>
                      <a:pt x="543" y="1147"/>
                      <a:pt x="543" y="1147"/>
                      <a:pt x="543" y="1147"/>
                    </a:cubicBezTo>
                    <a:cubicBezTo>
                      <a:pt x="549" y="1146"/>
                      <a:pt x="585" y="1142"/>
                      <a:pt x="584" y="1148"/>
                    </a:cubicBezTo>
                    <a:cubicBezTo>
                      <a:pt x="583" y="1149"/>
                      <a:pt x="543" y="1154"/>
                      <a:pt x="538" y="1158"/>
                    </a:cubicBezTo>
                    <a:cubicBezTo>
                      <a:pt x="537" y="1159"/>
                      <a:pt x="519" y="1166"/>
                      <a:pt x="518" y="1166"/>
                    </a:cubicBezTo>
                    <a:cubicBezTo>
                      <a:pt x="503" y="1165"/>
                      <a:pt x="535" y="1155"/>
                      <a:pt x="538" y="1154"/>
                    </a:cubicBezTo>
                    <a:close/>
                    <a:moveTo>
                      <a:pt x="547" y="1464"/>
                    </a:moveTo>
                    <a:cubicBezTo>
                      <a:pt x="546" y="1467"/>
                      <a:pt x="545" y="1463"/>
                      <a:pt x="544" y="1468"/>
                    </a:cubicBezTo>
                    <a:cubicBezTo>
                      <a:pt x="544" y="1469"/>
                      <a:pt x="544" y="1469"/>
                      <a:pt x="544" y="1469"/>
                    </a:cubicBezTo>
                    <a:cubicBezTo>
                      <a:pt x="543" y="1469"/>
                      <a:pt x="535" y="1459"/>
                      <a:pt x="532" y="1455"/>
                    </a:cubicBezTo>
                    <a:cubicBezTo>
                      <a:pt x="531" y="1454"/>
                      <a:pt x="531" y="1452"/>
                      <a:pt x="530" y="1450"/>
                    </a:cubicBezTo>
                    <a:cubicBezTo>
                      <a:pt x="527" y="1448"/>
                      <a:pt x="520" y="1455"/>
                      <a:pt x="518" y="1450"/>
                    </a:cubicBezTo>
                    <a:cubicBezTo>
                      <a:pt x="517" y="1447"/>
                      <a:pt x="525" y="1451"/>
                      <a:pt x="523" y="1446"/>
                    </a:cubicBezTo>
                    <a:cubicBezTo>
                      <a:pt x="522" y="1443"/>
                      <a:pt x="512" y="1439"/>
                      <a:pt x="512" y="1437"/>
                    </a:cubicBezTo>
                    <a:cubicBezTo>
                      <a:pt x="512" y="1430"/>
                      <a:pt x="520" y="1439"/>
                      <a:pt x="523" y="1439"/>
                    </a:cubicBezTo>
                    <a:cubicBezTo>
                      <a:pt x="526" y="1439"/>
                      <a:pt x="529" y="1430"/>
                      <a:pt x="532" y="1436"/>
                    </a:cubicBezTo>
                    <a:cubicBezTo>
                      <a:pt x="532" y="1436"/>
                      <a:pt x="532" y="1436"/>
                      <a:pt x="532" y="1436"/>
                    </a:cubicBezTo>
                    <a:cubicBezTo>
                      <a:pt x="533" y="1437"/>
                      <a:pt x="538" y="1439"/>
                      <a:pt x="537" y="1441"/>
                    </a:cubicBezTo>
                    <a:cubicBezTo>
                      <a:pt x="537" y="1442"/>
                      <a:pt x="535" y="1441"/>
                      <a:pt x="535" y="1442"/>
                    </a:cubicBezTo>
                    <a:cubicBezTo>
                      <a:pt x="535" y="1444"/>
                      <a:pt x="540" y="1452"/>
                      <a:pt x="541" y="1453"/>
                    </a:cubicBezTo>
                    <a:cubicBezTo>
                      <a:pt x="545" y="1455"/>
                      <a:pt x="549" y="1454"/>
                      <a:pt x="552" y="1456"/>
                    </a:cubicBezTo>
                    <a:cubicBezTo>
                      <a:pt x="553" y="1456"/>
                      <a:pt x="559" y="1459"/>
                      <a:pt x="558" y="1461"/>
                    </a:cubicBezTo>
                    <a:cubicBezTo>
                      <a:pt x="556" y="1462"/>
                      <a:pt x="552" y="1459"/>
                      <a:pt x="550" y="1459"/>
                    </a:cubicBezTo>
                    <a:cubicBezTo>
                      <a:pt x="545" y="1461"/>
                      <a:pt x="548" y="1462"/>
                      <a:pt x="547" y="1464"/>
                    </a:cubicBezTo>
                    <a:close/>
                    <a:moveTo>
                      <a:pt x="511" y="1187"/>
                    </a:moveTo>
                    <a:cubicBezTo>
                      <a:pt x="512" y="1187"/>
                      <a:pt x="512" y="1187"/>
                      <a:pt x="512" y="1187"/>
                    </a:cubicBezTo>
                    <a:cubicBezTo>
                      <a:pt x="512" y="1187"/>
                      <a:pt x="512" y="1187"/>
                      <a:pt x="511" y="1187"/>
                    </a:cubicBezTo>
                    <a:cubicBezTo>
                      <a:pt x="536" y="1191"/>
                      <a:pt x="520" y="1191"/>
                      <a:pt x="529" y="1196"/>
                    </a:cubicBezTo>
                    <a:cubicBezTo>
                      <a:pt x="531" y="1197"/>
                      <a:pt x="529" y="1198"/>
                      <a:pt x="527" y="1199"/>
                    </a:cubicBezTo>
                    <a:cubicBezTo>
                      <a:pt x="521" y="1201"/>
                      <a:pt x="512" y="1192"/>
                      <a:pt x="507" y="1191"/>
                    </a:cubicBezTo>
                    <a:cubicBezTo>
                      <a:pt x="497" y="1188"/>
                      <a:pt x="507" y="1187"/>
                      <a:pt x="511" y="1187"/>
                    </a:cubicBezTo>
                    <a:cubicBezTo>
                      <a:pt x="511" y="1187"/>
                      <a:pt x="511" y="1187"/>
                      <a:pt x="511" y="1187"/>
                    </a:cubicBezTo>
                    <a:close/>
                    <a:moveTo>
                      <a:pt x="474" y="1137"/>
                    </a:moveTo>
                    <a:cubicBezTo>
                      <a:pt x="476" y="1137"/>
                      <a:pt x="478" y="1137"/>
                      <a:pt x="479" y="1138"/>
                    </a:cubicBezTo>
                    <a:cubicBezTo>
                      <a:pt x="482" y="1138"/>
                      <a:pt x="485" y="1138"/>
                      <a:pt x="488" y="1137"/>
                    </a:cubicBezTo>
                    <a:cubicBezTo>
                      <a:pt x="491" y="1137"/>
                      <a:pt x="498" y="1138"/>
                      <a:pt x="496" y="1136"/>
                    </a:cubicBezTo>
                    <a:cubicBezTo>
                      <a:pt x="489" y="1130"/>
                      <a:pt x="481" y="1130"/>
                      <a:pt x="478" y="1127"/>
                    </a:cubicBezTo>
                    <a:cubicBezTo>
                      <a:pt x="472" y="1121"/>
                      <a:pt x="491" y="1110"/>
                      <a:pt x="487" y="1111"/>
                    </a:cubicBezTo>
                    <a:cubicBezTo>
                      <a:pt x="487" y="1111"/>
                      <a:pt x="480" y="1112"/>
                      <a:pt x="483" y="1110"/>
                    </a:cubicBezTo>
                    <a:cubicBezTo>
                      <a:pt x="486" y="1108"/>
                      <a:pt x="492" y="1108"/>
                      <a:pt x="496" y="1108"/>
                    </a:cubicBezTo>
                    <a:cubicBezTo>
                      <a:pt x="504" y="1110"/>
                      <a:pt x="485" y="1113"/>
                      <a:pt x="489" y="1119"/>
                    </a:cubicBezTo>
                    <a:cubicBezTo>
                      <a:pt x="491" y="1122"/>
                      <a:pt x="495" y="1118"/>
                      <a:pt x="498" y="1119"/>
                    </a:cubicBezTo>
                    <a:cubicBezTo>
                      <a:pt x="500" y="1120"/>
                      <a:pt x="489" y="1127"/>
                      <a:pt x="501" y="1125"/>
                    </a:cubicBezTo>
                    <a:cubicBezTo>
                      <a:pt x="503" y="1125"/>
                      <a:pt x="503" y="1125"/>
                      <a:pt x="503" y="1125"/>
                    </a:cubicBezTo>
                    <a:cubicBezTo>
                      <a:pt x="533" y="1129"/>
                      <a:pt x="487" y="1161"/>
                      <a:pt x="477" y="1152"/>
                    </a:cubicBezTo>
                    <a:cubicBezTo>
                      <a:pt x="471" y="1147"/>
                      <a:pt x="487" y="1147"/>
                      <a:pt x="481" y="1146"/>
                    </a:cubicBezTo>
                    <a:cubicBezTo>
                      <a:pt x="476" y="1145"/>
                      <a:pt x="473" y="1146"/>
                      <a:pt x="476" y="1142"/>
                    </a:cubicBezTo>
                    <a:cubicBezTo>
                      <a:pt x="478" y="1141"/>
                      <a:pt x="471" y="1139"/>
                      <a:pt x="474" y="1137"/>
                    </a:cubicBezTo>
                    <a:close/>
                    <a:moveTo>
                      <a:pt x="545" y="956"/>
                    </a:moveTo>
                    <a:cubicBezTo>
                      <a:pt x="540" y="955"/>
                      <a:pt x="524" y="951"/>
                      <a:pt x="521" y="949"/>
                    </a:cubicBezTo>
                    <a:cubicBezTo>
                      <a:pt x="519" y="948"/>
                      <a:pt x="527" y="945"/>
                      <a:pt x="528" y="945"/>
                    </a:cubicBezTo>
                    <a:cubicBezTo>
                      <a:pt x="537" y="941"/>
                      <a:pt x="534" y="941"/>
                      <a:pt x="529" y="933"/>
                    </a:cubicBezTo>
                    <a:cubicBezTo>
                      <a:pt x="528" y="931"/>
                      <a:pt x="523" y="929"/>
                      <a:pt x="523" y="928"/>
                    </a:cubicBezTo>
                    <a:cubicBezTo>
                      <a:pt x="522" y="925"/>
                      <a:pt x="530" y="931"/>
                      <a:pt x="533" y="932"/>
                    </a:cubicBezTo>
                    <a:cubicBezTo>
                      <a:pt x="533" y="932"/>
                      <a:pt x="533" y="932"/>
                      <a:pt x="533" y="932"/>
                    </a:cubicBezTo>
                    <a:cubicBezTo>
                      <a:pt x="539" y="940"/>
                      <a:pt x="576" y="962"/>
                      <a:pt x="545" y="956"/>
                    </a:cubicBezTo>
                    <a:close/>
                    <a:moveTo>
                      <a:pt x="480" y="864"/>
                    </a:moveTo>
                    <a:cubicBezTo>
                      <a:pt x="487" y="861"/>
                      <a:pt x="502" y="875"/>
                      <a:pt x="503" y="867"/>
                    </a:cubicBezTo>
                    <a:cubicBezTo>
                      <a:pt x="504" y="865"/>
                      <a:pt x="506" y="861"/>
                      <a:pt x="503" y="859"/>
                    </a:cubicBezTo>
                    <a:cubicBezTo>
                      <a:pt x="503" y="859"/>
                      <a:pt x="486" y="853"/>
                      <a:pt x="496" y="851"/>
                    </a:cubicBezTo>
                    <a:cubicBezTo>
                      <a:pt x="499" y="850"/>
                      <a:pt x="505" y="856"/>
                      <a:pt x="509" y="853"/>
                    </a:cubicBezTo>
                    <a:cubicBezTo>
                      <a:pt x="510" y="852"/>
                      <a:pt x="504" y="845"/>
                      <a:pt x="504" y="843"/>
                    </a:cubicBezTo>
                    <a:cubicBezTo>
                      <a:pt x="504" y="842"/>
                      <a:pt x="508" y="838"/>
                      <a:pt x="506" y="837"/>
                    </a:cubicBezTo>
                    <a:cubicBezTo>
                      <a:pt x="500" y="831"/>
                      <a:pt x="490" y="847"/>
                      <a:pt x="485" y="836"/>
                    </a:cubicBezTo>
                    <a:cubicBezTo>
                      <a:pt x="483" y="832"/>
                      <a:pt x="513" y="834"/>
                      <a:pt x="515" y="832"/>
                    </a:cubicBezTo>
                    <a:cubicBezTo>
                      <a:pt x="519" y="826"/>
                      <a:pt x="490" y="806"/>
                      <a:pt x="501" y="812"/>
                    </a:cubicBezTo>
                    <a:cubicBezTo>
                      <a:pt x="506" y="814"/>
                      <a:pt x="510" y="821"/>
                      <a:pt x="515" y="820"/>
                    </a:cubicBezTo>
                    <a:cubicBezTo>
                      <a:pt x="525" y="818"/>
                      <a:pt x="526" y="788"/>
                      <a:pt x="528" y="786"/>
                    </a:cubicBezTo>
                    <a:cubicBezTo>
                      <a:pt x="530" y="784"/>
                      <a:pt x="538" y="775"/>
                      <a:pt x="533" y="771"/>
                    </a:cubicBezTo>
                    <a:cubicBezTo>
                      <a:pt x="533" y="770"/>
                      <a:pt x="514" y="775"/>
                      <a:pt x="511" y="771"/>
                    </a:cubicBezTo>
                    <a:cubicBezTo>
                      <a:pt x="504" y="761"/>
                      <a:pt x="536" y="766"/>
                      <a:pt x="517" y="754"/>
                    </a:cubicBezTo>
                    <a:cubicBezTo>
                      <a:pt x="514" y="752"/>
                      <a:pt x="524" y="750"/>
                      <a:pt x="525" y="753"/>
                    </a:cubicBezTo>
                    <a:cubicBezTo>
                      <a:pt x="525" y="753"/>
                      <a:pt x="525" y="753"/>
                      <a:pt x="525" y="753"/>
                    </a:cubicBezTo>
                    <a:cubicBezTo>
                      <a:pt x="525" y="753"/>
                      <a:pt x="525" y="753"/>
                      <a:pt x="525" y="753"/>
                    </a:cubicBezTo>
                    <a:cubicBezTo>
                      <a:pt x="525" y="753"/>
                      <a:pt x="525" y="753"/>
                      <a:pt x="525" y="753"/>
                    </a:cubicBezTo>
                    <a:cubicBezTo>
                      <a:pt x="526" y="767"/>
                      <a:pt x="537" y="769"/>
                      <a:pt x="538" y="771"/>
                    </a:cubicBezTo>
                    <a:cubicBezTo>
                      <a:pt x="540" y="783"/>
                      <a:pt x="532" y="783"/>
                      <a:pt x="531" y="790"/>
                    </a:cubicBezTo>
                    <a:cubicBezTo>
                      <a:pt x="529" y="794"/>
                      <a:pt x="535" y="801"/>
                      <a:pt x="533" y="807"/>
                    </a:cubicBezTo>
                    <a:cubicBezTo>
                      <a:pt x="530" y="817"/>
                      <a:pt x="521" y="823"/>
                      <a:pt x="518" y="835"/>
                    </a:cubicBezTo>
                    <a:cubicBezTo>
                      <a:pt x="516" y="841"/>
                      <a:pt x="515" y="848"/>
                      <a:pt x="518" y="855"/>
                    </a:cubicBezTo>
                    <a:cubicBezTo>
                      <a:pt x="519" y="857"/>
                      <a:pt x="524" y="859"/>
                      <a:pt x="522" y="860"/>
                    </a:cubicBezTo>
                    <a:cubicBezTo>
                      <a:pt x="519" y="862"/>
                      <a:pt x="509" y="856"/>
                      <a:pt x="508" y="865"/>
                    </a:cubicBezTo>
                    <a:cubicBezTo>
                      <a:pt x="507" y="870"/>
                      <a:pt x="535" y="873"/>
                      <a:pt x="533" y="877"/>
                    </a:cubicBezTo>
                    <a:cubicBezTo>
                      <a:pt x="532" y="878"/>
                      <a:pt x="528" y="877"/>
                      <a:pt x="527" y="878"/>
                    </a:cubicBezTo>
                    <a:cubicBezTo>
                      <a:pt x="526" y="878"/>
                      <a:pt x="504" y="877"/>
                      <a:pt x="511" y="885"/>
                    </a:cubicBezTo>
                    <a:cubicBezTo>
                      <a:pt x="512" y="886"/>
                      <a:pt x="516" y="891"/>
                      <a:pt x="512" y="890"/>
                    </a:cubicBezTo>
                    <a:cubicBezTo>
                      <a:pt x="503" y="888"/>
                      <a:pt x="500" y="873"/>
                      <a:pt x="485" y="878"/>
                    </a:cubicBezTo>
                    <a:cubicBezTo>
                      <a:pt x="479" y="880"/>
                      <a:pt x="471" y="878"/>
                      <a:pt x="470" y="884"/>
                    </a:cubicBezTo>
                    <a:cubicBezTo>
                      <a:pt x="469" y="887"/>
                      <a:pt x="483" y="892"/>
                      <a:pt x="473" y="891"/>
                    </a:cubicBezTo>
                    <a:cubicBezTo>
                      <a:pt x="467" y="890"/>
                      <a:pt x="464" y="890"/>
                      <a:pt x="466" y="895"/>
                    </a:cubicBezTo>
                    <a:cubicBezTo>
                      <a:pt x="467" y="898"/>
                      <a:pt x="463" y="900"/>
                      <a:pt x="461" y="899"/>
                    </a:cubicBezTo>
                    <a:cubicBezTo>
                      <a:pt x="455" y="893"/>
                      <a:pt x="458" y="883"/>
                      <a:pt x="445" y="885"/>
                    </a:cubicBezTo>
                    <a:cubicBezTo>
                      <a:pt x="445" y="885"/>
                      <a:pt x="445" y="885"/>
                      <a:pt x="445" y="885"/>
                    </a:cubicBezTo>
                    <a:cubicBezTo>
                      <a:pt x="451" y="888"/>
                      <a:pt x="453" y="891"/>
                      <a:pt x="449" y="893"/>
                    </a:cubicBezTo>
                    <a:cubicBezTo>
                      <a:pt x="450" y="893"/>
                      <a:pt x="450" y="893"/>
                      <a:pt x="450" y="893"/>
                    </a:cubicBezTo>
                    <a:cubicBezTo>
                      <a:pt x="435" y="906"/>
                      <a:pt x="400" y="881"/>
                      <a:pt x="403" y="876"/>
                    </a:cubicBezTo>
                    <a:cubicBezTo>
                      <a:pt x="405" y="875"/>
                      <a:pt x="428" y="879"/>
                      <a:pt x="442" y="884"/>
                    </a:cubicBezTo>
                    <a:cubicBezTo>
                      <a:pt x="441" y="881"/>
                      <a:pt x="440" y="876"/>
                      <a:pt x="443" y="876"/>
                    </a:cubicBezTo>
                    <a:cubicBezTo>
                      <a:pt x="450" y="874"/>
                      <a:pt x="458" y="881"/>
                      <a:pt x="465" y="879"/>
                    </a:cubicBezTo>
                    <a:cubicBezTo>
                      <a:pt x="470" y="878"/>
                      <a:pt x="477" y="878"/>
                      <a:pt x="480" y="873"/>
                    </a:cubicBezTo>
                    <a:cubicBezTo>
                      <a:pt x="483" y="870"/>
                      <a:pt x="472" y="866"/>
                      <a:pt x="480" y="864"/>
                    </a:cubicBezTo>
                    <a:close/>
                    <a:moveTo>
                      <a:pt x="373" y="856"/>
                    </a:moveTo>
                    <a:cubicBezTo>
                      <a:pt x="375" y="851"/>
                      <a:pt x="383" y="861"/>
                      <a:pt x="388" y="860"/>
                    </a:cubicBezTo>
                    <a:cubicBezTo>
                      <a:pt x="399" y="857"/>
                      <a:pt x="413" y="849"/>
                      <a:pt x="427" y="851"/>
                    </a:cubicBezTo>
                    <a:cubicBezTo>
                      <a:pt x="429" y="851"/>
                      <a:pt x="436" y="854"/>
                      <a:pt x="437" y="853"/>
                    </a:cubicBezTo>
                    <a:cubicBezTo>
                      <a:pt x="437" y="852"/>
                      <a:pt x="434" y="853"/>
                      <a:pt x="436" y="851"/>
                    </a:cubicBezTo>
                    <a:cubicBezTo>
                      <a:pt x="441" y="849"/>
                      <a:pt x="483" y="866"/>
                      <a:pt x="469" y="864"/>
                    </a:cubicBezTo>
                    <a:cubicBezTo>
                      <a:pt x="469" y="864"/>
                      <a:pt x="469" y="864"/>
                      <a:pt x="469" y="864"/>
                    </a:cubicBezTo>
                    <a:cubicBezTo>
                      <a:pt x="463" y="864"/>
                      <a:pt x="425" y="850"/>
                      <a:pt x="423" y="855"/>
                    </a:cubicBezTo>
                    <a:cubicBezTo>
                      <a:pt x="421" y="858"/>
                      <a:pt x="431" y="870"/>
                      <a:pt x="430" y="871"/>
                    </a:cubicBezTo>
                    <a:cubicBezTo>
                      <a:pt x="429" y="872"/>
                      <a:pt x="424" y="867"/>
                      <a:pt x="423" y="866"/>
                    </a:cubicBezTo>
                    <a:cubicBezTo>
                      <a:pt x="411" y="859"/>
                      <a:pt x="398" y="857"/>
                      <a:pt x="395" y="862"/>
                    </a:cubicBezTo>
                    <a:cubicBezTo>
                      <a:pt x="394" y="864"/>
                      <a:pt x="423" y="873"/>
                      <a:pt x="422" y="873"/>
                    </a:cubicBezTo>
                    <a:cubicBezTo>
                      <a:pt x="420" y="875"/>
                      <a:pt x="380" y="865"/>
                      <a:pt x="379" y="863"/>
                    </a:cubicBezTo>
                    <a:cubicBezTo>
                      <a:pt x="378" y="862"/>
                      <a:pt x="382" y="863"/>
                      <a:pt x="379" y="860"/>
                    </a:cubicBezTo>
                    <a:cubicBezTo>
                      <a:pt x="379" y="859"/>
                      <a:pt x="372" y="859"/>
                      <a:pt x="373" y="856"/>
                    </a:cubicBezTo>
                    <a:close/>
                    <a:moveTo>
                      <a:pt x="381" y="993"/>
                    </a:moveTo>
                    <a:cubicBezTo>
                      <a:pt x="383" y="991"/>
                      <a:pt x="375" y="990"/>
                      <a:pt x="376" y="989"/>
                    </a:cubicBezTo>
                    <a:cubicBezTo>
                      <a:pt x="381" y="987"/>
                      <a:pt x="402" y="993"/>
                      <a:pt x="402" y="990"/>
                    </a:cubicBezTo>
                    <a:cubicBezTo>
                      <a:pt x="402" y="988"/>
                      <a:pt x="399" y="988"/>
                      <a:pt x="398" y="987"/>
                    </a:cubicBezTo>
                    <a:cubicBezTo>
                      <a:pt x="395" y="984"/>
                      <a:pt x="399" y="979"/>
                      <a:pt x="388" y="982"/>
                    </a:cubicBezTo>
                    <a:cubicBezTo>
                      <a:pt x="387" y="982"/>
                      <a:pt x="377" y="985"/>
                      <a:pt x="377" y="984"/>
                    </a:cubicBezTo>
                    <a:cubicBezTo>
                      <a:pt x="377" y="983"/>
                      <a:pt x="383" y="982"/>
                      <a:pt x="384" y="982"/>
                    </a:cubicBezTo>
                    <a:cubicBezTo>
                      <a:pt x="386" y="981"/>
                      <a:pt x="387" y="978"/>
                      <a:pt x="388" y="978"/>
                    </a:cubicBezTo>
                    <a:cubicBezTo>
                      <a:pt x="391" y="978"/>
                      <a:pt x="397" y="978"/>
                      <a:pt x="400" y="980"/>
                    </a:cubicBezTo>
                    <a:cubicBezTo>
                      <a:pt x="400" y="981"/>
                      <a:pt x="400" y="981"/>
                      <a:pt x="400" y="981"/>
                    </a:cubicBezTo>
                    <a:cubicBezTo>
                      <a:pt x="401" y="982"/>
                      <a:pt x="403" y="982"/>
                      <a:pt x="404" y="983"/>
                    </a:cubicBezTo>
                    <a:cubicBezTo>
                      <a:pt x="405" y="984"/>
                      <a:pt x="401" y="986"/>
                      <a:pt x="406" y="988"/>
                    </a:cubicBezTo>
                    <a:cubicBezTo>
                      <a:pt x="410" y="989"/>
                      <a:pt x="411" y="987"/>
                      <a:pt x="414" y="986"/>
                    </a:cubicBezTo>
                    <a:cubicBezTo>
                      <a:pt x="417" y="986"/>
                      <a:pt x="419" y="988"/>
                      <a:pt x="422" y="987"/>
                    </a:cubicBezTo>
                    <a:cubicBezTo>
                      <a:pt x="425" y="987"/>
                      <a:pt x="432" y="984"/>
                      <a:pt x="436" y="985"/>
                    </a:cubicBezTo>
                    <a:cubicBezTo>
                      <a:pt x="438" y="986"/>
                      <a:pt x="429" y="989"/>
                      <a:pt x="430" y="990"/>
                    </a:cubicBezTo>
                    <a:cubicBezTo>
                      <a:pt x="431" y="992"/>
                      <a:pt x="445" y="991"/>
                      <a:pt x="440" y="995"/>
                    </a:cubicBezTo>
                    <a:cubicBezTo>
                      <a:pt x="436" y="999"/>
                      <a:pt x="427" y="993"/>
                      <a:pt x="426" y="1002"/>
                    </a:cubicBezTo>
                    <a:cubicBezTo>
                      <a:pt x="426" y="1003"/>
                      <a:pt x="425" y="1004"/>
                      <a:pt x="426" y="1004"/>
                    </a:cubicBezTo>
                    <a:cubicBezTo>
                      <a:pt x="429" y="1006"/>
                      <a:pt x="434" y="1000"/>
                      <a:pt x="437" y="1002"/>
                    </a:cubicBezTo>
                    <a:cubicBezTo>
                      <a:pt x="438" y="1003"/>
                      <a:pt x="433" y="1005"/>
                      <a:pt x="434" y="1006"/>
                    </a:cubicBezTo>
                    <a:cubicBezTo>
                      <a:pt x="435" y="1010"/>
                      <a:pt x="453" y="1006"/>
                      <a:pt x="449" y="1013"/>
                    </a:cubicBezTo>
                    <a:cubicBezTo>
                      <a:pt x="449" y="1015"/>
                      <a:pt x="444" y="1012"/>
                      <a:pt x="443" y="1013"/>
                    </a:cubicBezTo>
                    <a:cubicBezTo>
                      <a:pt x="440" y="1015"/>
                      <a:pt x="443" y="1018"/>
                      <a:pt x="440" y="1019"/>
                    </a:cubicBezTo>
                    <a:cubicBezTo>
                      <a:pt x="438" y="1020"/>
                      <a:pt x="435" y="1020"/>
                      <a:pt x="434" y="1021"/>
                    </a:cubicBezTo>
                    <a:cubicBezTo>
                      <a:pt x="432" y="1022"/>
                      <a:pt x="433" y="1024"/>
                      <a:pt x="431" y="1024"/>
                    </a:cubicBezTo>
                    <a:cubicBezTo>
                      <a:pt x="431" y="1024"/>
                      <a:pt x="427" y="1024"/>
                      <a:pt x="427" y="1025"/>
                    </a:cubicBezTo>
                    <a:cubicBezTo>
                      <a:pt x="426" y="1026"/>
                      <a:pt x="428" y="1025"/>
                      <a:pt x="429" y="1026"/>
                    </a:cubicBezTo>
                    <a:cubicBezTo>
                      <a:pt x="431" y="1027"/>
                      <a:pt x="432" y="1027"/>
                      <a:pt x="434" y="1028"/>
                    </a:cubicBezTo>
                    <a:cubicBezTo>
                      <a:pt x="435" y="1029"/>
                      <a:pt x="434" y="1031"/>
                      <a:pt x="435" y="1031"/>
                    </a:cubicBezTo>
                    <a:cubicBezTo>
                      <a:pt x="437" y="1033"/>
                      <a:pt x="441" y="1032"/>
                      <a:pt x="442" y="1035"/>
                    </a:cubicBezTo>
                    <a:cubicBezTo>
                      <a:pt x="443" y="1036"/>
                      <a:pt x="442" y="1037"/>
                      <a:pt x="442" y="1038"/>
                    </a:cubicBezTo>
                    <a:cubicBezTo>
                      <a:pt x="443" y="1042"/>
                      <a:pt x="444" y="1042"/>
                      <a:pt x="439" y="1043"/>
                    </a:cubicBezTo>
                    <a:cubicBezTo>
                      <a:pt x="438" y="1043"/>
                      <a:pt x="436" y="1043"/>
                      <a:pt x="437" y="1044"/>
                    </a:cubicBezTo>
                    <a:cubicBezTo>
                      <a:pt x="437" y="1047"/>
                      <a:pt x="453" y="1046"/>
                      <a:pt x="450" y="1050"/>
                    </a:cubicBezTo>
                    <a:cubicBezTo>
                      <a:pt x="449" y="1053"/>
                      <a:pt x="442" y="1050"/>
                      <a:pt x="440" y="1050"/>
                    </a:cubicBezTo>
                    <a:cubicBezTo>
                      <a:pt x="435" y="1048"/>
                      <a:pt x="431" y="1045"/>
                      <a:pt x="426" y="1045"/>
                    </a:cubicBezTo>
                    <a:cubicBezTo>
                      <a:pt x="420" y="1044"/>
                      <a:pt x="414" y="1045"/>
                      <a:pt x="408" y="1044"/>
                    </a:cubicBezTo>
                    <a:cubicBezTo>
                      <a:pt x="406" y="1044"/>
                      <a:pt x="397" y="1043"/>
                      <a:pt x="396" y="1042"/>
                    </a:cubicBezTo>
                    <a:cubicBezTo>
                      <a:pt x="395" y="1039"/>
                      <a:pt x="403" y="1039"/>
                      <a:pt x="405" y="1040"/>
                    </a:cubicBezTo>
                    <a:cubicBezTo>
                      <a:pt x="410" y="1040"/>
                      <a:pt x="426" y="1044"/>
                      <a:pt x="428" y="1040"/>
                    </a:cubicBezTo>
                    <a:cubicBezTo>
                      <a:pt x="428" y="1039"/>
                      <a:pt x="431" y="1040"/>
                      <a:pt x="430" y="1038"/>
                    </a:cubicBezTo>
                    <a:cubicBezTo>
                      <a:pt x="430" y="1036"/>
                      <a:pt x="428" y="1035"/>
                      <a:pt x="427" y="1034"/>
                    </a:cubicBezTo>
                    <a:cubicBezTo>
                      <a:pt x="426" y="1033"/>
                      <a:pt x="427" y="1032"/>
                      <a:pt x="426" y="1030"/>
                    </a:cubicBezTo>
                    <a:cubicBezTo>
                      <a:pt x="425" y="1029"/>
                      <a:pt x="422" y="1029"/>
                      <a:pt x="421" y="1028"/>
                    </a:cubicBezTo>
                    <a:cubicBezTo>
                      <a:pt x="420" y="1026"/>
                      <a:pt x="424" y="1025"/>
                      <a:pt x="422" y="1024"/>
                    </a:cubicBezTo>
                    <a:cubicBezTo>
                      <a:pt x="420" y="1021"/>
                      <a:pt x="413" y="1020"/>
                      <a:pt x="410" y="1016"/>
                    </a:cubicBezTo>
                    <a:cubicBezTo>
                      <a:pt x="407" y="1013"/>
                      <a:pt x="413" y="1006"/>
                      <a:pt x="407" y="1003"/>
                    </a:cubicBezTo>
                    <a:cubicBezTo>
                      <a:pt x="400" y="1000"/>
                      <a:pt x="391" y="1003"/>
                      <a:pt x="384" y="1002"/>
                    </a:cubicBezTo>
                    <a:cubicBezTo>
                      <a:pt x="382" y="1002"/>
                      <a:pt x="380" y="1001"/>
                      <a:pt x="378" y="1000"/>
                    </a:cubicBezTo>
                    <a:cubicBezTo>
                      <a:pt x="377" y="1000"/>
                      <a:pt x="372" y="1001"/>
                      <a:pt x="372" y="1000"/>
                    </a:cubicBezTo>
                    <a:cubicBezTo>
                      <a:pt x="371" y="998"/>
                      <a:pt x="378" y="999"/>
                      <a:pt x="376" y="997"/>
                    </a:cubicBezTo>
                    <a:cubicBezTo>
                      <a:pt x="375" y="995"/>
                      <a:pt x="372" y="996"/>
                      <a:pt x="370" y="995"/>
                    </a:cubicBezTo>
                    <a:cubicBezTo>
                      <a:pt x="369" y="994"/>
                      <a:pt x="378" y="996"/>
                      <a:pt x="381" y="993"/>
                    </a:cubicBezTo>
                    <a:close/>
                    <a:moveTo>
                      <a:pt x="383" y="1068"/>
                    </a:moveTo>
                    <a:cubicBezTo>
                      <a:pt x="377" y="1063"/>
                      <a:pt x="375" y="1062"/>
                      <a:pt x="386" y="1059"/>
                    </a:cubicBezTo>
                    <a:cubicBezTo>
                      <a:pt x="394" y="1056"/>
                      <a:pt x="401" y="1069"/>
                      <a:pt x="406" y="1069"/>
                    </a:cubicBezTo>
                    <a:cubicBezTo>
                      <a:pt x="411" y="1069"/>
                      <a:pt x="424" y="1051"/>
                      <a:pt x="416" y="1067"/>
                    </a:cubicBezTo>
                    <a:cubicBezTo>
                      <a:pt x="416" y="1068"/>
                      <a:pt x="417" y="1084"/>
                      <a:pt x="413" y="1085"/>
                    </a:cubicBezTo>
                    <a:cubicBezTo>
                      <a:pt x="412" y="1085"/>
                      <a:pt x="412" y="1085"/>
                      <a:pt x="412" y="1085"/>
                    </a:cubicBezTo>
                    <a:cubicBezTo>
                      <a:pt x="406" y="1085"/>
                      <a:pt x="384" y="1079"/>
                      <a:pt x="378" y="1076"/>
                    </a:cubicBezTo>
                    <a:cubicBezTo>
                      <a:pt x="375" y="1075"/>
                      <a:pt x="384" y="1072"/>
                      <a:pt x="385" y="1072"/>
                    </a:cubicBezTo>
                    <a:cubicBezTo>
                      <a:pt x="387" y="1071"/>
                      <a:pt x="385" y="1069"/>
                      <a:pt x="383" y="1068"/>
                    </a:cubicBezTo>
                    <a:close/>
                    <a:moveTo>
                      <a:pt x="373" y="1142"/>
                    </a:moveTo>
                    <a:cubicBezTo>
                      <a:pt x="375" y="1142"/>
                      <a:pt x="377" y="1143"/>
                      <a:pt x="380" y="1143"/>
                    </a:cubicBezTo>
                    <a:cubicBezTo>
                      <a:pt x="383" y="1142"/>
                      <a:pt x="383" y="1138"/>
                      <a:pt x="385" y="1138"/>
                    </a:cubicBezTo>
                    <a:cubicBezTo>
                      <a:pt x="387" y="1137"/>
                      <a:pt x="390" y="1138"/>
                      <a:pt x="392" y="1137"/>
                    </a:cubicBezTo>
                    <a:cubicBezTo>
                      <a:pt x="396" y="1135"/>
                      <a:pt x="401" y="1128"/>
                      <a:pt x="406" y="1133"/>
                    </a:cubicBezTo>
                    <a:cubicBezTo>
                      <a:pt x="406" y="1132"/>
                      <a:pt x="406" y="1132"/>
                      <a:pt x="406" y="1132"/>
                    </a:cubicBezTo>
                    <a:cubicBezTo>
                      <a:pt x="408" y="1138"/>
                      <a:pt x="430" y="1131"/>
                      <a:pt x="432" y="1135"/>
                    </a:cubicBezTo>
                    <a:cubicBezTo>
                      <a:pt x="432" y="1135"/>
                      <a:pt x="426" y="1136"/>
                      <a:pt x="426" y="1136"/>
                    </a:cubicBezTo>
                    <a:cubicBezTo>
                      <a:pt x="420" y="1136"/>
                      <a:pt x="415" y="1137"/>
                      <a:pt x="409" y="1137"/>
                    </a:cubicBezTo>
                    <a:cubicBezTo>
                      <a:pt x="409" y="1137"/>
                      <a:pt x="401" y="1138"/>
                      <a:pt x="402" y="1140"/>
                    </a:cubicBezTo>
                    <a:cubicBezTo>
                      <a:pt x="402" y="1140"/>
                      <a:pt x="425" y="1143"/>
                      <a:pt x="426" y="1142"/>
                    </a:cubicBezTo>
                    <a:cubicBezTo>
                      <a:pt x="428" y="1142"/>
                      <a:pt x="435" y="1138"/>
                      <a:pt x="437" y="1142"/>
                    </a:cubicBezTo>
                    <a:cubicBezTo>
                      <a:pt x="437" y="1143"/>
                      <a:pt x="435" y="1143"/>
                      <a:pt x="435" y="1143"/>
                    </a:cubicBezTo>
                    <a:cubicBezTo>
                      <a:pt x="433" y="1144"/>
                      <a:pt x="422" y="1142"/>
                      <a:pt x="421" y="1147"/>
                    </a:cubicBezTo>
                    <a:cubicBezTo>
                      <a:pt x="420" y="1157"/>
                      <a:pt x="433" y="1146"/>
                      <a:pt x="436" y="1151"/>
                    </a:cubicBezTo>
                    <a:cubicBezTo>
                      <a:pt x="436" y="1153"/>
                      <a:pt x="432" y="1159"/>
                      <a:pt x="433" y="1160"/>
                    </a:cubicBezTo>
                    <a:cubicBezTo>
                      <a:pt x="434" y="1160"/>
                      <a:pt x="434" y="1159"/>
                      <a:pt x="435" y="1159"/>
                    </a:cubicBezTo>
                    <a:cubicBezTo>
                      <a:pt x="435" y="1159"/>
                      <a:pt x="436" y="1159"/>
                      <a:pt x="436" y="1159"/>
                    </a:cubicBezTo>
                    <a:cubicBezTo>
                      <a:pt x="438" y="1160"/>
                      <a:pt x="437" y="1164"/>
                      <a:pt x="440" y="1163"/>
                    </a:cubicBezTo>
                    <a:cubicBezTo>
                      <a:pt x="441" y="1162"/>
                      <a:pt x="441" y="1158"/>
                      <a:pt x="443" y="1159"/>
                    </a:cubicBezTo>
                    <a:cubicBezTo>
                      <a:pt x="447" y="1161"/>
                      <a:pt x="443" y="1167"/>
                      <a:pt x="445" y="1169"/>
                    </a:cubicBezTo>
                    <a:cubicBezTo>
                      <a:pt x="446" y="1170"/>
                      <a:pt x="450" y="1172"/>
                      <a:pt x="450" y="1174"/>
                    </a:cubicBezTo>
                    <a:cubicBezTo>
                      <a:pt x="450" y="1176"/>
                      <a:pt x="445" y="1173"/>
                      <a:pt x="444" y="1174"/>
                    </a:cubicBezTo>
                    <a:cubicBezTo>
                      <a:pt x="443" y="1175"/>
                      <a:pt x="446" y="1176"/>
                      <a:pt x="444" y="1177"/>
                    </a:cubicBezTo>
                    <a:cubicBezTo>
                      <a:pt x="443" y="1178"/>
                      <a:pt x="438" y="1177"/>
                      <a:pt x="439" y="1179"/>
                    </a:cubicBezTo>
                    <a:cubicBezTo>
                      <a:pt x="439" y="1180"/>
                      <a:pt x="441" y="1180"/>
                      <a:pt x="440" y="1181"/>
                    </a:cubicBezTo>
                    <a:cubicBezTo>
                      <a:pt x="440" y="1182"/>
                      <a:pt x="438" y="1182"/>
                      <a:pt x="438" y="1183"/>
                    </a:cubicBezTo>
                    <a:cubicBezTo>
                      <a:pt x="438" y="1183"/>
                      <a:pt x="441" y="1185"/>
                      <a:pt x="441" y="1185"/>
                    </a:cubicBezTo>
                    <a:cubicBezTo>
                      <a:pt x="454" y="1193"/>
                      <a:pt x="448" y="1184"/>
                      <a:pt x="460" y="1187"/>
                    </a:cubicBezTo>
                    <a:cubicBezTo>
                      <a:pt x="467" y="1190"/>
                      <a:pt x="455" y="1188"/>
                      <a:pt x="456" y="1189"/>
                    </a:cubicBezTo>
                    <a:cubicBezTo>
                      <a:pt x="460" y="1193"/>
                      <a:pt x="469" y="1192"/>
                      <a:pt x="473" y="1195"/>
                    </a:cubicBezTo>
                    <a:cubicBezTo>
                      <a:pt x="475" y="1196"/>
                      <a:pt x="472" y="1198"/>
                      <a:pt x="472" y="1199"/>
                    </a:cubicBezTo>
                    <a:cubicBezTo>
                      <a:pt x="473" y="1201"/>
                      <a:pt x="478" y="1198"/>
                      <a:pt x="478" y="1202"/>
                    </a:cubicBezTo>
                    <a:cubicBezTo>
                      <a:pt x="478" y="1204"/>
                      <a:pt x="477" y="1202"/>
                      <a:pt x="476" y="1204"/>
                    </a:cubicBezTo>
                    <a:cubicBezTo>
                      <a:pt x="475" y="1206"/>
                      <a:pt x="480" y="1208"/>
                      <a:pt x="477" y="1211"/>
                    </a:cubicBezTo>
                    <a:cubicBezTo>
                      <a:pt x="472" y="1216"/>
                      <a:pt x="473" y="1209"/>
                      <a:pt x="473" y="1209"/>
                    </a:cubicBezTo>
                    <a:cubicBezTo>
                      <a:pt x="472" y="1208"/>
                      <a:pt x="470" y="1210"/>
                      <a:pt x="468" y="1209"/>
                    </a:cubicBezTo>
                    <a:cubicBezTo>
                      <a:pt x="467" y="1208"/>
                      <a:pt x="474" y="1205"/>
                      <a:pt x="470" y="1202"/>
                    </a:cubicBezTo>
                    <a:cubicBezTo>
                      <a:pt x="467" y="1199"/>
                      <a:pt x="460" y="1200"/>
                      <a:pt x="457" y="1199"/>
                    </a:cubicBezTo>
                    <a:cubicBezTo>
                      <a:pt x="451" y="1197"/>
                      <a:pt x="452" y="1196"/>
                      <a:pt x="446" y="1195"/>
                    </a:cubicBezTo>
                    <a:cubicBezTo>
                      <a:pt x="444" y="1195"/>
                      <a:pt x="443" y="1192"/>
                      <a:pt x="441" y="1191"/>
                    </a:cubicBezTo>
                    <a:cubicBezTo>
                      <a:pt x="439" y="1191"/>
                      <a:pt x="438" y="1197"/>
                      <a:pt x="431" y="1193"/>
                    </a:cubicBezTo>
                    <a:cubicBezTo>
                      <a:pt x="429" y="1192"/>
                      <a:pt x="436" y="1192"/>
                      <a:pt x="435" y="1190"/>
                    </a:cubicBezTo>
                    <a:cubicBezTo>
                      <a:pt x="432" y="1184"/>
                      <a:pt x="416" y="1187"/>
                      <a:pt x="412" y="1186"/>
                    </a:cubicBezTo>
                    <a:cubicBezTo>
                      <a:pt x="411" y="1186"/>
                      <a:pt x="412" y="1183"/>
                      <a:pt x="411" y="1182"/>
                    </a:cubicBezTo>
                    <a:cubicBezTo>
                      <a:pt x="410" y="1180"/>
                      <a:pt x="408" y="1180"/>
                      <a:pt x="407" y="1178"/>
                    </a:cubicBezTo>
                    <a:cubicBezTo>
                      <a:pt x="407" y="1176"/>
                      <a:pt x="413" y="1174"/>
                      <a:pt x="408" y="1172"/>
                    </a:cubicBezTo>
                    <a:cubicBezTo>
                      <a:pt x="403" y="1170"/>
                      <a:pt x="397" y="1171"/>
                      <a:pt x="392" y="1170"/>
                    </a:cubicBezTo>
                    <a:cubicBezTo>
                      <a:pt x="388" y="1169"/>
                      <a:pt x="384" y="1163"/>
                      <a:pt x="383" y="1163"/>
                    </a:cubicBezTo>
                    <a:cubicBezTo>
                      <a:pt x="382" y="1162"/>
                      <a:pt x="379" y="1165"/>
                      <a:pt x="378" y="1163"/>
                    </a:cubicBezTo>
                    <a:cubicBezTo>
                      <a:pt x="377" y="1162"/>
                      <a:pt x="379" y="1159"/>
                      <a:pt x="377" y="1157"/>
                    </a:cubicBezTo>
                    <a:cubicBezTo>
                      <a:pt x="375" y="1155"/>
                      <a:pt x="373" y="1156"/>
                      <a:pt x="371" y="1154"/>
                    </a:cubicBezTo>
                    <a:cubicBezTo>
                      <a:pt x="371" y="1154"/>
                      <a:pt x="366" y="1147"/>
                      <a:pt x="366" y="1147"/>
                    </a:cubicBezTo>
                    <a:cubicBezTo>
                      <a:pt x="366" y="1145"/>
                      <a:pt x="371" y="1142"/>
                      <a:pt x="373" y="1142"/>
                    </a:cubicBezTo>
                    <a:close/>
                    <a:moveTo>
                      <a:pt x="427" y="1558"/>
                    </a:moveTo>
                    <a:cubicBezTo>
                      <a:pt x="424" y="1555"/>
                      <a:pt x="440" y="1559"/>
                      <a:pt x="443" y="1566"/>
                    </a:cubicBezTo>
                    <a:cubicBezTo>
                      <a:pt x="443" y="1568"/>
                      <a:pt x="443" y="1568"/>
                      <a:pt x="443" y="1568"/>
                    </a:cubicBezTo>
                    <a:cubicBezTo>
                      <a:pt x="444" y="1570"/>
                      <a:pt x="458" y="1575"/>
                      <a:pt x="456" y="1581"/>
                    </a:cubicBezTo>
                    <a:cubicBezTo>
                      <a:pt x="453" y="1585"/>
                      <a:pt x="448" y="1576"/>
                      <a:pt x="447" y="1575"/>
                    </a:cubicBezTo>
                    <a:cubicBezTo>
                      <a:pt x="441" y="1572"/>
                      <a:pt x="423" y="1569"/>
                      <a:pt x="421" y="1563"/>
                    </a:cubicBezTo>
                    <a:cubicBezTo>
                      <a:pt x="415" y="1549"/>
                      <a:pt x="426" y="1563"/>
                      <a:pt x="428" y="1564"/>
                    </a:cubicBezTo>
                    <a:cubicBezTo>
                      <a:pt x="434" y="1566"/>
                      <a:pt x="428" y="1559"/>
                      <a:pt x="427" y="1558"/>
                    </a:cubicBezTo>
                    <a:close/>
                    <a:moveTo>
                      <a:pt x="305" y="973"/>
                    </a:moveTo>
                    <a:cubicBezTo>
                      <a:pt x="305" y="974"/>
                      <a:pt x="305" y="974"/>
                      <a:pt x="305" y="974"/>
                    </a:cubicBezTo>
                    <a:cubicBezTo>
                      <a:pt x="317" y="978"/>
                      <a:pt x="347" y="967"/>
                      <a:pt x="352" y="983"/>
                    </a:cubicBezTo>
                    <a:cubicBezTo>
                      <a:pt x="353" y="985"/>
                      <a:pt x="348" y="981"/>
                      <a:pt x="345" y="981"/>
                    </a:cubicBezTo>
                    <a:cubicBezTo>
                      <a:pt x="334" y="979"/>
                      <a:pt x="322" y="979"/>
                      <a:pt x="313" y="980"/>
                    </a:cubicBezTo>
                    <a:cubicBezTo>
                      <a:pt x="308" y="981"/>
                      <a:pt x="292" y="970"/>
                      <a:pt x="305" y="973"/>
                    </a:cubicBezTo>
                    <a:close/>
                    <a:moveTo>
                      <a:pt x="328" y="999"/>
                    </a:moveTo>
                    <a:cubicBezTo>
                      <a:pt x="331" y="1001"/>
                      <a:pt x="332" y="1000"/>
                      <a:pt x="335" y="1000"/>
                    </a:cubicBezTo>
                    <a:cubicBezTo>
                      <a:pt x="338" y="1000"/>
                      <a:pt x="331" y="1004"/>
                      <a:pt x="328" y="1005"/>
                    </a:cubicBezTo>
                    <a:cubicBezTo>
                      <a:pt x="325" y="1005"/>
                      <a:pt x="306" y="1015"/>
                      <a:pt x="305" y="1014"/>
                    </a:cubicBezTo>
                    <a:cubicBezTo>
                      <a:pt x="304" y="1010"/>
                      <a:pt x="328" y="999"/>
                      <a:pt x="328" y="1000"/>
                    </a:cubicBezTo>
                    <a:lnTo>
                      <a:pt x="328" y="999"/>
                    </a:lnTo>
                    <a:close/>
                    <a:moveTo>
                      <a:pt x="291" y="1106"/>
                    </a:moveTo>
                    <a:cubicBezTo>
                      <a:pt x="293" y="1101"/>
                      <a:pt x="305" y="1101"/>
                      <a:pt x="304" y="1097"/>
                    </a:cubicBezTo>
                    <a:cubicBezTo>
                      <a:pt x="303" y="1096"/>
                      <a:pt x="301" y="1096"/>
                      <a:pt x="300" y="1096"/>
                    </a:cubicBezTo>
                    <a:cubicBezTo>
                      <a:pt x="298" y="1095"/>
                      <a:pt x="292" y="1089"/>
                      <a:pt x="292" y="1087"/>
                    </a:cubicBezTo>
                    <a:cubicBezTo>
                      <a:pt x="293" y="1084"/>
                      <a:pt x="297" y="1087"/>
                      <a:pt x="299" y="1088"/>
                    </a:cubicBezTo>
                    <a:cubicBezTo>
                      <a:pt x="302" y="1088"/>
                      <a:pt x="308" y="1084"/>
                      <a:pt x="311" y="1082"/>
                    </a:cubicBezTo>
                    <a:cubicBezTo>
                      <a:pt x="313" y="1080"/>
                      <a:pt x="304" y="1074"/>
                      <a:pt x="312" y="1073"/>
                    </a:cubicBezTo>
                    <a:cubicBezTo>
                      <a:pt x="314" y="1073"/>
                      <a:pt x="315" y="1075"/>
                      <a:pt x="317" y="1076"/>
                    </a:cubicBezTo>
                    <a:cubicBezTo>
                      <a:pt x="318" y="1076"/>
                      <a:pt x="334" y="1070"/>
                      <a:pt x="333" y="1075"/>
                    </a:cubicBezTo>
                    <a:cubicBezTo>
                      <a:pt x="333" y="1075"/>
                      <a:pt x="333" y="1075"/>
                      <a:pt x="333" y="1075"/>
                    </a:cubicBezTo>
                    <a:cubicBezTo>
                      <a:pt x="334" y="1076"/>
                      <a:pt x="333" y="1076"/>
                      <a:pt x="333" y="1078"/>
                    </a:cubicBezTo>
                    <a:cubicBezTo>
                      <a:pt x="334" y="1079"/>
                      <a:pt x="335" y="1079"/>
                      <a:pt x="335" y="1080"/>
                    </a:cubicBezTo>
                    <a:cubicBezTo>
                      <a:pt x="335" y="1083"/>
                      <a:pt x="331" y="1082"/>
                      <a:pt x="332" y="1085"/>
                    </a:cubicBezTo>
                    <a:cubicBezTo>
                      <a:pt x="332" y="1086"/>
                      <a:pt x="340" y="1090"/>
                      <a:pt x="341" y="1091"/>
                    </a:cubicBezTo>
                    <a:cubicBezTo>
                      <a:pt x="342" y="1094"/>
                      <a:pt x="337" y="1094"/>
                      <a:pt x="338" y="1097"/>
                    </a:cubicBezTo>
                    <a:cubicBezTo>
                      <a:pt x="339" y="1098"/>
                      <a:pt x="344" y="1100"/>
                      <a:pt x="342" y="1103"/>
                    </a:cubicBezTo>
                    <a:cubicBezTo>
                      <a:pt x="341" y="1105"/>
                      <a:pt x="337" y="1103"/>
                      <a:pt x="336" y="1104"/>
                    </a:cubicBezTo>
                    <a:cubicBezTo>
                      <a:pt x="335" y="1105"/>
                      <a:pt x="341" y="1106"/>
                      <a:pt x="341" y="1106"/>
                    </a:cubicBezTo>
                    <a:cubicBezTo>
                      <a:pt x="344" y="1107"/>
                      <a:pt x="350" y="1108"/>
                      <a:pt x="351" y="1111"/>
                    </a:cubicBezTo>
                    <a:cubicBezTo>
                      <a:pt x="352" y="1114"/>
                      <a:pt x="346" y="1112"/>
                      <a:pt x="345" y="1114"/>
                    </a:cubicBezTo>
                    <a:cubicBezTo>
                      <a:pt x="344" y="1116"/>
                      <a:pt x="350" y="1118"/>
                      <a:pt x="348" y="1119"/>
                    </a:cubicBezTo>
                    <a:cubicBezTo>
                      <a:pt x="347" y="1120"/>
                      <a:pt x="340" y="1118"/>
                      <a:pt x="341" y="1119"/>
                    </a:cubicBezTo>
                    <a:cubicBezTo>
                      <a:pt x="344" y="1124"/>
                      <a:pt x="357" y="1124"/>
                      <a:pt x="355" y="1132"/>
                    </a:cubicBezTo>
                    <a:cubicBezTo>
                      <a:pt x="355" y="1132"/>
                      <a:pt x="354" y="1134"/>
                      <a:pt x="353" y="1134"/>
                    </a:cubicBezTo>
                    <a:cubicBezTo>
                      <a:pt x="352" y="1134"/>
                      <a:pt x="345" y="1134"/>
                      <a:pt x="343" y="1133"/>
                    </a:cubicBezTo>
                    <a:cubicBezTo>
                      <a:pt x="341" y="1132"/>
                      <a:pt x="339" y="1130"/>
                      <a:pt x="337" y="1129"/>
                    </a:cubicBezTo>
                    <a:cubicBezTo>
                      <a:pt x="332" y="1128"/>
                      <a:pt x="323" y="1126"/>
                      <a:pt x="319" y="1124"/>
                    </a:cubicBezTo>
                    <a:cubicBezTo>
                      <a:pt x="317" y="1123"/>
                      <a:pt x="325" y="1122"/>
                      <a:pt x="324" y="1121"/>
                    </a:cubicBezTo>
                    <a:cubicBezTo>
                      <a:pt x="323" y="1117"/>
                      <a:pt x="316" y="1121"/>
                      <a:pt x="314" y="1120"/>
                    </a:cubicBezTo>
                    <a:cubicBezTo>
                      <a:pt x="311" y="1120"/>
                      <a:pt x="308" y="1118"/>
                      <a:pt x="306" y="1116"/>
                    </a:cubicBezTo>
                    <a:cubicBezTo>
                      <a:pt x="304" y="1115"/>
                      <a:pt x="289" y="1112"/>
                      <a:pt x="291" y="1106"/>
                    </a:cubicBezTo>
                    <a:close/>
                    <a:moveTo>
                      <a:pt x="281" y="1489"/>
                    </a:moveTo>
                    <a:cubicBezTo>
                      <a:pt x="281" y="1489"/>
                      <a:pt x="281" y="1489"/>
                      <a:pt x="281" y="1489"/>
                    </a:cubicBezTo>
                    <a:cubicBezTo>
                      <a:pt x="280" y="1486"/>
                      <a:pt x="265" y="1471"/>
                      <a:pt x="266" y="1470"/>
                    </a:cubicBezTo>
                    <a:cubicBezTo>
                      <a:pt x="266" y="1470"/>
                      <a:pt x="295" y="1479"/>
                      <a:pt x="297" y="1487"/>
                    </a:cubicBezTo>
                    <a:cubicBezTo>
                      <a:pt x="300" y="1500"/>
                      <a:pt x="284" y="1495"/>
                      <a:pt x="281" y="1489"/>
                    </a:cubicBezTo>
                    <a:close/>
                    <a:moveTo>
                      <a:pt x="338" y="1455"/>
                    </a:moveTo>
                    <a:cubicBezTo>
                      <a:pt x="335" y="1454"/>
                      <a:pt x="344" y="1454"/>
                      <a:pt x="341" y="1451"/>
                    </a:cubicBezTo>
                    <a:cubicBezTo>
                      <a:pt x="340" y="1449"/>
                      <a:pt x="332" y="1447"/>
                      <a:pt x="330" y="1448"/>
                    </a:cubicBezTo>
                    <a:cubicBezTo>
                      <a:pt x="327" y="1448"/>
                      <a:pt x="330" y="1450"/>
                      <a:pt x="327" y="1450"/>
                    </a:cubicBezTo>
                    <a:cubicBezTo>
                      <a:pt x="326" y="1450"/>
                      <a:pt x="325" y="1449"/>
                      <a:pt x="323" y="1450"/>
                    </a:cubicBezTo>
                    <a:cubicBezTo>
                      <a:pt x="322" y="1451"/>
                      <a:pt x="324" y="1452"/>
                      <a:pt x="325" y="1452"/>
                    </a:cubicBezTo>
                    <a:cubicBezTo>
                      <a:pt x="326" y="1453"/>
                      <a:pt x="326" y="1455"/>
                      <a:pt x="327" y="1456"/>
                    </a:cubicBezTo>
                    <a:cubicBezTo>
                      <a:pt x="332" y="1458"/>
                      <a:pt x="335" y="1455"/>
                      <a:pt x="339" y="1462"/>
                    </a:cubicBezTo>
                    <a:cubicBezTo>
                      <a:pt x="341" y="1465"/>
                      <a:pt x="336" y="1462"/>
                      <a:pt x="335" y="1462"/>
                    </a:cubicBezTo>
                    <a:cubicBezTo>
                      <a:pt x="335" y="1462"/>
                      <a:pt x="338" y="1466"/>
                      <a:pt x="338" y="1467"/>
                    </a:cubicBezTo>
                    <a:cubicBezTo>
                      <a:pt x="336" y="1469"/>
                      <a:pt x="332" y="1466"/>
                      <a:pt x="330" y="1467"/>
                    </a:cubicBezTo>
                    <a:cubicBezTo>
                      <a:pt x="329" y="1467"/>
                      <a:pt x="334" y="1469"/>
                      <a:pt x="334" y="1469"/>
                    </a:cubicBezTo>
                    <a:cubicBezTo>
                      <a:pt x="336" y="1470"/>
                      <a:pt x="338" y="1472"/>
                      <a:pt x="340" y="1473"/>
                    </a:cubicBezTo>
                    <a:cubicBezTo>
                      <a:pt x="341" y="1474"/>
                      <a:pt x="338" y="1480"/>
                      <a:pt x="338" y="1480"/>
                    </a:cubicBezTo>
                    <a:cubicBezTo>
                      <a:pt x="336" y="1479"/>
                      <a:pt x="335" y="1476"/>
                      <a:pt x="334" y="1475"/>
                    </a:cubicBezTo>
                    <a:cubicBezTo>
                      <a:pt x="332" y="1473"/>
                      <a:pt x="330" y="1473"/>
                      <a:pt x="328" y="1472"/>
                    </a:cubicBezTo>
                    <a:cubicBezTo>
                      <a:pt x="326" y="1471"/>
                      <a:pt x="325" y="1469"/>
                      <a:pt x="323" y="1468"/>
                    </a:cubicBezTo>
                    <a:cubicBezTo>
                      <a:pt x="321" y="1466"/>
                      <a:pt x="318" y="1468"/>
                      <a:pt x="315" y="1467"/>
                    </a:cubicBezTo>
                    <a:cubicBezTo>
                      <a:pt x="314" y="1466"/>
                      <a:pt x="312" y="1465"/>
                      <a:pt x="313" y="1465"/>
                    </a:cubicBezTo>
                    <a:cubicBezTo>
                      <a:pt x="314" y="1464"/>
                      <a:pt x="316" y="1465"/>
                      <a:pt x="317" y="1465"/>
                    </a:cubicBezTo>
                    <a:cubicBezTo>
                      <a:pt x="324" y="1462"/>
                      <a:pt x="315" y="1458"/>
                      <a:pt x="316" y="1455"/>
                    </a:cubicBezTo>
                    <a:cubicBezTo>
                      <a:pt x="316" y="1454"/>
                      <a:pt x="319" y="1454"/>
                      <a:pt x="318" y="1453"/>
                    </a:cubicBezTo>
                    <a:cubicBezTo>
                      <a:pt x="318" y="1453"/>
                      <a:pt x="315" y="1453"/>
                      <a:pt x="315" y="1453"/>
                    </a:cubicBezTo>
                    <a:cubicBezTo>
                      <a:pt x="313" y="1452"/>
                      <a:pt x="314" y="1449"/>
                      <a:pt x="312" y="1449"/>
                    </a:cubicBezTo>
                    <a:cubicBezTo>
                      <a:pt x="310" y="1448"/>
                      <a:pt x="307" y="1449"/>
                      <a:pt x="305" y="1449"/>
                    </a:cubicBezTo>
                    <a:cubicBezTo>
                      <a:pt x="303" y="1449"/>
                      <a:pt x="303" y="1447"/>
                      <a:pt x="301" y="1447"/>
                    </a:cubicBezTo>
                    <a:cubicBezTo>
                      <a:pt x="300" y="1447"/>
                      <a:pt x="295" y="1447"/>
                      <a:pt x="294" y="1447"/>
                    </a:cubicBezTo>
                    <a:cubicBezTo>
                      <a:pt x="294" y="1446"/>
                      <a:pt x="297" y="1445"/>
                      <a:pt x="298" y="1445"/>
                    </a:cubicBezTo>
                    <a:cubicBezTo>
                      <a:pt x="300" y="1445"/>
                      <a:pt x="307" y="1447"/>
                      <a:pt x="307" y="1446"/>
                    </a:cubicBezTo>
                    <a:cubicBezTo>
                      <a:pt x="308" y="1444"/>
                      <a:pt x="305" y="1443"/>
                      <a:pt x="305" y="1442"/>
                    </a:cubicBezTo>
                    <a:cubicBezTo>
                      <a:pt x="304" y="1441"/>
                      <a:pt x="309" y="1436"/>
                      <a:pt x="307" y="1433"/>
                    </a:cubicBezTo>
                    <a:cubicBezTo>
                      <a:pt x="306" y="1433"/>
                      <a:pt x="304" y="1432"/>
                      <a:pt x="305" y="1431"/>
                    </a:cubicBezTo>
                    <a:cubicBezTo>
                      <a:pt x="307" y="1430"/>
                      <a:pt x="315" y="1433"/>
                      <a:pt x="315" y="1434"/>
                    </a:cubicBezTo>
                    <a:cubicBezTo>
                      <a:pt x="317" y="1438"/>
                      <a:pt x="310" y="1436"/>
                      <a:pt x="311" y="1440"/>
                    </a:cubicBezTo>
                    <a:cubicBezTo>
                      <a:pt x="311" y="1440"/>
                      <a:pt x="311" y="1441"/>
                      <a:pt x="312" y="1441"/>
                    </a:cubicBezTo>
                    <a:cubicBezTo>
                      <a:pt x="313" y="1441"/>
                      <a:pt x="314" y="1440"/>
                      <a:pt x="316" y="1441"/>
                    </a:cubicBezTo>
                    <a:cubicBezTo>
                      <a:pt x="318" y="1441"/>
                      <a:pt x="318" y="1443"/>
                      <a:pt x="319" y="1444"/>
                    </a:cubicBezTo>
                    <a:cubicBezTo>
                      <a:pt x="320" y="1445"/>
                      <a:pt x="322" y="1445"/>
                      <a:pt x="323" y="1445"/>
                    </a:cubicBezTo>
                    <a:cubicBezTo>
                      <a:pt x="325" y="1446"/>
                      <a:pt x="325" y="1446"/>
                      <a:pt x="325" y="1446"/>
                    </a:cubicBezTo>
                    <a:cubicBezTo>
                      <a:pt x="330" y="1448"/>
                      <a:pt x="337" y="1445"/>
                      <a:pt x="342" y="1449"/>
                    </a:cubicBezTo>
                    <a:cubicBezTo>
                      <a:pt x="346" y="1452"/>
                      <a:pt x="343" y="1457"/>
                      <a:pt x="338" y="1455"/>
                    </a:cubicBezTo>
                    <a:close/>
                    <a:moveTo>
                      <a:pt x="346" y="1253"/>
                    </a:moveTo>
                    <a:cubicBezTo>
                      <a:pt x="345" y="1253"/>
                      <a:pt x="338" y="1249"/>
                      <a:pt x="337" y="1252"/>
                    </a:cubicBezTo>
                    <a:cubicBezTo>
                      <a:pt x="336" y="1255"/>
                      <a:pt x="348" y="1260"/>
                      <a:pt x="344" y="1261"/>
                    </a:cubicBezTo>
                    <a:cubicBezTo>
                      <a:pt x="342" y="1261"/>
                      <a:pt x="335" y="1256"/>
                      <a:pt x="333" y="1255"/>
                    </a:cubicBezTo>
                    <a:cubicBezTo>
                      <a:pt x="330" y="1254"/>
                      <a:pt x="324" y="1255"/>
                      <a:pt x="322" y="1256"/>
                    </a:cubicBezTo>
                    <a:cubicBezTo>
                      <a:pt x="321" y="1257"/>
                      <a:pt x="324" y="1258"/>
                      <a:pt x="324" y="1258"/>
                    </a:cubicBezTo>
                    <a:cubicBezTo>
                      <a:pt x="322" y="1260"/>
                      <a:pt x="314" y="1256"/>
                      <a:pt x="310" y="1257"/>
                    </a:cubicBezTo>
                    <a:cubicBezTo>
                      <a:pt x="305" y="1260"/>
                      <a:pt x="310" y="1261"/>
                      <a:pt x="311" y="1264"/>
                    </a:cubicBezTo>
                    <a:cubicBezTo>
                      <a:pt x="312" y="1266"/>
                      <a:pt x="309" y="1265"/>
                      <a:pt x="311" y="1267"/>
                    </a:cubicBezTo>
                    <a:cubicBezTo>
                      <a:pt x="311" y="1267"/>
                      <a:pt x="313" y="1269"/>
                      <a:pt x="312" y="1269"/>
                    </a:cubicBezTo>
                    <a:cubicBezTo>
                      <a:pt x="311" y="1270"/>
                      <a:pt x="310" y="1269"/>
                      <a:pt x="309" y="1269"/>
                    </a:cubicBezTo>
                    <a:cubicBezTo>
                      <a:pt x="307" y="1270"/>
                      <a:pt x="308" y="1275"/>
                      <a:pt x="307" y="1275"/>
                    </a:cubicBezTo>
                    <a:cubicBezTo>
                      <a:pt x="306" y="1276"/>
                      <a:pt x="305" y="1276"/>
                      <a:pt x="303" y="1277"/>
                    </a:cubicBezTo>
                    <a:cubicBezTo>
                      <a:pt x="302" y="1278"/>
                      <a:pt x="303" y="1279"/>
                      <a:pt x="302" y="1279"/>
                    </a:cubicBezTo>
                    <a:cubicBezTo>
                      <a:pt x="298" y="1281"/>
                      <a:pt x="293" y="1278"/>
                      <a:pt x="289" y="1278"/>
                    </a:cubicBezTo>
                    <a:cubicBezTo>
                      <a:pt x="286" y="1278"/>
                      <a:pt x="283" y="1282"/>
                      <a:pt x="281" y="1281"/>
                    </a:cubicBezTo>
                    <a:cubicBezTo>
                      <a:pt x="279" y="1281"/>
                      <a:pt x="286" y="1277"/>
                      <a:pt x="286" y="1276"/>
                    </a:cubicBezTo>
                    <a:cubicBezTo>
                      <a:pt x="287" y="1275"/>
                      <a:pt x="284" y="1272"/>
                      <a:pt x="288" y="1272"/>
                    </a:cubicBezTo>
                    <a:cubicBezTo>
                      <a:pt x="293" y="1271"/>
                      <a:pt x="296" y="1275"/>
                      <a:pt x="301" y="1273"/>
                    </a:cubicBezTo>
                    <a:cubicBezTo>
                      <a:pt x="301" y="1272"/>
                      <a:pt x="302" y="1273"/>
                      <a:pt x="302" y="1272"/>
                    </a:cubicBezTo>
                    <a:cubicBezTo>
                      <a:pt x="302" y="1271"/>
                      <a:pt x="299" y="1271"/>
                      <a:pt x="298" y="1271"/>
                    </a:cubicBezTo>
                    <a:cubicBezTo>
                      <a:pt x="296" y="1268"/>
                      <a:pt x="302" y="1267"/>
                      <a:pt x="300" y="1266"/>
                    </a:cubicBezTo>
                    <a:cubicBezTo>
                      <a:pt x="298" y="1265"/>
                      <a:pt x="296" y="1265"/>
                      <a:pt x="294" y="1264"/>
                    </a:cubicBezTo>
                    <a:cubicBezTo>
                      <a:pt x="292" y="1263"/>
                      <a:pt x="290" y="1261"/>
                      <a:pt x="288" y="1260"/>
                    </a:cubicBezTo>
                    <a:cubicBezTo>
                      <a:pt x="283" y="1258"/>
                      <a:pt x="277" y="1259"/>
                      <a:pt x="274" y="1256"/>
                    </a:cubicBezTo>
                    <a:cubicBezTo>
                      <a:pt x="273" y="1256"/>
                      <a:pt x="275" y="1255"/>
                      <a:pt x="274" y="1254"/>
                    </a:cubicBezTo>
                    <a:cubicBezTo>
                      <a:pt x="271" y="1251"/>
                      <a:pt x="264" y="1247"/>
                      <a:pt x="265" y="1242"/>
                    </a:cubicBezTo>
                    <a:cubicBezTo>
                      <a:pt x="265" y="1241"/>
                      <a:pt x="267" y="1238"/>
                      <a:pt x="267" y="1240"/>
                    </a:cubicBezTo>
                    <a:cubicBezTo>
                      <a:pt x="268" y="1241"/>
                      <a:pt x="267" y="1242"/>
                      <a:pt x="267" y="1243"/>
                    </a:cubicBezTo>
                    <a:cubicBezTo>
                      <a:pt x="269" y="1246"/>
                      <a:pt x="280" y="1255"/>
                      <a:pt x="283" y="1256"/>
                    </a:cubicBezTo>
                    <a:cubicBezTo>
                      <a:pt x="287" y="1257"/>
                      <a:pt x="295" y="1261"/>
                      <a:pt x="298" y="1259"/>
                    </a:cubicBezTo>
                    <a:cubicBezTo>
                      <a:pt x="302" y="1258"/>
                      <a:pt x="292" y="1253"/>
                      <a:pt x="300" y="1253"/>
                    </a:cubicBezTo>
                    <a:cubicBezTo>
                      <a:pt x="304" y="1253"/>
                      <a:pt x="319" y="1254"/>
                      <a:pt x="321" y="1253"/>
                    </a:cubicBezTo>
                    <a:cubicBezTo>
                      <a:pt x="326" y="1250"/>
                      <a:pt x="319" y="1252"/>
                      <a:pt x="323" y="1250"/>
                    </a:cubicBezTo>
                    <a:cubicBezTo>
                      <a:pt x="325" y="1249"/>
                      <a:pt x="330" y="1255"/>
                      <a:pt x="332" y="1252"/>
                    </a:cubicBezTo>
                    <a:cubicBezTo>
                      <a:pt x="334" y="1249"/>
                      <a:pt x="329" y="1246"/>
                      <a:pt x="327" y="1245"/>
                    </a:cubicBezTo>
                    <a:cubicBezTo>
                      <a:pt x="323" y="1244"/>
                      <a:pt x="320" y="1247"/>
                      <a:pt x="317" y="1246"/>
                    </a:cubicBezTo>
                    <a:cubicBezTo>
                      <a:pt x="315" y="1246"/>
                      <a:pt x="313" y="1244"/>
                      <a:pt x="310" y="1244"/>
                    </a:cubicBezTo>
                    <a:cubicBezTo>
                      <a:pt x="308" y="1244"/>
                      <a:pt x="306" y="1246"/>
                      <a:pt x="304" y="1245"/>
                    </a:cubicBezTo>
                    <a:cubicBezTo>
                      <a:pt x="303" y="1245"/>
                      <a:pt x="306" y="1243"/>
                      <a:pt x="306" y="1243"/>
                    </a:cubicBezTo>
                    <a:cubicBezTo>
                      <a:pt x="307" y="1242"/>
                      <a:pt x="307" y="1241"/>
                      <a:pt x="308" y="1240"/>
                    </a:cubicBezTo>
                    <a:cubicBezTo>
                      <a:pt x="310" y="1237"/>
                      <a:pt x="315" y="1237"/>
                      <a:pt x="318" y="1238"/>
                    </a:cubicBezTo>
                    <a:cubicBezTo>
                      <a:pt x="318" y="1238"/>
                      <a:pt x="318" y="1238"/>
                      <a:pt x="317" y="1238"/>
                    </a:cubicBezTo>
                    <a:cubicBezTo>
                      <a:pt x="319" y="1238"/>
                      <a:pt x="319" y="1238"/>
                      <a:pt x="319" y="1238"/>
                    </a:cubicBezTo>
                    <a:cubicBezTo>
                      <a:pt x="319" y="1238"/>
                      <a:pt x="318" y="1238"/>
                      <a:pt x="318" y="1238"/>
                    </a:cubicBezTo>
                    <a:cubicBezTo>
                      <a:pt x="320" y="1239"/>
                      <a:pt x="320" y="1240"/>
                      <a:pt x="322" y="1241"/>
                    </a:cubicBezTo>
                    <a:cubicBezTo>
                      <a:pt x="324" y="1242"/>
                      <a:pt x="330" y="1242"/>
                      <a:pt x="332" y="1242"/>
                    </a:cubicBezTo>
                    <a:cubicBezTo>
                      <a:pt x="337" y="1242"/>
                      <a:pt x="340" y="1238"/>
                      <a:pt x="345" y="1239"/>
                    </a:cubicBezTo>
                    <a:cubicBezTo>
                      <a:pt x="349" y="1240"/>
                      <a:pt x="352" y="1245"/>
                      <a:pt x="356" y="1245"/>
                    </a:cubicBezTo>
                    <a:cubicBezTo>
                      <a:pt x="359" y="1245"/>
                      <a:pt x="361" y="1242"/>
                      <a:pt x="364" y="1243"/>
                    </a:cubicBezTo>
                    <a:cubicBezTo>
                      <a:pt x="367" y="1243"/>
                      <a:pt x="367" y="1246"/>
                      <a:pt x="369" y="1247"/>
                    </a:cubicBezTo>
                    <a:cubicBezTo>
                      <a:pt x="372" y="1248"/>
                      <a:pt x="377" y="1247"/>
                      <a:pt x="380" y="1251"/>
                    </a:cubicBezTo>
                    <a:cubicBezTo>
                      <a:pt x="381" y="1252"/>
                      <a:pt x="380" y="1258"/>
                      <a:pt x="378" y="1258"/>
                    </a:cubicBezTo>
                    <a:cubicBezTo>
                      <a:pt x="378" y="1258"/>
                      <a:pt x="377" y="1257"/>
                      <a:pt x="376" y="1258"/>
                    </a:cubicBezTo>
                    <a:cubicBezTo>
                      <a:pt x="374" y="1263"/>
                      <a:pt x="387" y="1263"/>
                      <a:pt x="387" y="1266"/>
                    </a:cubicBezTo>
                    <a:cubicBezTo>
                      <a:pt x="388" y="1268"/>
                      <a:pt x="381" y="1264"/>
                      <a:pt x="383" y="1267"/>
                    </a:cubicBezTo>
                    <a:cubicBezTo>
                      <a:pt x="385" y="1270"/>
                      <a:pt x="390" y="1269"/>
                      <a:pt x="393" y="1270"/>
                    </a:cubicBezTo>
                    <a:cubicBezTo>
                      <a:pt x="395" y="1271"/>
                      <a:pt x="395" y="1273"/>
                      <a:pt x="397" y="1275"/>
                    </a:cubicBezTo>
                    <a:cubicBezTo>
                      <a:pt x="400" y="1277"/>
                      <a:pt x="403" y="1277"/>
                      <a:pt x="405" y="1281"/>
                    </a:cubicBezTo>
                    <a:cubicBezTo>
                      <a:pt x="407" y="1282"/>
                      <a:pt x="413" y="1281"/>
                      <a:pt x="413" y="1283"/>
                    </a:cubicBezTo>
                    <a:cubicBezTo>
                      <a:pt x="414" y="1285"/>
                      <a:pt x="410" y="1284"/>
                      <a:pt x="410" y="1285"/>
                    </a:cubicBezTo>
                    <a:cubicBezTo>
                      <a:pt x="408" y="1285"/>
                      <a:pt x="413" y="1289"/>
                      <a:pt x="410" y="1289"/>
                    </a:cubicBezTo>
                    <a:cubicBezTo>
                      <a:pt x="408" y="1290"/>
                      <a:pt x="404" y="1283"/>
                      <a:pt x="401" y="1282"/>
                    </a:cubicBezTo>
                    <a:cubicBezTo>
                      <a:pt x="394" y="1280"/>
                      <a:pt x="385" y="1280"/>
                      <a:pt x="380" y="1276"/>
                    </a:cubicBezTo>
                    <a:cubicBezTo>
                      <a:pt x="379" y="1275"/>
                      <a:pt x="379" y="1273"/>
                      <a:pt x="378" y="1272"/>
                    </a:cubicBezTo>
                    <a:cubicBezTo>
                      <a:pt x="376" y="1269"/>
                      <a:pt x="369" y="1268"/>
                      <a:pt x="369" y="1264"/>
                    </a:cubicBezTo>
                    <a:cubicBezTo>
                      <a:pt x="368" y="1262"/>
                      <a:pt x="372" y="1260"/>
                      <a:pt x="372" y="1258"/>
                    </a:cubicBezTo>
                    <a:cubicBezTo>
                      <a:pt x="371" y="1258"/>
                      <a:pt x="364" y="1250"/>
                      <a:pt x="363" y="1251"/>
                    </a:cubicBezTo>
                    <a:cubicBezTo>
                      <a:pt x="362" y="1251"/>
                      <a:pt x="363" y="1255"/>
                      <a:pt x="361" y="1255"/>
                    </a:cubicBezTo>
                    <a:cubicBezTo>
                      <a:pt x="358" y="1255"/>
                      <a:pt x="355" y="1248"/>
                      <a:pt x="351" y="1248"/>
                    </a:cubicBezTo>
                    <a:cubicBezTo>
                      <a:pt x="348" y="1249"/>
                      <a:pt x="351" y="1253"/>
                      <a:pt x="346" y="1253"/>
                    </a:cubicBezTo>
                    <a:close/>
                    <a:moveTo>
                      <a:pt x="373" y="1353"/>
                    </a:moveTo>
                    <a:cubicBezTo>
                      <a:pt x="371" y="1353"/>
                      <a:pt x="371" y="1354"/>
                      <a:pt x="369" y="1354"/>
                    </a:cubicBezTo>
                    <a:cubicBezTo>
                      <a:pt x="366" y="1353"/>
                      <a:pt x="364" y="1351"/>
                      <a:pt x="361" y="1351"/>
                    </a:cubicBezTo>
                    <a:cubicBezTo>
                      <a:pt x="359" y="1351"/>
                      <a:pt x="357" y="1353"/>
                      <a:pt x="355" y="1351"/>
                    </a:cubicBezTo>
                    <a:cubicBezTo>
                      <a:pt x="353" y="1350"/>
                      <a:pt x="360" y="1349"/>
                      <a:pt x="358" y="1347"/>
                    </a:cubicBezTo>
                    <a:cubicBezTo>
                      <a:pt x="356" y="1345"/>
                      <a:pt x="351" y="1344"/>
                      <a:pt x="352" y="1340"/>
                    </a:cubicBezTo>
                    <a:cubicBezTo>
                      <a:pt x="352" y="1340"/>
                      <a:pt x="353" y="1341"/>
                      <a:pt x="353" y="1342"/>
                    </a:cubicBezTo>
                    <a:cubicBezTo>
                      <a:pt x="354" y="1343"/>
                      <a:pt x="355" y="1343"/>
                      <a:pt x="356" y="1344"/>
                    </a:cubicBezTo>
                    <a:cubicBezTo>
                      <a:pt x="358" y="1344"/>
                      <a:pt x="361" y="1343"/>
                      <a:pt x="362" y="1345"/>
                    </a:cubicBezTo>
                    <a:cubicBezTo>
                      <a:pt x="363" y="1346"/>
                      <a:pt x="364" y="1349"/>
                      <a:pt x="367" y="1349"/>
                    </a:cubicBezTo>
                    <a:cubicBezTo>
                      <a:pt x="369" y="1350"/>
                      <a:pt x="368" y="1348"/>
                      <a:pt x="369" y="1347"/>
                    </a:cubicBezTo>
                    <a:cubicBezTo>
                      <a:pt x="370" y="1347"/>
                      <a:pt x="376" y="1348"/>
                      <a:pt x="376" y="1348"/>
                    </a:cubicBezTo>
                    <a:cubicBezTo>
                      <a:pt x="378" y="1348"/>
                      <a:pt x="382" y="1351"/>
                      <a:pt x="384" y="1349"/>
                    </a:cubicBezTo>
                    <a:cubicBezTo>
                      <a:pt x="385" y="1348"/>
                      <a:pt x="379" y="1347"/>
                      <a:pt x="383" y="1346"/>
                    </a:cubicBezTo>
                    <a:cubicBezTo>
                      <a:pt x="387" y="1346"/>
                      <a:pt x="390" y="1350"/>
                      <a:pt x="394" y="1350"/>
                    </a:cubicBezTo>
                    <a:cubicBezTo>
                      <a:pt x="395" y="1350"/>
                      <a:pt x="401" y="1349"/>
                      <a:pt x="400" y="1347"/>
                    </a:cubicBezTo>
                    <a:cubicBezTo>
                      <a:pt x="400" y="1345"/>
                      <a:pt x="394" y="1342"/>
                      <a:pt x="392" y="1341"/>
                    </a:cubicBezTo>
                    <a:cubicBezTo>
                      <a:pt x="390" y="1339"/>
                      <a:pt x="394" y="1339"/>
                      <a:pt x="393" y="1337"/>
                    </a:cubicBezTo>
                    <a:cubicBezTo>
                      <a:pt x="393" y="1337"/>
                      <a:pt x="391" y="1334"/>
                      <a:pt x="391" y="1334"/>
                    </a:cubicBezTo>
                    <a:cubicBezTo>
                      <a:pt x="392" y="1333"/>
                      <a:pt x="399" y="1334"/>
                      <a:pt x="400" y="1336"/>
                    </a:cubicBezTo>
                    <a:cubicBezTo>
                      <a:pt x="400" y="1336"/>
                      <a:pt x="400" y="1336"/>
                      <a:pt x="400" y="1336"/>
                    </a:cubicBezTo>
                    <a:cubicBezTo>
                      <a:pt x="400" y="1336"/>
                      <a:pt x="400" y="1336"/>
                      <a:pt x="400" y="1336"/>
                    </a:cubicBezTo>
                    <a:cubicBezTo>
                      <a:pt x="400" y="1337"/>
                      <a:pt x="400" y="1337"/>
                      <a:pt x="400" y="1337"/>
                    </a:cubicBezTo>
                    <a:cubicBezTo>
                      <a:pt x="402" y="1340"/>
                      <a:pt x="404" y="1341"/>
                      <a:pt x="407" y="1343"/>
                    </a:cubicBezTo>
                    <a:cubicBezTo>
                      <a:pt x="408" y="1345"/>
                      <a:pt x="405" y="1347"/>
                      <a:pt x="407" y="1347"/>
                    </a:cubicBezTo>
                    <a:cubicBezTo>
                      <a:pt x="409" y="1348"/>
                      <a:pt x="420" y="1342"/>
                      <a:pt x="419" y="1349"/>
                    </a:cubicBezTo>
                    <a:cubicBezTo>
                      <a:pt x="419" y="1353"/>
                      <a:pt x="411" y="1347"/>
                      <a:pt x="411" y="1350"/>
                    </a:cubicBezTo>
                    <a:cubicBezTo>
                      <a:pt x="410" y="1351"/>
                      <a:pt x="415" y="1352"/>
                      <a:pt x="414" y="1357"/>
                    </a:cubicBezTo>
                    <a:cubicBezTo>
                      <a:pt x="414" y="1357"/>
                      <a:pt x="415" y="1359"/>
                      <a:pt x="414" y="1359"/>
                    </a:cubicBezTo>
                    <a:cubicBezTo>
                      <a:pt x="414" y="1359"/>
                      <a:pt x="407" y="1358"/>
                      <a:pt x="406" y="1358"/>
                    </a:cubicBezTo>
                    <a:cubicBezTo>
                      <a:pt x="405" y="1357"/>
                      <a:pt x="405" y="1353"/>
                      <a:pt x="402" y="1353"/>
                    </a:cubicBezTo>
                    <a:cubicBezTo>
                      <a:pt x="398" y="1353"/>
                      <a:pt x="398" y="1362"/>
                      <a:pt x="393" y="1361"/>
                    </a:cubicBezTo>
                    <a:cubicBezTo>
                      <a:pt x="393" y="1361"/>
                      <a:pt x="393" y="1361"/>
                      <a:pt x="393" y="1360"/>
                    </a:cubicBezTo>
                    <a:cubicBezTo>
                      <a:pt x="392" y="1358"/>
                      <a:pt x="394" y="1357"/>
                      <a:pt x="391" y="1357"/>
                    </a:cubicBezTo>
                    <a:cubicBezTo>
                      <a:pt x="390" y="1357"/>
                      <a:pt x="390" y="1357"/>
                      <a:pt x="389" y="1357"/>
                    </a:cubicBezTo>
                    <a:cubicBezTo>
                      <a:pt x="388" y="1356"/>
                      <a:pt x="387" y="1354"/>
                      <a:pt x="386" y="1354"/>
                    </a:cubicBezTo>
                    <a:cubicBezTo>
                      <a:pt x="383" y="1352"/>
                      <a:pt x="381" y="1356"/>
                      <a:pt x="378" y="1355"/>
                    </a:cubicBezTo>
                    <a:cubicBezTo>
                      <a:pt x="377" y="1355"/>
                      <a:pt x="374" y="1353"/>
                      <a:pt x="373" y="1353"/>
                    </a:cubicBezTo>
                    <a:close/>
                    <a:moveTo>
                      <a:pt x="308" y="1702"/>
                    </a:moveTo>
                    <a:cubicBezTo>
                      <a:pt x="306" y="1701"/>
                      <a:pt x="306" y="1701"/>
                      <a:pt x="306" y="1701"/>
                    </a:cubicBezTo>
                    <a:cubicBezTo>
                      <a:pt x="309" y="1702"/>
                      <a:pt x="310" y="1702"/>
                      <a:pt x="312" y="1702"/>
                    </a:cubicBezTo>
                    <a:cubicBezTo>
                      <a:pt x="314" y="1701"/>
                      <a:pt x="313" y="1702"/>
                      <a:pt x="314" y="1703"/>
                    </a:cubicBezTo>
                    <a:cubicBezTo>
                      <a:pt x="326" y="1710"/>
                      <a:pt x="336" y="1719"/>
                      <a:pt x="328" y="1726"/>
                    </a:cubicBezTo>
                    <a:cubicBezTo>
                      <a:pt x="327" y="1727"/>
                      <a:pt x="321" y="1729"/>
                      <a:pt x="320" y="1729"/>
                    </a:cubicBezTo>
                    <a:cubicBezTo>
                      <a:pt x="308" y="1731"/>
                      <a:pt x="313" y="1707"/>
                      <a:pt x="312" y="1707"/>
                    </a:cubicBezTo>
                    <a:cubicBezTo>
                      <a:pt x="311" y="1705"/>
                      <a:pt x="298" y="1699"/>
                      <a:pt x="308" y="1702"/>
                    </a:cubicBezTo>
                    <a:close/>
                    <a:moveTo>
                      <a:pt x="389" y="2269"/>
                    </a:moveTo>
                    <a:cubicBezTo>
                      <a:pt x="386" y="2270"/>
                      <a:pt x="384" y="2260"/>
                      <a:pt x="383" y="2259"/>
                    </a:cubicBezTo>
                    <a:cubicBezTo>
                      <a:pt x="381" y="2256"/>
                      <a:pt x="379" y="2260"/>
                      <a:pt x="376" y="2259"/>
                    </a:cubicBezTo>
                    <a:cubicBezTo>
                      <a:pt x="374" y="2259"/>
                      <a:pt x="374" y="2256"/>
                      <a:pt x="371" y="2256"/>
                    </a:cubicBezTo>
                    <a:cubicBezTo>
                      <a:pt x="368" y="2256"/>
                      <a:pt x="369" y="2257"/>
                      <a:pt x="367" y="2259"/>
                    </a:cubicBezTo>
                    <a:cubicBezTo>
                      <a:pt x="366" y="2260"/>
                      <a:pt x="363" y="2259"/>
                      <a:pt x="362" y="2260"/>
                    </a:cubicBezTo>
                    <a:cubicBezTo>
                      <a:pt x="362" y="2262"/>
                      <a:pt x="364" y="2262"/>
                      <a:pt x="364" y="2263"/>
                    </a:cubicBezTo>
                    <a:cubicBezTo>
                      <a:pt x="363" y="2264"/>
                      <a:pt x="359" y="2262"/>
                      <a:pt x="359" y="2265"/>
                    </a:cubicBezTo>
                    <a:cubicBezTo>
                      <a:pt x="359" y="2267"/>
                      <a:pt x="363" y="2269"/>
                      <a:pt x="362" y="2272"/>
                    </a:cubicBezTo>
                    <a:cubicBezTo>
                      <a:pt x="362" y="2272"/>
                      <a:pt x="363" y="2274"/>
                      <a:pt x="362" y="2273"/>
                    </a:cubicBezTo>
                    <a:cubicBezTo>
                      <a:pt x="361" y="2273"/>
                      <a:pt x="361" y="2271"/>
                      <a:pt x="360" y="2270"/>
                    </a:cubicBezTo>
                    <a:cubicBezTo>
                      <a:pt x="358" y="2269"/>
                      <a:pt x="355" y="2270"/>
                      <a:pt x="355" y="2269"/>
                    </a:cubicBezTo>
                    <a:cubicBezTo>
                      <a:pt x="354" y="2268"/>
                      <a:pt x="356" y="2268"/>
                      <a:pt x="355" y="2266"/>
                    </a:cubicBezTo>
                    <a:cubicBezTo>
                      <a:pt x="355" y="2266"/>
                      <a:pt x="355" y="2266"/>
                      <a:pt x="354" y="2266"/>
                    </a:cubicBezTo>
                    <a:cubicBezTo>
                      <a:pt x="351" y="2265"/>
                      <a:pt x="348" y="2269"/>
                      <a:pt x="346" y="2269"/>
                    </a:cubicBezTo>
                    <a:cubicBezTo>
                      <a:pt x="344" y="2269"/>
                      <a:pt x="345" y="2267"/>
                      <a:pt x="344" y="2267"/>
                    </a:cubicBezTo>
                    <a:cubicBezTo>
                      <a:pt x="341" y="2266"/>
                      <a:pt x="339" y="2267"/>
                      <a:pt x="336" y="2266"/>
                    </a:cubicBezTo>
                    <a:cubicBezTo>
                      <a:pt x="330" y="2265"/>
                      <a:pt x="327" y="2261"/>
                      <a:pt x="321" y="2260"/>
                    </a:cubicBezTo>
                    <a:cubicBezTo>
                      <a:pt x="319" y="2259"/>
                      <a:pt x="320" y="2258"/>
                      <a:pt x="319" y="2257"/>
                    </a:cubicBezTo>
                    <a:cubicBezTo>
                      <a:pt x="318" y="2256"/>
                      <a:pt x="317" y="2258"/>
                      <a:pt x="316" y="2258"/>
                    </a:cubicBezTo>
                    <a:cubicBezTo>
                      <a:pt x="314" y="2260"/>
                      <a:pt x="311" y="2259"/>
                      <a:pt x="308" y="2259"/>
                    </a:cubicBezTo>
                    <a:cubicBezTo>
                      <a:pt x="307" y="2259"/>
                      <a:pt x="311" y="2258"/>
                      <a:pt x="312" y="2257"/>
                    </a:cubicBezTo>
                    <a:cubicBezTo>
                      <a:pt x="314" y="2256"/>
                      <a:pt x="318" y="2254"/>
                      <a:pt x="319" y="2252"/>
                    </a:cubicBezTo>
                    <a:cubicBezTo>
                      <a:pt x="321" y="2250"/>
                      <a:pt x="324" y="2248"/>
                      <a:pt x="325" y="2246"/>
                    </a:cubicBezTo>
                    <a:cubicBezTo>
                      <a:pt x="325" y="2246"/>
                      <a:pt x="326" y="2243"/>
                      <a:pt x="326" y="2243"/>
                    </a:cubicBezTo>
                    <a:cubicBezTo>
                      <a:pt x="327" y="2242"/>
                      <a:pt x="328" y="2245"/>
                      <a:pt x="330" y="2244"/>
                    </a:cubicBezTo>
                    <a:cubicBezTo>
                      <a:pt x="333" y="2244"/>
                      <a:pt x="337" y="2242"/>
                      <a:pt x="340" y="2241"/>
                    </a:cubicBezTo>
                    <a:cubicBezTo>
                      <a:pt x="346" y="2238"/>
                      <a:pt x="349" y="2230"/>
                      <a:pt x="350" y="2225"/>
                    </a:cubicBezTo>
                    <a:cubicBezTo>
                      <a:pt x="350" y="2224"/>
                      <a:pt x="351" y="2216"/>
                      <a:pt x="351" y="2216"/>
                    </a:cubicBezTo>
                    <a:cubicBezTo>
                      <a:pt x="352" y="2216"/>
                      <a:pt x="352" y="2223"/>
                      <a:pt x="352" y="2224"/>
                    </a:cubicBezTo>
                    <a:cubicBezTo>
                      <a:pt x="352" y="2222"/>
                      <a:pt x="352" y="2222"/>
                      <a:pt x="352" y="2222"/>
                    </a:cubicBezTo>
                    <a:cubicBezTo>
                      <a:pt x="353" y="2233"/>
                      <a:pt x="356" y="2229"/>
                      <a:pt x="362" y="2229"/>
                    </a:cubicBezTo>
                    <a:cubicBezTo>
                      <a:pt x="364" y="2230"/>
                      <a:pt x="363" y="2231"/>
                      <a:pt x="364" y="2232"/>
                    </a:cubicBezTo>
                    <a:cubicBezTo>
                      <a:pt x="365" y="2233"/>
                      <a:pt x="368" y="2232"/>
                      <a:pt x="369" y="2232"/>
                    </a:cubicBezTo>
                    <a:cubicBezTo>
                      <a:pt x="376" y="2234"/>
                      <a:pt x="365" y="2236"/>
                      <a:pt x="371" y="2238"/>
                    </a:cubicBezTo>
                    <a:cubicBezTo>
                      <a:pt x="372" y="2238"/>
                      <a:pt x="374" y="2240"/>
                      <a:pt x="374" y="2240"/>
                    </a:cubicBezTo>
                    <a:cubicBezTo>
                      <a:pt x="375" y="2240"/>
                      <a:pt x="379" y="2232"/>
                      <a:pt x="380" y="2232"/>
                    </a:cubicBezTo>
                    <a:cubicBezTo>
                      <a:pt x="381" y="2233"/>
                      <a:pt x="380" y="2235"/>
                      <a:pt x="380" y="2236"/>
                    </a:cubicBezTo>
                    <a:cubicBezTo>
                      <a:pt x="381" y="2237"/>
                      <a:pt x="386" y="2236"/>
                      <a:pt x="383" y="2241"/>
                    </a:cubicBezTo>
                    <a:cubicBezTo>
                      <a:pt x="383" y="2241"/>
                      <a:pt x="383" y="2242"/>
                      <a:pt x="383" y="2242"/>
                    </a:cubicBezTo>
                    <a:cubicBezTo>
                      <a:pt x="382" y="2242"/>
                      <a:pt x="380" y="2237"/>
                      <a:pt x="379" y="2239"/>
                    </a:cubicBezTo>
                    <a:cubicBezTo>
                      <a:pt x="377" y="2242"/>
                      <a:pt x="387" y="2259"/>
                      <a:pt x="387" y="2263"/>
                    </a:cubicBezTo>
                    <a:cubicBezTo>
                      <a:pt x="387" y="2266"/>
                      <a:pt x="390" y="2268"/>
                      <a:pt x="389" y="2269"/>
                    </a:cubicBezTo>
                    <a:close/>
                    <a:moveTo>
                      <a:pt x="484" y="1939"/>
                    </a:moveTo>
                    <a:cubicBezTo>
                      <a:pt x="481" y="1940"/>
                      <a:pt x="483" y="1934"/>
                      <a:pt x="483" y="1933"/>
                    </a:cubicBezTo>
                    <a:cubicBezTo>
                      <a:pt x="482" y="1932"/>
                      <a:pt x="470" y="1926"/>
                      <a:pt x="469" y="1927"/>
                    </a:cubicBezTo>
                    <a:cubicBezTo>
                      <a:pt x="461" y="1933"/>
                      <a:pt x="475" y="1941"/>
                      <a:pt x="475" y="1947"/>
                    </a:cubicBezTo>
                    <a:cubicBezTo>
                      <a:pt x="475" y="1948"/>
                      <a:pt x="472" y="1955"/>
                      <a:pt x="470" y="1956"/>
                    </a:cubicBezTo>
                    <a:cubicBezTo>
                      <a:pt x="469" y="1956"/>
                      <a:pt x="465" y="1952"/>
                      <a:pt x="465" y="1954"/>
                    </a:cubicBezTo>
                    <a:cubicBezTo>
                      <a:pt x="464" y="1959"/>
                      <a:pt x="470" y="1962"/>
                      <a:pt x="469" y="1966"/>
                    </a:cubicBezTo>
                    <a:cubicBezTo>
                      <a:pt x="469" y="1980"/>
                      <a:pt x="453" y="1984"/>
                      <a:pt x="442" y="1986"/>
                    </a:cubicBezTo>
                    <a:cubicBezTo>
                      <a:pt x="439" y="1987"/>
                      <a:pt x="432" y="1984"/>
                      <a:pt x="431" y="1981"/>
                    </a:cubicBezTo>
                    <a:cubicBezTo>
                      <a:pt x="431" y="1979"/>
                      <a:pt x="431" y="1976"/>
                      <a:pt x="428" y="1975"/>
                    </a:cubicBezTo>
                    <a:cubicBezTo>
                      <a:pt x="427" y="1974"/>
                      <a:pt x="425" y="1976"/>
                      <a:pt x="423" y="1975"/>
                    </a:cubicBezTo>
                    <a:cubicBezTo>
                      <a:pt x="423" y="1975"/>
                      <a:pt x="423" y="1973"/>
                      <a:pt x="422" y="1973"/>
                    </a:cubicBezTo>
                    <a:cubicBezTo>
                      <a:pt x="421" y="1972"/>
                      <a:pt x="413" y="1970"/>
                      <a:pt x="412" y="1970"/>
                    </a:cubicBezTo>
                    <a:cubicBezTo>
                      <a:pt x="409" y="1970"/>
                      <a:pt x="407" y="1972"/>
                      <a:pt x="403" y="1972"/>
                    </a:cubicBezTo>
                    <a:cubicBezTo>
                      <a:pt x="402" y="1971"/>
                      <a:pt x="400" y="1970"/>
                      <a:pt x="399" y="1970"/>
                    </a:cubicBezTo>
                    <a:cubicBezTo>
                      <a:pt x="397" y="1970"/>
                      <a:pt x="396" y="1971"/>
                      <a:pt x="394" y="1970"/>
                    </a:cubicBezTo>
                    <a:cubicBezTo>
                      <a:pt x="393" y="1970"/>
                      <a:pt x="391" y="1968"/>
                      <a:pt x="390" y="1968"/>
                    </a:cubicBezTo>
                    <a:cubicBezTo>
                      <a:pt x="389" y="1968"/>
                      <a:pt x="389" y="1972"/>
                      <a:pt x="387" y="1973"/>
                    </a:cubicBezTo>
                    <a:cubicBezTo>
                      <a:pt x="384" y="1975"/>
                      <a:pt x="375" y="1981"/>
                      <a:pt x="375" y="1985"/>
                    </a:cubicBezTo>
                    <a:cubicBezTo>
                      <a:pt x="375" y="1988"/>
                      <a:pt x="380" y="1982"/>
                      <a:pt x="379" y="1986"/>
                    </a:cubicBezTo>
                    <a:cubicBezTo>
                      <a:pt x="378" y="1990"/>
                      <a:pt x="372" y="1992"/>
                      <a:pt x="372" y="1998"/>
                    </a:cubicBezTo>
                    <a:cubicBezTo>
                      <a:pt x="372" y="2004"/>
                      <a:pt x="381" y="2008"/>
                      <a:pt x="373" y="2015"/>
                    </a:cubicBezTo>
                    <a:cubicBezTo>
                      <a:pt x="370" y="2017"/>
                      <a:pt x="368" y="2018"/>
                      <a:pt x="365" y="2019"/>
                    </a:cubicBezTo>
                    <a:cubicBezTo>
                      <a:pt x="354" y="2021"/>
                      <a:pt x="361" y="2015"/>
                      <a:pt x="354" y="2014"/>
                    </a:cubicBezTo>
                    <a:cubicBezTo>
                      <a:pt x="343" y="2012"/>
                      <a:pt x="346" y="2021"/>
                      <a:pt x="331" y="2014"/>
                    </a:cubicBezTo>
                    <a:cubicBezTo>
                      <a:pt x="330" y="2014"/>
                      <a:pt x="329" y="2014"/>
                      <a:pt x="329" y="2014"/>
                    </a:cubicBezTo>
                    <a:cubicBezTo>
                      <a:pt x="327" y="2013"/>
                      <a:pt x="332" y="2011"/>
                      <a:pt x="332" y="2011"/>
                    </a:cubicBezTo>
                    <a:cubicBezTo>
                      <a:pt x="332" y="2011"/>
                      <a:pt x="338" y="2004"/>
                      <a:pt x="338" y="2004"/>
                    </a:cubicBezTo>
                    <a:cubicBezTo>
                      <a:pt x="342" y="1998"/>
                      <a:pt x="333" y="1999"/>
                      <a:pt x="332" y="1995"/>
                    </a:cubicBezTo>
                    <a:cubicBezTo>
                      <a:pt x="331" y="1992"/>
                      <a:pt x="337" y="1989"/>
                      <a:pt x="334" y="1985"/>
                    </a:cubicBezTo>
                    <a:cubicBezTo>
                      <a:pt x="331" y="1980"/>
                      <a:pt x="326" y="1980"/>
                      <a:pt x="322" y="1975"/>
                    </a:cubicBezTo>
                    <a:cubicBezTo>
                      <a:pt x="317" y="1968"/>
                      <a:pt x="316" y="1945"/>
                      <a:pt x="310" y="1939"/>
                    </a:cubicBezTo>
                    <a:cubicBezTo>
                      <a:pt x="307" y="1937"/>
                      <a:pt x="307" y="1945"/>
                      <a:pt x="304" y="1942"/>
                    </a:cubicBezTo>
                    <a:cubicBezTo>
                      <a:pt x="302" y="1940"/>
                      <a:pt x="304" y="1935"/>
                      <a:pt x="304" y="1933"/>
                    </a:cubicBezTo>
                    <a:cubicBezTo>
                      <a:pt x="304" y="1930"/>
                      <a:pt x="300" y="1931"/>
                      <a:pt x="299" y="1929"/>
                    </a:cubicBezTo>
                    <a:cubicBezTo>
                      <a:pt x="299" y="1926"/>
                      <a:pt x="300" y="1924"/>
                      <a:pt x="298" y="1922"/>
                    </a:cubicBezTo>
                    <a:cubicBezTo>
                      <a:pt x="295" y="1918"/>
                      <a:pt x="284" y="1919"/>
                      <a:pt x="282" y="1914"/>
                    </a:cubicBezTo>
                    <a:cubicBezTo>
                      <a:pt x="281" y="1911"/>
                      <a:pt x="283" y="1910"/>
                      <a:pt x="283" y="1908"/>
                    </a:cubicBezTo>
                    <a:cubicBezTo>
                      <a:pt x="282" y="1907"/>
                      <a:pt x="277" y="1900"/>
                      <a:pt x="280" y="1899"/>
                    </a:cubicBezTo>
                    <a:cubicBezTo>
                      <a:pt x="280" y="1899"/>
                      <a:pt x="281" y="1900"/>
                      <a:pt x="282" y="1899"/>
                    </a:cubicBezTo>
                    <a:cubicBezTo>
                      <a:pt x="283" y="1899"/>
                      <a:pt x="283" y="1889"/>
                      <a:pt x="283" y="1888"/>
                    </a:cubicBezTo>
                    <a:cubicBezTo>
                      <a:pt x="282" y="1883"/>
                      <a:pt x="275" y="1882"/>
                      <a:pt x="274" y="1880"/>
                    </a:cubicBezTo>
                    <a:cubicBezTo>
                      <a:pt x="273" y="1878"/>
                      <a:pt x="277" y="1879"/>
                      <a:pt x="277" y="1878"/>
                    </a:cubicBezTo>
                    <a:cubicBezTo>
                      <a:pt x="277" y="1877"/>
                      <a:pt x="275" y="1876"/>
                      <a:pt x="275" y="1875"/>
                    </a:cubicBezTo>
                    <a:cubicBezTo>
                      <a:pt x="273" y="1873"/>
                      <a:pt x="270" y="1868"/>
                      <a:pt x="268" y="1866"/>
                    </a:cubicBezTo>
                    <a:cubicBezTo>
                      <a:pt x="266" y="1865"/>
                      <a:pt x="264" y="1864"/>
                      <a:pt x="262" y="1863"/>
                    </a:cubicBezTo>
                    <a:cubicBezTo>
                      <a:pt x="260" y="1861"/>
                      <a:pt x="260" y="1859"/>
                      <a:pt x="258" y="1857"/>
                    </a:cubicBezTo>
                    <a:cubicBezTo>
                      <a:pt x="257" y="1855"/>
                      <a:pt x="237" y="1843"/>
                      <a:pt x="234" y="1841"/>
                    </a:cubicBezTo>
                    <a:cubicBezTo>
                      <a:pt x="231" y="1840"/>
                      <a:pt x="218" y="1833"/>
                      <a:pt x="217" y="1829"/>
                    </a:cubicBezTo>
                    <a:cubicBezTo>
                      <a:pt x="217" y="1828"/>
                      <a:pt x="220" y="1829"/>
                      <a:pt x="220" y="1829"/>
                    </a:cubicBezTo>
                    <a:cubicBezTo>
                      <a:pt x="221" y="1830"/>
                      <a:pt x="223" y="1831"/>
                      <a:pt x="224" y="1832"/>
                    </a:cubicBezTo>
                    <a:cubicBezTo>
                      <a:pt x="226" y="1832"/>
                      <a:pt x="227" y="1831"/>
                      <a:pt x="228" y="1832"/>
                    </a:cubicBezTo>
                    <a:cubicBezTo>
                      <a:pt x="229" y="1832"/>
                      <a:pt x="230" y="1837"/>
                      <a:pt x="235" y="1839"/>
                    </a:cubicBezTo>
                    <a:cubicBezTo>
                      <a:pt x="235" y="1839"/>
                      <a:pt x="237" y="1840"/>
                      <a:pt x="237" y="1839"/>
                    </a:cubicBezTo>
                    <a:cubicBezTo>
                      <a:pt x="240" y="1838"/>
                      <a:pt x="235" y="1832"/>
                      <a:pt x="234" y="1831"/>
                    </a:cubicBezTo>
                    <a:cubicBezTo>
                      <a:pt x="232" y="1828"/>
                      <a:pt x="227" y="1831"/>
                      <a:pt x="225" y="1828"/>
                    </a:cubicBezTo>
                    <a:cubicBezTo>
                      <a:pt x="223" y="1826"/>
                      <a:pt x="229" y="1828"/>
                      <a:pt x="227" y="1826"/>
                    </a:cubicBezTo>
                    <a:cubicBezTo>
                      <a:pt x="227" y="1826"/>
                      <a:pt x="220" y="1824"/>
                      <a:pt x="221" y="1823"/>
                    </a:cubicBezTo>
                    <a:cubicBezTo>
                      <a:pt x="223" y="1821"/>
                      <a:pt x="224" y="1823"/>
                      <a:pt x="225" y="1819"/>
                    </a:cubicBezTo>
                    <a:cubicBezTo>
                      <a:pt x="225" y="1818"/>
                      <a:pt x="225" y="1817"/>
                      <a:pt x="226" y="1817"/>
                    </a:cubicBezTo>
                    <a:cubicBezTo>
                      <a:pt x="228" y="1816"/>
                      <a:pt x="239" y="1828"/>
                      <a:pt x="241" y="1828"/>
                    </a:cubicBezTo>
                    <a:cubicBezTo>
                      <a:pt x="243" y="1828"/>
                      <a:pt x="241" y="1825"/>
                      <a:pt x="243" y="1824"/>
                    </a:cubicBezTo>
                    <a:cubicBezTo>
                      <a:pt x="243" y="1824"/>
                      <a:pt x="245" y="1825"/>
                      <a:pt x="245" y="1824"/>
                    </a:cubicBezTo>
                    <a:cubicBezTo>
                      <a:pt x="245" y="1824"/>
                      <a:pt x="238" y="1818"/>
                      <a:pt x="245" y="1816"/>
                    </a:cubicBezTo>
                    <a:cubicBezTo>
                      <a:pt x="247" y="1815"/>
                      <a:pt x="256" y="1821"/>
                      <a:pt x="259" y="1816"/>
                    </a:cubicBezTo>
                    <a:cubicBezTo>
                      <a:pt x="260" y="1813"/>
                      <a:pt x="252" y="1815"/>
                      <a:pt x="252" y="1813"/>
                    </a:cubicBezTo>
                    <a:cubicBezTo>
                      <a:pt x="252" y="1812"/>
                      <a:pt x="260" y="1813"/>
                      <a:pt x="256" y="1810"/>
                    </a:cubicBezTo>
                    <a:cubicBezTo>
                      <a:pt x="255" y="1809"/>
                      <a:pt x="247" y="1811"/>
                      <a:pt x="248" y="1809"/>
                    </a:cubicBezTo>
                    <a:cubicBezTo>
                      <a:pt x="249" y="1807"/>
                      <a:pt x="253" y="1806"/>
                      <a:pt x="255" y="1804"/>
                    </a:cubicBezTo>
                    <a:cubicBezTo>
                      <a:pt x="255" y="1804"/>
                      <a:pt x="254" y="1795"/>
                      <a:pt x="258" y="1795"/>
                    </a:cubicBezTo>
                    <a:cubicBezTo>
                      <a:pt x="259" y="1794"/>
                      <a:pt x="267" y="1800"/>
                      <a:pt x="267" y="1796"/>
                    </a:cubicBezTo>
                    <a:cubicBezTo>
                      <a:pt x="267" y="1792"/>
                      <a:pt x="252" y="1795"/>
                      <a:pt x="256" y="1785"/>
                    </a:cubicBezTo>
                    <a:cubicBezTo>
                      <a:pt x="256" y="1784"/>
                      <a:pt x="258" y="1786"/>
                      <a:pt x="258" y="1786"/>
                    </a:cubicBezTo>
                    <a:cubicBezTo>
                      <a:pt x="260" y="1787"/>
                      <a:pt x="262" y="1785"/>
                      <a:pt x="264" y="1786"/>
                    </a:cubicBezTo>
                    <a:cubicBezTo>
                      <a:pt x="268" y="1787"/>
                      <a:pt x="274" y="1793"/>
                      <a:pt x="278" y="1791"/>
                    </a:cubicBezTo>
                    <a:cubicBezTo>
                      <a:pt x="280" y="1790"/>
                      <a:pt x="275" y="1784"/>
                      <a:pt x="276" y="1784"/>
                    </a:cubicBezTo>
                    <a:cubicBezTo>
                      <a:pt x="278" y="1783"/>
                      <a:pt x="279" y="1786"/>
                      <a:pt x="281" y="1786"/>
                    </a:cubicBezTo>
                    <a:cubicBezTo>
                      <a:pt x="283" y="1786"/>
                      <a:pt x="285" y="1784"/>
                      <a:pt x="286" y="1783"/>
                    </a:cubicBezTo>
                    <a:cubicBezTo>
                      <a:pt x="287" y="1783"/>
                      <a:pt x="292" y="1783"/>
                      <a:pt x="293" y="1782"/>
                    </a:cubicBezTo>
                    <a:cubicBezTo>
                      <a:pt x="294" y="1779"/>
                      <a:pt x="283" y="1778"/>
                      <a:pt x="285" y="1774"/>
                    </a:cubicBezTo>
                    <a:cubicBezTo>
                      <a:pt x="286" y="1772"/>
                      <a:pt x="287" y="1774"/>
                      <a:pt x="289" y="1773"/>
                    </a:cubicBezTo>
                    <a:cubicBezTo>
                      <a:pt x="290" y="1773"/>
                      <a:pt x="289" y="1771"/>
                      <a:pt x="290" y="1770"/>
                    </a:cubicBezTo>
                    <a:cubicBezTo>
                      <a:pt x="294" y="1767"/>
                      <a:pt x="295" y="1763"/>
                      <a:pt x="298" y="1759"/>
                    </a:cubicBezTo>
                    <a:cubicBezTo>
                      <a:pt x="299" y="1757"/>
                      <a:pt x="302" y="1757"/>
                      <a:pt x="303" y="1756"/>
                    </a:cubicBezTo>
                    <a:cubicBezTo>
                      <a:pt x="304" y="1755"/>
                      <a:pt x="302" y="1753"/>
                      <a:pt x="303" y="1753"/>
                    </a:cubicBezTo>
                    <a:cubicBezTo>
                      <a:pt x="303" y="1752"/>
                      <a:pt x="310" y="1748"/>
                      <a:pt x="310" y="1748"/>
                    </a:cubicBezTo>
                    <a:cubicBezTo>
                      <a:pt x="311" y="1748"/>
                      <a:pt x="310" y="1750"/>
                      <a:pt x="312" y="1750"/>
                    </a:cubicBezTo>
                    <a:cubicBezTo>
                      <a:pt x="313" y="1750"/>
                      <a:pt x="316" y="1751"/>
                      <a:pt x="316" y="1751"/>
                    </a:cubicBezTo>
                    <a:cubicBezTo>
                      <a:pt x="316" y="1752"/>
                      <a:pt x="312" y="1753"/>
                      <a:pt x="312" y="1754"/>
                    </a:cubicBezTo>
                    <a:cubicBezTo>
                      <a:pt x="313" y="1755"/>
                      <a:pt x="318" y="1754"/>
                      <a:pt x="320" y="1755"/>
                    </a:cubicBezTo>
                    <a:cubicBezTo>
                      <a:pt x="318" y="1754"/>
                      <a:pt x="318" y="1754"/>
                      <a:pt x="318" y="1754"/>
                    </a:cubicBezTo>
                    <a:cubicBezTo>
                      <a:pt x="321" y="1755"/>
                      <a:pt x="328" y="1756"/>
                      <a:pt x="330" y="1759"/>
                    </a:cubicBezTo>
                    <a:cubicBezTo>
                      <a:pt x="333" y="1763"/>
                      <a:pt x="326" y="1770"/>
                      <a:pt x="334" y="1772"/>
                    </a:cubicBezTo>
                    <a:cubicBezTo>
                      <a:pt x="343" y="1775"/>
                      <a:pt x="335" y="1767"/>
                      <a:pt x="340" y="1768"/>
                    </a:cubicBezTo>
                    <a:cubicBezTo>
                      <a:pt x="342" y="1768"/>
                      <a:pt x="342" y="1770"/>
                      <a:pt x="344" y="1770"/>
                    </a:cubicBezTo>
                    <a:cubicBezTo>
                      <a:pt x="346" y="1769"/>
                      <a:pt x="343" y="1765"/>
                      <a:pt x="346" y="1765"/>
                    </a:cubicBezTo>
                    <a:cubicBezTo>
                      <a:pt x="349" y="1765"/>
                      <a:pt x="348" y="1774"/>
                      <a:pt x="352" y="1775"/>
                    </a:cubicBezTo>
                    <a:cubicBezTo>
                      <a:pt x="354" y="1775"/>
                      <a:pt x="353" y="1769"/>
                      <a:pt x="354" y="1768"/>
                    </a:cubicBezTo>
                    <a:cubicBezTo>
                      <a:pt x="354" y="1768"/>
                      <a:pt x="355" y="1770"/>
                      <a:pt x="358" y="1770"/>
                    </a:cubicBezTo>
                    <a:cubicBezTo>
                      <a:pt x="358" y="1770"/>
                      <a:pt x="360" y="1774"/>
                      <a:pt x="360" y="1774"/>
                    </a:cubicBezTo>
                    <a:cubicBezTo>
                      <a:pt x="364" y="1778"/>
                      <a:pt x="368" y="1782"/>
                      <a:pt x="372" y="1786"/>
                    </a:cubicBezTo>
                    <a:cubicBezTo>
                      <a:pt x="372" y="1786"/>
                      <a:pt x="373" y="1786"/>
                      <a:pt x="373" y="1787"/>
                    </a:cubicBezTo>
                    <a:cubicBezTo>
                      <a:pt x="374" y="1788"/>
                      <a:pt x="372" y="1790"/>
                      <a:pt x="373" y="1791"/>
                    </a:cubicBezTo>
                    <a:cubicBezTo>
                      <a:pt x="374" y="1794"/>
                      <a:pt x="375" y="1795"/>
                      <a:pt x="376" y="1798"/>
                    </a:cubicBezTo>
                    <a:cubicBezTo>
                      <a:pt x="376" y="1799"/>
                      <a:pt x="382" y="1804"/>
                      <a:pt x="383" y="1804"/>
                    </a:cubicBezTo>
                    <a:cubicBezTo>
                      <a:pt x="386" y="1801"/>
                      <a:pt x="372" y="1793"/>
                      <a:pt x="378" y="1791"/>
                    </a:cubicBezTo>
                    <a:cubicBezTo>
                      <a:pt x="380" y="1790"/>
                      <a:pt x="386" y="1801"/>
                      <a:pt x="387" y="1803"/>
                    </a:cubicBezTo>
                    <a:cubicBezTo>
                      <a:pt x="391" y="1807"/>
                      <a:pt x="397" y="1806"/>
                      <a:pt x="401" y="1809"/>
                    </a:cubicBezTo>
                    <a:cubicBezTo>
                      <a:pt x="403" y="1811"/>
                      <a:pt x="402" y="1813"/>
                      <a:pt x="404" y="1815"/>
                    </a:cubicBezTo>
                    <a:cubicBezTo>
                      <a:pt x="406" y="1818"/>
                      <a:pt x="442" y="1832"/>
                      <a:pt x="449" y="1835"/>
                    </a:cubicBezTo>
                    <a:cubicBezTo>
                      <a:pt x="454" y="1838"/>
                      <a:pt x="464" y="1846"/>
                      <a:pt x="466" y="1852"/>
                    </a:cubicBezTo>
                    <a:cubicBezTo>
                      <a:pt x="467" y="1854"/>
                      <a:pt x="464" y="1862"/>
                      <a:pt x="465" y="1862"/>
                    </a:cubicBezTo>
                    <a:cubicBezTo>
                      <a:pt x="466" y="1864"/>
                      <a:pt x="468" y="1861"/>
                      <a:pt x="469" y="1861"/>
                    </a:cubicBezTo>
                    <a:cubicBezTo>
                      <a:pt x="471" y="1862"/>
                      <a:pt x="470" y="1865"/>
                      <a:pt x="470" y="1866"/>
                    </a:cubicBezTo>
                    <a:cubicBezTo>
                      <a:pt x="471" y="1868"/>
                      <a:pt x="474" y="1870"/>
                      <a:pt x="475" y="1872"/>
                    </a:cubicBezTo>
                    <a:cubicBezTo>
                      <a:pt x="478" y="1876"/>
                      <a:pt x="485" y="1879"/>
                      <a:pt x="486" y="1883"/>
                    </a:cubicBezTo>
                    <a:cubicBezTo>
                      <a:pt x="488" y="1889"/>
                      <a:pt x="484" y="1894"/>
                      <a:pt x="485" y="1900"/>
                    </a:cubicBezTo>
                    <a:cubicBezTo>
                      <a:pt x="486" y="1906"/>
                      <a:pt x="496" y="1904"/>
                      <a:pt x="499" y="1910"/>
                    </a:cubicBezTo>
                    <a:cubicBezTo>
                      <a:pt x="501" y="1916"/>
                      <a:pt x="489" y="1929"/>
                      <a:pt x="486" y="1933"/>
                    </a:cubicBezTo>
                    <a:cubicBezTo>
                      <a:pt x="485" y="1934"/>
                      <a:pt x="485" y="1939"/>
                      <a:pt x="484" y="1939"/>
                    </a:cubicBezTo>
                    <a:close/>
                    <a:moveTo>
                      <a:pt x="515" y="2405"/>
                    </a:moveTo>
                    <a:cubicBezTo>
                      <a:pt x="511" y="2406"/>
                      <a:pt x="509" y="2412"/>
                      <a:pt x="508" y="2411"/>
                    </a:cubicBezTo>
                    <a:cubicBezTo>
                      <a:pt x="501" y="2407"/>
                      <a:pt x="519" y="2397"/>
                      <a:pt x="508" y="2391"/>
                    </a:cubicBezTo>
                    <a:cubicBezTo>
                      <a:pt x="504" y="2389"/>
                      <a:pt x="485" y="2389"/>
                      <a:pt x="484" y="2389"/>
                    </a:cubicBezTo>
                    <a:cubicBezTo>
                      <a:pt x="482" y="2384"/>
                      <a:pt x="510" y="2383"/>
                      <a:pt x="512" y="2382"/>
                    </a:cubicBezTo>
                    <a:cubicBezTo>
                      <a:pt x="515" y="2380"/>
                      <a:pt x="513" y="2378"/>
                      <a:pt x="517" y="2379"/>
                    </a:cubicBezTo>
                    <a:cubicBezTo>
                      <a:pt x="517" y="2380"/>
                      <a:pt x="517" y="2380"/>
                      <a:pt x="517" y="2380"/>
                    </a:cubicBezTo>
                    <a:cubicBezTo>
                      <a:pt x="518" y="2381"/>
                      <a:pt x="524" y="2384"/>
                      <a:pt x="524" y="2384"/>
                    </a:cubicBezTo>
                    <a:cubicBezTo>
                      <a:pt x="508" y="2387"/>
                      <a:pt x="538" y="2404"/>
                      <a:pt x="515" y="2405"/>
                    </a:cubicBezTo>
                    <a:close/>
                    <a:moveTo>
                      <a:pt x="536" y="1725"/>
                    </a:moveTo>
                    <a:cubicBezTo>
                      <a:pt x="534" y="1726"/>
                      <a:pt x="536" y="1728"/>
                      <a:pt x="535" y="1729"/>
                    </a:cubicBezTo>
                    <a:cubicBezTo>
                      <a:pt x="535" y="1729"/>
                      <a:pt x="530" y="1732"/>
                      <a:pt x="529" y="1732"/>
                    </a:cubicBezTo>
                    <a:cubicBezTo>
                      <a:pt x="528" y="1733"/>
                      <a:pt x="525" y="1730"/>
                      <a:pt x="524" y="1731"/>
                    </a:cubicBezTo>
                    <a:cubicBezTo>
                      <a:pt x="523" y="1732"/>
                      <a:pt x="526" y="1734"/>
                      <a:pt x="525" y="1736"/>
                    </a:cubicBezTo>
                    <a:cubicBezTo>
                      <a:pt x="524" y="1737"/>
                      <a:pt x="518" y="1737"/>
                      <a:pt x="517" y="1737"/>
                    </a:cubicBezTo>
                    <a:cubicBezTo>
                      <a:pt x="515" y="1736"/>
                      <a:pt x="518" y="1735"/>
                      <a:pt x="518" y="1734"/>
                    </a:cubicBezTo>
                    <a:cubicBezTo>
                      <a:pt x="517" y="1733"/>
                      <a:pt x="515" y="1734"/>
                      <a:pt x="515" y="1733"/>
                    </a:cubicBezTo>
                    <a:cubicBezTo>
                      <a:pt x="514" y="1733"/>
                      <a:pt x="515" y="1731"/>
                      <a:pt x="515" y="1731"/>
                    </a:cubicBezTo>
                    <a:cubicBezTo>
                      <a:pt x="514" y="1730"/>
                      <a:pt x="513" y="1731"/>
                      <a:pt x="512" y="1731"/>
                    </a:cubicBezTo>
                    <a:cubicBezTo>
                      <a:pt x="511" y="1731"/>
                      <a:pt x="512" y="1729"/>
                      <a:pt x="510" y="1729"/>
                    </a:cubicBezTo>
                    <a:cubicBezTo>
                      <a:pt x="509" y="1728"/>
                      <a:pt x="508" y="1729"/>
                      <a:pt x="506" y="1729"/>
                    </a:cubicBezTo>
                    <a:cubicBezTo>
                      <a:pt x="504" y="1728"/>
                      <a:pt x="507" y="1727"/>
                      <a:pt x="506" y="1726"/>
                    </a:cubicBezTo>
                    <a:cubicBezTo>
                      <a:pt x="504" y="1725"/>
                      <a:pt x="503" y="1726"/>
                      <a:pt x="501" y="1725"/>
                    </a:cubicBezTo>
                    <a:cubicBezTo>
                      <a:pt x="499" y="1723"/>
                      <a:pt x="502" y="1721"/>
                      <a:pt x="502" y="1720"/>
                    </a:cubicBezTo>
                    <a:cubicBezTo>
                      <a:pt x="502" y="1717"/>
                      <a:pt x="498" y="1721"/>
                      <a:pt x="498" y="1718"/>
                    </a:cubicBezTo>
                    <a:cubicBezTo>
                      <a:pt x="498" y="1714"/>
                      <a:pt x="502" y="1705"/>
                      <a:pt x="507" y="1709"/>
                    </a:cubicBezTo>
                    <a:cubicBezTo>
                      <a:pt x="508" y="1709"/>
                      <a:pt x="507" y="1713"/>
                      <a:pt x="508" y="1713"/>
                    </a:cubicBezTo>
                    <a:cubicBezTo>
                      <a:pt x="509" y="1713"/>
                      <a:pt x="512" y="1709"/>
                      <a:pt x="515" y="1709"/>
                    </a:cubicBezTo>
                    <a:cubicBezTo>
                      <a:pt x="519" y="1710"/>
                      <a:pt x="515" y="1714"/>
                      <a:pt x="514" y="1715"/>
                    </a:cubicBezTo>
                    <a:cubicBezTo>
                      <a:pt x="514" y="1716"/>
                      <a:pt x="514" y="1716"/>
                      <a:pt x="514" y="1716"/>
                    </a:cubicBezTo>
                    <a:cubicBezTo>
                      <a:pt x="518" y="1721"/>
                      <a:pt x="522" y="1717"/>
                      <a:pt x="527" y="1719"/>
                    </a:cubicBezTo>
                    <a:cubicBezTo>
                      <a:pt x="528" y="1719"/>
                      <a:pt x="529" y="1722"/>
                      <a:pt x="531" y="1722"/>
                    </a:cubicBezTo>
                    <a:cubicBezTo>
                      <a:pt x="532" y="1722"/>
                      <a:pt x="533" y="1721"/>
                      <a:pt x="534" y="1720"/>
                    </a:cubicBezTo>
                    <a:cubicBezTo>
                      <a:pt x="535" y="1720"/>
                      <a:pt x="541" y="1721"/>
                      <a:pt x="540" y="1723"/>
                    </a:cubicBezTo>
                    <a:cubicBezTo>
                      <a:pt x="540" y="1725"/>
                      <a:pt x="538" y="1725"/>
                      <a:pt x="536" y="1725"/>
                    </a:cubicBezTo>
                    <a:close/>
                    <a:moveTo>
                      <a:pt x="577" y="1540"/>
                    </a:moveTo>
                    <a:cubicBezTo>
                      <a:pt x="576" y="1541"/>
                      <a:pt x="578" y="1544"/>
                      <a:pt x="575" y="1544"/>
                    </a:cubicBezTo>
                    <a:cubicBezTo>
                      <a:pt x="572" y="1544"/>
                      <a:pt x="568" y="1538"/>
                      <a:pt x="564" y="1538"/>
                    </a:cubicBezTo>
                    <a:cubicBezTo>
                      <a:pt x="563" y="1538"/>
                      <a:pt x="556" y="1538"/>
                      <a:pt x="555" y="1539"/>
                    </a:cubicBezTo>
                    <a:cubicBezTo>
                      <a:pt x="554" y="1540"/>
                      <a:pt x="555" y="1541"/>
                      <a:pt x="553" y="1541"/>
                    </a:cubicBezTo>
                    <a:cubicBezTo>
                      <a:pt x="552" y="1541"/>
                      <a:pt x="551" y="1540"/>
                      <a:pt x="550" y="1540"/>
                    </a:cubicBezTo>
                    <a:cubicBezTo>
                      <a:pt x="548" y="1539"/>
                      <a:pt x="544" y="1540"/>
                      <a:pt x="542" y="1539"/>
                    </a:cubicBezTo>
                    <a:cubicBezTo>
                      <a:pt x="541" y="1538"/>
                      <a:pt x="541" y="1532"/>
                      <a:pt x="540" y="1531"/>
                    </a:cubicBezTo>
                    <a:cubicBezTo>
                      <a:pt x="537" y="1525"/>
                      <a:pt x="535" y="1532"/>
                      <a:pt x="533" y="1532"/>
                    </a:cubicBezTo>
                    <a:cubicBezTo>
                      <a:pt x="532" y="1532"/>
                      <a:pt x="534" y="1527"/>
                      <a:pt x="533" y="1526"/>
                    </a:cubicBezTo>
                    <a:cubicBezTo>
                      <a:pt x="532" y="1525"/>
                      <a:pt x="527" y="1525"/>
                      <a:pt x="526" y="1523"/>
                    </a:cubicBezTo>
                    <a:cubicBezTo>
                      <a:pt x="526" y="1521"/>
                      <a:pt x="530" y="1522"/>
                      <a:pt x="529" y="1519"/>
                    </a:cubicBezTo>
                    <a:cubicBezTo>
                      <a:pt x="529" y="1517"/>
                      <a:pt x="526" y="1519"/>
                      <a:pt x="525" y="1517"/>
                    </a:cubicBezTo>
                    <a:cubicBezTo>
                      <a:pt x="523" y="1513"/>
                      <a:pt x="525" y="1511"/>
                      <a:pt x="529" y="1514"/>
                    </a:cubicBezTo>
                    <a:cubicBezTo>
                      <a:pt x="531" y="1517"/>
                      <a:pt x="539" y="1530"/>
                      <a:pt x="542" y="1528"/>
                    </a:cubicBezTo>
                    <a:cubicBezTo>
                      <a:pt x="547" y="1525"/>
                      <a:pt x="540" y="1520"/>
                      <a:pt x="539" y="1518"/>
                    </a:cubicBezTo>
                    <a:cubicBezTo>
                      <a:pt x="538" y="1516"/>
                      <a:pt x="540" y="1513"/>
                      <a:pt x="539" y="1512"/>
                    </a:cubicBezTo>
                    <a:cubicBezTo>
                      <a:pt x="536" y="1506"/>
                      <a:pt x="522" y="1513"/>
                      <a:pt x="520" y="1504"/>
                    </a:cubicBezTo>
                    <a:cubicBezTo>
                      <a:pt x="520" y="1503"/>
                      <a:pt x="524" y="1508"/>
                      <a:pt x="525" y="1507"/>
                    </a:cubicBezTo>
                    <a:cubicBezTo>
                      <a:pt x="529" y="1507"/>
                      <a:pt x="530" y="1504"/>
                      <a:pt x="532" y="1504"/>
                    </a:cubicBezTo>
                    <a:cubicBezTo>
                      <a:pt x="534" y="1503"/>
                      <a:pt x="532" y="1506"/>
                      <a:pt x="535" y="1505"/>
                    </a:cubicBezTo>
                    <a:cubicBezTo>
                      <a:pt x="537" y="1505"/>
                      <a:pt x="542" y="1506"/>
                      <a:pt x="543" y="1506"/>
                    </a:cubicBezTo>
                    <a:cubicBezTo>
                      <a:pt x="547" y="1504"/>
                      <a:pt x="546" y="1496"/>
                      <a:pt x="547" y="1495"/>
                    </a:cubicBezTo>
                    <a:cubicBezTo>
                      <a:pt x="551" y="1493"/>
                      <a:pt x="553" y="1502"/>
                      <a:pt x="556" y="1502"/>
                    </a:cubicBezTo>
                    <a:cubicBezTo>
                      <a:pt x="559" y="1502"/>
                      <a:pt x="556" y="1495"/>
                      <a:pt x="556" y="1494"/>
                    </a:cubicBezTo>
                    <a:cubicBezTo>
                      <a:pt x="552" y="1487"/>
                      <a:pt x="558" y="1492"/>
                      <a:pt x="560" y="1495"/>
                    </a:cubicBezTo>
                    <a:cubicBezTo>
                      <a:pt x="560" y="1495"/>
                      <a:pt x="560" y="1495"/>
                      <a:pt x="560" y="1495"/>
                    </a:cubicBezTo>
                    <a:cubicBezTo>
                      <a:pt x="561" y="1496"/>
                      <a:pt x="561" y="1496"/>
                      <a:pt x="561" y="1496"/>
                    </a:cubicBezTo>
                    <a:cubicBezTo>
                      <a:pt x="561" y="1496"/>
                      <a:pt x="560" y="1496"/>
                      <a:pt x="560" y="1495"/>
                    </a:cubicBezTo>
                    <a:cubicBezTo>
                      <a:pt x="565" y="1503"/>
                      <a:pt x="558" y="1506"/>
                      <a:pt x="562" y="1508"/>
                    </a:cubicBezTo>
                    <a:cubicBezTo>
                      <a:pt x="564" y="1509"/>
                      <a:pt x="565" y="1507"/>
                      <a:pt x="567" y="1507"/>
                    </a:cubicBezTo>
                    <a:cubicBezTo>
                      <a:pt x="568" y="1507"/>
                      <a:pt x="572" y="1510"/>
                      <a:pt x="574" y="1509"/>
                    </a:cubicBezTo>
                    <a:cubicBezTo>
                      <a:pt x="575" y="1509"/>
                      <a:pt x="574" y="1506"/>
                      <a:pt x="574" y="1505"/>
                    </a:cubicBezTo>
                    <a:cubicBezTo>
                      <a:pt x="574" y="1505"/>
                      <a:pt x="579" y="1503"/>
                      <a:pt x="580" y="1503"/>
                    </a:cubicBezTo>
                    <a:cubicBezTo>
                      <a:pt x="580" y="1502"/>
                      <a:pt x="582" y="1508"/>
                      <a:pt x="585" y="1507"/>
                    </a:cubicBezTo>
                    <a:cubicBezTo>
                      <a:pt x="587" y="1507"/>
                      <a:pt x="586" y="1506"/>
                      <a:pt x="586" y="1505"/>
                    </a:cubicBezTo>
                    <a:cubicBezTo>
                      <a:pt x="587" y="1504"/>
                      <a:pt x="591" y="1506"/>
                      <a:pt x="591" y="1507"/>
                    </a:cubicBezTo>
                    <a:cubicBezTo>
                      <a:pt x="592" y="1509"/>
                      <a:pt x="583" y="1514"/>
                      <a:pt x="585" y="1520"/>
                    </a:cubicBezTo>
                    <a:cubicBezTo>
                      <a:pt x="587" y="1527"/>
                      <a:pt x="597" y="1527"/>
                      <a:pt x="601" y="1531"/>
                    </a:cubicBezTo>
                    <a:cubicBezTo>
                      <a:pt x="603" y="1532"/>
                      <a:pt x="602" y="1535"/>
                      <a:pt x="603" y="1536"/>
                    </a:cubicBezTo>
                    <a:cubicBezTo>
                      <a:pt x="604" y="1536"/>
                      <a:pt x="611" y="1538"/>
                      <a:pt x="609" y="1540"/>
                    </a:cubicBezTo>
                    <a:cubicBezTo>
                      <a:pt x="608" y="1541"/>
                      <a:pt x="606" y="1539"/>
                      <a:pt x="606" y="1539"/>
                    </a:cubicBezTo>
                    <a:cubicBezTo>
                      <a:pt x="605" y="1540"/>
                      <a:pt x="607" y="1542"/>
                      <a:pt x="605" y="1542"/>
                    </a:cubicBezTo>
                    <a:cubicBezTo>
                      <a:pt x="603" y="1542"/>
                      <a:pt x="603" y="1538"/>
                      <a:pt x="601" y="1537"/>
                    </a:cubicBezTo>
                    <a:cubicBezTo>
                      <a:pt x="599" y="1537"/>
                      <a:pt x="598" y="1539"/>
                      <a:pt x="597" y="1538"/>
                    </a:cubicBezTo>
                    <a:cubicBezTo>
                      <a:pt x="595" y="1538"/>
                      <a:pt x="591" y="1535"/>
                      <a:pt x="589" y="1537"/>
                    </a:cubicBezTo>
                    <a:cubicBezTo>
                      <a:pt x="588" y="1537"/>
                      <a:pt x="589" y="1541"/>
                      <a:pt x="587" y="1542"/>
                    </a:cubicBezTo>
                    <a:cubicBezTo>
                      <a:pt x="587" y="1542"/>
                      <a:pt x="579" y="1539"/>
                      <a:pt x="577" y="1540"/>
                    </a:cubicBezTo>
                    <a:close/>
                    <a:moveTo>
                      <a:pt x="811" y="1836"/>
                    </a:moveTo>
                    <a:cubicBezTo>
                      <a:pt x="809" y="1838"/>
                      <a:pt x="806" y="1835"/>
                      <a:pt x="805" y="1836"/>
                    </a:cubicBezTo>
                    <a:cubicBezTo>
                      <a:pt x="801" y="1838"/>
                      <a:pt x="796" y="1850"/>
                      <a:pt x="788" y="1851"/>
                    </a:cubicBezTo>
                    <a:cubicBezTo>
                      <a:pt x="783" y="1852"/>
                      <a:pt x="782" y="1847"/>
                      <a:pt x="779" y="1848"/>
                    </a:cubicBezTo>
                    <a:cubicBezTo>
                      <a:pt x="777" y="1849"/>
                      <a:pt x="774" y="1859"/>
                      <a:pt x="771" y="1863"/>
                    </a:cubicBezTo>
                    <a:cubicBezTo>
                      <a:pt x="770" y="1863"/>
                      <a:pt x="770" y="1863"/>
                      <a:pt x="770" y="1863"/>
                    </a:cubicBezTo>
                    <a:cubicBezTo>
                      <a:pt x="765" y="1870"/>
                      <a:pt x="766" y="1867"/>
                      <a:pt x="759" y="1869"/>
                    </a:cubicBezTo>
                    <a:cubicBezTo>
                      <a:pt x="758" y="1869"/>
                      <a:pt x="753" y="1870"/>
                      <a:pt x="753" y="1870"/>
                    </a:cubicBezTo>
                    <a:cubicBezTo>
                      <a:pt x="754" y="1871"/>
                      <a:pt x="756" y="1869"/>
                      <a:pt x="757" y="1870"/>
                    </a:cubicBezTo>
                    <a:cubicBezTo>
                      <a:pt x="757" y="1871"/>
                      <a:pt x="752" y="1872"/>
                      <a:pt x="755" y="1873"/>
                    </a:cubicBezTo>
                    <a:cubicBezTo>
                      <a:pt x="757" y="1873"/>
                      <a:pt x="765" y="1871"/>
                      <a:pt x="766" y="1873"/>
                    </a:cubicBezTo>
                    <a:cubicBezTo>
                      <a:pt x="767" y="1875"/>
                      <a:pt x="761" y="1882"/>
                      <a:pt x="759" y="1882"/>
                    </a:cubicBezTo>
                    <a:cubicBezTo>
                      <a:pt x="755" y="1883"/>
                      <a:pt x="755" y="1877"/>
                      <a:pt x="752" y="1877"/>
                    </a:cubicBezTo>
                    <a:cubicBezTo>
                      <a:pt x="751" y="1877"/>
                      <a:pt x="749" y="1881"/>
                      <a:pt x="748" y="1879"/>
                    </a:cubicBezTo>
                    <a:cubicBezTo>
                      <a:pt x="746" y="1877"/>
                      <a:pt x="754" y="1873"/>
                      <a:pt x="750" y="1873"/>
                    </a:cubicBezTo>
                    <a:cubicBezTo>
                      <a:pt x="742" y="1872"/>
                      <a:pt x="739" y="1882"/>
                      <a:pt x="728" y="1872"/>
                    </a:cubicBezTo>
                    <a:cubicBezTo>
                      <a:pt x="722" y="1868"/>
                      <a:pt x="728" y="1864"/>
                      <a:pt x="727" y="1862"/>
                    </a:cubicBezTo>
                    <a:cubicBezTo>
                      <a:pt x="725" y="1859"/>
                      <a:pt x="719" y="1854"/>
                      <a:pt x="715" y="1853"/>
                    </a:cubicBezTo>
                    <a:cubicBezTo>
                      <a:pt x="709" y="1852"/>
                      <a:pt x="710" y="1860"/>
                      <a:pt x="706" y="1860"/>
                    </a:cubicBezTo>
                    <a:cubicBezTo>
                      <a:pt x="703" y="1861"/>
                      <a:pt x="702" y="1858"/>
                      <a:pt x="700" y="1858"/>
                    </a:cubicBezTo>
                    <a:cubicBezTo>
                      <a:pt x="696" y="1858"/>
                      <a:pt x="696" y="1863"/>
                      <a:pt x="691" y="1862"/>
                    </a:cubicBezTo>
                    <a:cubicBezTo>
                      <a:pt x="687" y="1862"/>
                      <a:pt x="694" y="1859"/>
                      <a:pt x="694" y="1858"/>
                    </a:cubicBezTo>
                    <a:cubicBezTo>
                      <a:pt x="694" y="1857"/>
                      <a:pt x="692" y="1854"/>
                      <a:pt x="692" y="1853"/>
                    </a:cubicBezTo>
                    <a:cubicBezTo>
                      <a:pt x="690" y="1851"/>
                      <a:pt x="690" y="1854"/>
                      <a:pt x="688" y="1854"/>
                    </a:cubicBezTo>
                    <a:cubicBezTo>
                      <a:pt x="687" y="1854"/>
                      <a:pt x="686" y="1852"/>
                      <a:pt x="685" y="1851"/>
                    </a:cubicBezTo>
                    <a:cubicBezTo>
                      <a:pt x="683" y="1851"/>
                      <a:pt x="680" y="1852"/>
                      <a:pt x="678" y="1852"/>
                    </a:cubicBezTo>
                    <a:cubicBezTo>
                      <a:pt x="676" y="1851"/>
                      <a:pt x="676" y="1846"/>
                      <a:pt x="670" y="1847"/>
                    </a:cubicBezTo>
                    <a:cubicBezTo>
                      <a:pt x="666" y="1848"/>
                      <a:pt x="674" y="1852"/>
                      <a:pt x="674" y="1853"/>
                    </a:cubicBezTo>
                    <a:cubicBezTo>
                      <a:pt x="674" y="1855"/>
                      <a:pt x="667" y="1859"/>
                      <a:pt x="666" y="1859"/>
                    </a:cubicBezTo>
                    <a:cubicBezTo>
                      <a:pt x="666" y="1859"/>
                      <a:pt x="666" y="1854"/>
                      <a:pt x="666" y="1854"/>
                    </a:cubicBezTo>
                    <a:cubicBezTo>
                      <a:pt x="665" y="1852"/>
                      <a:pt x="664" y="1852"/>
                      <a:pt x="663" y="1851"/>
                    </a:cubicBezTo>
                    <a:cubicBezTo>
                      <a:pt x="662" y="1849"/>
                      <a:pt x="664" y="1847"/>
                      <a:pt x="664" y="1846"/>
                    </a:cubicBezTo>
                    <a:cubicBezTo>
                      <a:pt x="662" y="1844"/>
                      <a:pt x="661" y="1846"/>
                      <a:pt x="661" y="1842"/>
                    </a:cubicBezTo>
                    <a:cubicBezTo>
                      <a:pt x="661" y="1839"/>
                      <a:pt x="663" y="1841"/>
                      <a:pt x="664" y="1839"/>
                    </a:cubicBezTo>
                    <a:cubicBezTo>
                      <a:pt x="665" y="1838"/>
                      <a:pt x="663" y="1830"/>
                      <a:pt x="665" y="1828"/>
                    </a:cubicBezTo>
                    <a:cubicBezTo>
                      <a:pt x="668" y="1825"/>
                      <a:pt x="676" y="1833"/>
                      <a:pt x="679" y="1833"/>
                    </a:cubicBezTo>
                    <a:cubicBezTo>
                      <a:pt x="681" y="1833"/>
                      <a:pt x="685" y="1833"/>
                      <a:pt x="686" y="1832"/>
                    </a:cubicBezTo>
                    <a:cubicBezTo>
                      <a:pt x="688" y="1831"/>
                      <a:pt x="688" y="1827"/>
                      <a:pt x="690" y="1829"/>
                    </a:cubicBezTo>
                    <a:cubicBezTo>
                      <a:pt x="692" y="1830"/>
                      <a:pt x="693" y="1834"/>
                      <a:pt x="695" y="1835"/>
                    </a:cubicBezTo>
                    <a:cubicBezTo>
                      <a:pt x="697" y="1836"/>
                      <a:pt x="703" y="1835"/>
                      <a:pt x="704" y="1837"/>
                    </a:cubicBezTo>
                    <a:cubicBezTo>
                      <a:pt x="704" y="1838"/>
                      <a:pt x="701" y="1836"/>
                      <a:pt x="700" y="1837"/>
                    </a:cubicBezTo>
                    <a:cubicBezTo>
                      <a:pt x="700" y="1838"/>
                      <a:pt x="701" y="1840"/>
                      <a:pt x="700" y="1841"/>
                    </a:cubicBezTo>
                    <a:cubicBezTo>
                      <a:pt x="700" y="1841"/>
                      <a:pt x="692" y="1835"/>
                      <a:pt x="690" y="1835"/>
                    </a:cubicBezTo>
                    <a:cubicBezTo>
                      <a:pt x="687" y="1835"/>
                      <a:pt x="682" y="1840"/>
                      <a:pt x="683" y="1843"/>
                    </a:cubicBezTo>
                    <a:cubicBezTo>
                      <a:pt x="684" y="1844"/>
                      <a:pt x="688" y="1845"/>
                      <a:pt x="690" y="1846"/>
                    </a:cubicBezTo>
                    <a:cubicBezTo>
                      <a:pt x="692" y="1848"/>
                      <a:pt x="695" y="1854"/>
                      <a:pt x="699" y="1855"/>
                    </a:cubicBezTo>
                    <a:cubicBezTo>
                      <a:pt x="703" y="1855"/>
                      <a:pt x="704" y="1849"/>
                      <a:pt x="708" y="1849"/>
                    </a:cubicBezTo>
                    <a:cubicBezTo>
                      <a:pt x="709" y="1849"/>
                      <a:pt x="717" y="1851"/>
                      <a:pt x="718" y="1851"/>
                    </a:cubicBezTo>
                    <a:cubicBezTo>
                      <a:pt x="723" y="1853"/>
                      <a:pt x="725" y="1861"/>
                      <a:pt x="730" y="1861"/>
                    </a:cubicBezTo>
                    <a:cubicBezTo>
                      <a:pt x="731" y="1860"/>
                      <a:pt x="738" y="1852"/>
                      <a:pt x="738" y="1852"/>
                    </a:cubicBezTo>
                    <a:cubicBezTo>
                      <a:pt x="738" y="1850"/>
                      <a:pt x="737" y="1849"/>
                      <a:pt x="737" y="1848"/>
                    </a:cubicBezTo>
                    <a:cubicBezTo>
                      <a:pt x="738" y="1845"/>
                      <a:pt x="743" y="1846"/>
                      <a:pt x="743" y="1842"/>
                    </a:cubicBezTo>
                    <a:cubicBezTo>
                      <a:pt x="742" y="1838"/>
                      <a:pt x="737" y="1837"/>
                      <a:pt x="735" y="1835"/>
                    </a:cubicBezTo>
                    <a:cubicBezTo>
                      <a:pt x="734" y="1834"/>
                      <a:pt x="736" y="1830"/>
                      <a:pt x="736" y="1828"/>
                    </a:cubicBezTo>
                    <a:cubicBezTo>
                      <a:pt x="735" y="1824"/>
                      <a:pt x="732" y="1824"/>
                      <a:pt x="731" y="1821"/>
                    </a:cubicBezTo>
                    <a:cubicBezTo>
                      <a:pt x="730" y="1820"/>
                      <a:pt x="731" y="1814"/>
                      <a:pt x="729" y="1813"/>
                    </a:cubicBezTo>
                    <a:cubicBezTo>
                      <a:pt x="728" y="1812"/>
                      <a:pt x="726" y="1813"/>
                      <a:pt x="725" y="1812"/>
                    </a:cubicBezTo>
                    <a:cubicBezTo>
                      <a:pt x="724" y="1810"/>
                      <a:pt x="726" y="1808"/>
                      <a:pt x="723" y="1807"/>
                    </a:cubicBezTo>
                    <a:cubicBezTo>
                      <a:pt x="720" y="1806"/>
                      <a:pt x="717" y="1808"/>
                      <a:pt x="714" y="1806"/>
                    </a:cubicBezTo>
                    <a:cubicBezTo>
                      <a:pt x="712" y="1805"/>
                      <a:pt x="713" y="1803"/>
                      <a:pt x="712" y="1800"/>
                    </a:cubicBezTo>
                    <a:cubicBezTo>
                      <a:pt x="712" y="1797"/>
                      <a:pt x="708" y="1798"/>
                      <a:pt x="706" y="1796"/>
                    </a:cubicBezTo>
                    <a:cubicBezTo>
                      <a:pt x="705" y="1795"/>
                      <a:pt x="706" y="1793"/>
                      <a:pt x="704" y="1792"/>
                    </a:cubicBezTo>
                    <a:cubicBezTo>
                      <a:pt x="702" y="1791"/>
                      <a:pt x="699" y="1792"/>
                      <a:pt x="697" y="1792"/>
                    </a:cubicBezTo>
                    <a:cubicBezTo>
                      <a:pt x="694" y="1791"/>
                      <a:pt x="693" y="1787"/>
                      <a:pt x="690" y="1787"/>
                    </a:cubicBezTo>
                    <a:cubicBezTo>
                      <a:pt x="689" y="1788"/>
                      <a:pt x="688" y="1789"/>
                      <a:pt x="686" y="1789"/>
                    </a:cubicBezTo>
                    <a:cubicBezTo>
                      <a:pt x="685" y="1789"/>
                      <a:pt x="687" y="1785"/>
                      <a:pt x="685" y="1784"/>
                    </a:cubicBezTo>
                    <a:cubicBezTo>
                      <a:pt x="682" y="1781"/>
                      <a:pt x="675" y="1785"/>
                      <a:pt x="671" y="1784"/>
                    </a:cubicBezTo>
                    <a:cubicBezTo>
                      <a:pt x="671" y="1784"/>
                      <a:pt x="664" y="1778"/>
                      <a:pt x="662" y="1777"/>
                    </a:cubicBezTo>
                    <a:cubicBezTo>
                      <a:pt x="660" y="1776"/>
                      <a:pt x="658" y="1778"/>
                      <a:pt x="655" y="1776"/>
                    </a:cubicBezTo>
                    <a:cubicBezTo>
                      <a:pt x="653" y="1774"/>
                      <a:pt x="655" y="1772"/>
                      <a:pt x="653" y="1770"/>
                    </a:cubicBezTo>
                    <a:cubicBezTo>
                      <a:pt x="652" y="1767"/>
                      <a:pt x="649" y="1768"/>
                      <a:pt x="648" y="1767"/>
                    </a:cubicBezTo>
                    <a:cubicBezTo>
                      <a:pt x="643" y="1761"/>
                      <a:pt x="638" y="1753"/>
                      <a:pt x="632" y="1749"/>
                    </a:cubicBezTo>
                    <a:cubicBezTo>
                      <a:pt x="630" y="1747"/>
                      <a:pt x="627" y="1745"/>
                      <a:pt x="624" y="1744"/>
                    </a:cubicBezTo>
                    <a:cubicBezTo>
                      <a:pt x="624" y="1743"/>
                      <a:pt x="620" y="1742"/>
                      <a:pt x="620" y="1741"/>
                    </a:cubicBezTo>
                    <a:cubicBezTo>
                      <a:pt x="621" y="1740"/>
                      <a:pt x="622" y="1742"/>
                      <a:pt x="622" y="1740"/>
                    </a:cubicBezTo>
                    <a:cubicBezTo>
                      <a:pt x="623" y="1740"/>
                      <a:pt x="613" y="1728"/>
                      <a:pt x="619" y="1730"/>
                    </a:cubicBezTo>
                    <a:cubicBezTo>
                      <a:pt x="620" y="1731"/>
                      <a:pt x="620" y="1732"/>
                      <a:pt x="620" y="1732"/>
                    </a:cubicBezTo>
                    <a:cubicBezTo>
                      <a:pt x="621" y="1734"/>
                      <a:pt x="623" y="1734"/>
                      <a:pt x="624" y="1736"/>
                    </a:cubicBezTo>
                    <a:cubicBezTo>
                      <a:pt x="625" y="1738"/>
                      <a:pt x="623" y="1738"/>
                      <a:pt x="623" y="1739"/>
                    </a:cubicBezTo>
                    <a:cubicBezTo>
                      <a:pt x="623" y="1741"/>
                      <a:pt x="632" y="1740"/>
                      <a:pt x="633" y="1741"/>
                    </a:cubicBezTo>
                    <a:cubicBezTo>
                      <a:pt x="636" y="1741"/>
                      <a:pt x="639" y="1748"/>
                      <a:pt x="642" y="1748"/>
                    </a:cubicBezTo>
                    <a:cubicBezTo>
                      <a:pt x="644" y="1748"/>
                      <a:pt x="643" y="1737"/>
                      <a:pt x="644" y="1737"/>
                    </a:cubicBezTo>
                    <a:cubicBezTo>
                      <a:pt x="645" y="1736"/>
                      <a:pt x="645" y="1738"/>
                      <a:pt x="646" y="1738"/>
                    </a:cubicBezTo>
                    <a:cubicBezTo>
                      <a:pt x="649" y="1738"/>
                      <a:pt x="648" y="1731"/>
                      <a:pt x="647" y="1729"/>
                    </a:cubicBezTo>
                    <a:cubicBezTo>
                      <a:pt x="646" y="1723"/>
                      <a:pt x="639" y="1711"/>
                      <a:pt x="634" y="1707"/>
                    </a:cubicBezTo>
                    <a:cubicBezTo>
                      <a:pt x="630" y="1705"/>
                      <a:pt x="619" y="1701"/>
                      <a:pt x="618" y="1698"/>
                    </a:cubicBezTo>
                    <a:cubicBezTo>
                      <a:pt x="617" y="1696"/>
                      <a:pt x="620" y="1695"/>
                      <a:pt x="618" y="1692"/>
                    </a:cubicBezTo>
                    <a:cubicBezTo>
                      <a:pt x="617" y="1691"/>
                      <a:pt x="613" y="1690"/>
                      <a:pt x="613" y="1688"/>
                    </a:cubicBezTo>
                    <a:cubicBezTo>
                      <a:pt x="613" y="1686"/>
                      <a:pt x="616" y="1686"/>
                      <a:pt x="617" y="1685"/>
                    </a:cubicBezTo>
                    <a:cubicBezTo>
                      <a:pt x="618" y="1684"/>
                      <a:pt x="615" y="1683"/>
                      <a:pt x="615" y="1682"/>
                    </a:cubicBezTo>
                    <a:cubicBezTo>
                      <a:pt x="614" y="1680"/>
                      <a:pt x="617" y="1678"/>
                      <a:pt x="616" y="1676"/>
                    </a:cubicBezTo>
                    <a:cubicBezTo>
                      <a:pt x="614" y="1672"/>
                      <a:pt x="607" y="1670"/>
                      <a:pt x="605" y="1666"/>
                    </a:cubicBezTo>
                    <a:cubicBezTo>
                      <a:pt x="603" y="1662"/>
                      <a:pt x="602" y="1652"/>
                      <a:pt x="595" y="1653"/>
                    </a:cubicBezTo>
                    <a:cubicBezTo>
                      <a:pt x="594" y="1654"/>
                      <a:pt x="596" y="1663"/>
                      <a:pt x="591" y="1662"/>
                    </a:cubicBezTo>
                    <a:cubicBezTo>
                      <a:pt x="588" y="1660"/>
                      <a:pt x="584" y="1642"/>
                      <a:pt x="586" y="1638"/>
                    </a:cubicBezTo>
                    <a:cubicBezTo>
                      <a:pt x="587" y="1637"/>
                      <a:pt x="589" y="1639"/>
                      <a:pt x="589" y="1638"/>
                    </a:cubicBezTo>
                    <a:cubicBezTo>
                      <a:pt x="589" y="1637"/>
                      <a:pt x="588" y="1635"/>
                      <a:pt x="590" y="1635"/>
                    </a:cubicBezTo>
                    <a:cubicBezTo>
                      <a:pt x="591" y="1635"/>
                      <a:pt x="591" y="1636"/>
                      <a:pt x="591" y="1637"/>
                    </a:cubicBezTo>
                    <a:cubicBezTo>
                      <a:pt x="593" y="1638"/>
                      <a:pt x="598" y="1638"/>
                      <a:pt x="599" y="1641"/>
                    </a:cubicBezTo>
                    <a:cubicBezTo>
                      <a:pt x="599" y="1644"/>
                      <a:pt x="596" y="1648"/>
                      <a:pt x="598" y="1651"/>
                    </a:cubicBezTo>
                    <a:cubicBezTo>
                      <a:pt x="599" y="1653"/>
                      <a:pt x="601" y="1651"/>
                      <a:pt x="602" y="1652"/>
                    </a:cubicBezTo>
                    <a:cubicBezTo>
                      <a:pt x="602" y="1652"/>
                      <a:pt x="602" y="1653"/>
                      <a:pt x="602" y="1653"/>
                    </a:cubicBezTo>
                    <a:cubicBezTo>
                      <a:pt x="602" y="1657"/>
                      <a:pt x="606" y="1656"/>
                      <a:pt x="607" y="1659"/>
                    </a:cubicBezTo>
                    <a:cubicBezTo>
                      <a:pt x="608" y="1660"/>
                      <a:pt x="607" y="1662"/>
                      <a:pt x="608" y="1664"/>
                    </a:cubicBezTo>
                    <a:cubicBezTo>
                      <a:pt x="611" y="1666"/>
                      <a:pt x="625" y="1676"/>
                      <a:pt x="625" y="1678"/>
                    </a:cubicBezTo>
                    <a:cubicBezTo>
                      <a:pt x="625" y="1679"/>
                      <a:pt x="616" y="1679"/>
                      <a:pt x="618" y="1687"/>
                    </a:cubicBezTo>
                    <a:cubicBezTo>
                      <a:pt x="619" y="1691"/>
                      <a:pt x="627" y="1693"/>
                      <a:pt x="630" y="1695"/>
                    </a:cubicBezTo>
                    <a:cubicBezTo>
                      <a:pt x="632" y="1696"/>
                      <a:pt x="634" y="1699"/>
                      <a:pt x="637" y="1700"/>
                    </a:cubicBezTo>
                    <a:cubicBezTo>
                      <a:pt x="639" y="1701"/>
                      <a:pt x="643" y="1701"/>
                      <a:pt x="645" y="1702"/>
                    </a:cubicBezTo>
                    <a:cubicBezTo>
                      <a:pt x="648" y="1704"/>
                      <a:pt x="649" y="1706"/>
                      <a:pt x="652" y="1708"/>
                    </a:cubicBezTo>
                    <a:cubicBezTo>
                      <a:pt x="654" y="1709"/>
                      <a:pt x="656" y="1713"/>
                      <a:pt x="658" y="1712"/>
                    </a:cubicBezTo>
                    <a:cubicBezTo>
                      <a:pt x="663" y="1709"/>
                      <a:pt x="651" y="1699"/>
                      <a:pt x="650" y="1696"/>
                    </a:cubicBezTo>
                    <a:cubicBezTo>
                      <a:pt x="649" y="1692"/>
                      <a:pt x="650" y="1693"/>
                      <a:pt x="647" y="1688"/>
                    </a:cubicBezTo>
                    <a:cubicBezTo>
                      <a:pt x="647" y="1688"/>
                      <a:pt x="641" y="1683"/>
                      <a:pt x="642" y="1682"/>
                    </a:cubicBezTo>
                    <a:cubicBezTo>
                      <a:pt x="643" y="1681"/>
                      <a:pt x="645" y="1683"/>
                      <a:pt x="646" y="1683"/>
                    </a:cubicBezTo>
                    <a:cubicBezTo>
                      <a:pt x="646" y="1683"/>
                      <a:pt x="646" y="1677"/>
                      <a:pt x="648" y="1680"/>
                    </a:cubicBezTo>
                    <a:cubicBezTo>
                      <a:pt x="648" y="1680"/>
                      <a:pt x="655" y="1696"/>
                      <a:pt x="657" y="1691"/>
                    </a:cubicBezTo>
                    <a:cubicBezTo>
                      <a:pt x="658" y="1690"/>
                      <a:pt x="654" y="1688"/>
                      <a:pt x="654" y="1686"/>
                    </a:cubicBezTo>
                    <a:cubicBezTo>
                      <a:pt x="653" y="1684"/>
                      <a:pt x="654" y="1683"/>
                      <a:pt x="654" y="1681"/>
                    </a:cubicBezTo>
                    <a:cubicBezTo>
                      <a:pt x="653" y="1677"/>
                      <a:pt x="643" y="1668"/>
                      <a:pt x="641" y="1664"/>
                    </a:cubicBezTo>
                    <a:cubicBezTo>
                      <a:pt x="639" y="1661"/>
                      <a:pt x="639" y="1657"/>
                      <a:pt x="637" y="1654"/>
                    </a:cubicBezTo>
                    <a:cubicBezTo>
                      <a:pt x="636" y="1654"/>
                      <a:pt x="628" y="1647"/>
                      <a:pt x="632" y="1646"/>
                    </a:cubicBezTo>
                    <a:cubicBezTo>
                      <a:pt x="633" y="1645"/>
                      <a:pt x="637" y="1651"/>
                      <a:pt x="638" y="1652"/>
                    </a:cubicBezTo>
                    <a:cubicBezTo>
                      <a:pt x="641" y="1656"/>
                      <a:pt x="646" y="1659"/>
                      <a:pt x="649" y="1663"/>
                    </a:cubicBezTo>
                    <a:cubicBezTo>
                      <a:pt x="652" y="1666"/>
                      <a:pt x="653" y="1670"/>
                      <a:pt x="655" y="1673"/>
                    </a:cubicBezTo>
                    <a:cubicBezTo>
                      <a:pt x="656" y="1674"/>
                      <a:pt x="661" y="1681"/>
                      <a:pt x="663" y="1679"/>
                    </a:cubicBezTo>
                    <a:cubicBezTo>
                      <a:pt x="665" y="1678"/>
                      <a:pt x="661" y="1669"/>
                      <a:pt x="661" y="1667"/>
                    </a:cubicBezTo>
                    <a:cubicBezTo>
                      <a:pt x="660" y="1664"/>
                      <a:pt x="646" y="1653"/>
                      <a:pt x="643" y="1649"/>
                    </a:cubicBezTo>
                    <a:cubicBezTo>
                      <a:pt x="641" y="1646"/>
                      <a:pt x="642" y="1643"/>
                      <a:pt x="640" y="1641"/>
                    </a:cubicBezTo>
                    <a:cubicBezTo>
                      <a:pt x="638" y="1639"/>
                      <a:pt x="630" y="1630"/>
                      <a:pt x="633" y="1628"/>
                    </a:cubicBezTo>
                    <a:cubicBezTo>
                      <a:pt x="635" y="1626"/>
                      <a:pt x="636" y="1634"/>
                      <a:pt x="637" y="1635"/>
                    </a:cubicBezTo>
                    <a:cubicBezTo>
                      <a:pt x="640" y="1637"/>
                      <a:pt x="651" y="1645"/>
                      <a:pt x="653" y="1647"/>
                    </a:cubicBezTo>
                    <a:cubicBezTo>
                      <a:pt x="656" y="1651"/>
                      <a:pt x="658" y="1656"/>
                      <a:pt x="662" y="1660"/>
                    </a:cubicBezTo>
                    <a:cubicBezTo>
                      <a:pt x="665" y="1663"/>
                      <a:pt x="666" y="1674"/>
                      <a:pt x="667" y="1675"/>
                    </a:cubicBezTo>
                    <a:cubicBezTo>
                      <a:pt x="668" y="1675"/>
                      <a:pt x="667" y="1669"/>
                      <a:pt x="668" y="1669"/>
                    </a:cubicBezTo>
                    <a:cubicBezTo>
                      <a:pt x="668" y="1669"/>
                      <a:pt x="669" y="1669"/>
                      <a:pt x="669" y="1669"/>
                    </a:cubicBezTo>
                    <a:cubicBezTo>
                      <a:pt x="669" y="1671"/>
                      <a:pt x="671" y="1678"/>
                      <a:pt x="670" y="1679"/>
                    </a:cubicBezTo>
                    <a:cubicBezTo>
                      <a:pt x="669" y="1680"/>
                      <a:pt x="667" y="1677"/>
                      <a:pt x="667" y="1677"/>
                    </a:cubicBezTo>
                    <a:cubicBezTo>
                      <a:pt x="666" y="1678"/>
                      <a:pt x="668" y="1680"/>
                      <a:pt x="668" y="1680"/>
                    </a:cubicBezTo>
                    <a:cubicBezTo>
                      <a:pt x="669" y="1682"/>
                      <a:pt x="669" y="1683"/>
                      <a:pt x="669" y="1685"/>
                    </a:cubicBezTo>
                    <a:cubicBezTo>
                      <a:pt x="670" y="1688"/>
                      <a:pt x="684" y="1708"/>
                      <a:pt x="686" y="1709"/>
                    </a:cubicBezTo>
                    <a:cubicBezTo>
                      <a:pt x="688" y="1709"/>
                      <a:pt x="692" y="1710"/>
                      <a:pt x="694" y="1711"/>
                    </a:cubicBezTo>
                    <a:cubicBezTo>
                      <a:pt x="696" y="1712"/>
                      <a:pt x="694" y="1708"/>
                      <a:pt x="695" y="1707"/>
                    </a:cubicBezTo>
                    <a:cubicBezTo>
                      <a:pt x="697" y="1704"/>
                      <a:pt x="700" y="1702"/>
                      <a:pt x="697" y="1698"/>
                    </a:cubicBezTo>
                    <a:cubicBezTo>
                      <a:pt x="696" y="1695"/>
                      <a:pt x="681" y="1685"/>
                      <a:pt x="682" y="1683"/>
                    </a:cubicBezTo>
                    <a:cubicBezTo>
                      <a:pt x="683" y="1682"/>
                      <a:pt x="685" y="1684"/>
                      <a:pt x="686" y="1683"/>
                    </a:cubicBezTo>
                    <a:cubicBezTo>
                      <a:pt x="686" y="1682"/>
                      <a:pt x="682" y="1679"/>
                      <a:pt x="682" y="1678"/>
                    </a:cubicBezTo>
                    <a:cubicBezTo>
                      <a:pt x="682" y="1677"/>
                      <a:pt x="684" y="1677"/>
                      <a:pt x="685" y="1678"/>
                    </a:cubicBezTo>
                    <a:cubicBezTo>
                      <a:pt x="689" y="1680"/>
                      <a:pt x="693" y="1684"/>
                      <a:pt x="695" y="1689"/>
                    </a:cubicBezTo>
                    <a:cubicBezTo>
                      <a:pt x="696" y="1691"/>
                      <a:pt x="703" y="1689"/>
                      <a:pt x="706" y="1690"/>
                    </a:cubicBezTo>
                    <a:cubicBezTo>
                      <a:pt x="709" y="1691"/>
                      <a:pt x="709" y="1696"/>
                      <a:pt x="712" y="1697"/>
                    </a:cubicBezTo>
                    <a:cubicBezTo>
                      <a:pt x="714" y="1699"/>
                      <a:pt x="714" y="1691"/>
                      <a:pt x="717" y="1690"/>
                    </a:cubicBezTo>
                    <a:cubicBezTo>
                      <a:pt x="719" y="1688"/>
                      <a:pt x="719" y="1691"/>
                      <a:pt x="722" y="1691"/>
                    </a:cubicBezTo>
                    <a:cubicBezTo>
                      <a:pt x="723" y="1691"/>
                      <a:pt x="732" y="1682"/>
                      <a:pt x="733" y="1681"/>
                    </a:cubicBezTo>
                    <a:cubicBezTo>
                      <a:pt x="737" y="1676"/>
                      <a:pt x="732" y="1670"/>
                      <a:pt x="730" y="1667"/>
                    </a:cubicBezTo>
                    <a:cubicBezTo>
                      <a:pt x="729" y="1664"/>
                      <a:pt x="730" y="1662"/>
                      <a:pt x="729" y="1660"/>
                    </a:cubicBezTo>
                    <a:cubicBezTo>
                      <a:pt x="726" y="1655"/>
                      <a:pt x="724" y="1649"/>
                      <a:pt x="720" y="1645"/>
                    </a:cubicBezTo>
                    <a:cubicBezTo>
                      <a:pt x="719" y="1643"/>
                      <a:pt x="717" y="1642"/>
                      <a:pt x="715" y="1640"/>
                    </a:cubicBezTo>
                    <a:cubicBezTo>
                      <a:pt x="713" y="1638"/>
                      <a:pt x="711" y="1631"/>
                      <a:pt x="710" y="1630"/>
                    </a:cubicBezTo>
                    <a:cubicBezTo>
                      <a:pt x="704" y="1629"/>
                      <a:pt x="710" y="1639"/>
                      <a:pt x="708" y="1639"/>
                    </a:cubicBezTo>
                    <a:cubicBezTo>
                      <a:pt x="708" y="1639"/>
                      <a:pt x="707" y="1639"/>
                      <a:pt x="707" y="1639"/>
                    </a:cubicBezTo>
                    <a:cubicBezTo>
                      <a:pt x="704" y="1638"/>
                      <a:pt x="702" y="1636"/>
                      <a:pt x="700" y="1635"/>
                    </a:cubicBezTo>
                    <a:cubicBezTo>
                      <a:pt x="696" y="1634"/>
                      <a:pt x="693" y="1635"/>
                      <a:pt x="690" y="1634"/>
                    </a:cubicBezTo>
                    <a:cubicBezTo>
                      <a:pt x="688" y="1633"/>
                      <a:pt x="680" y="1617"/>
                      <a:pt x="675" y="1619"/>
                    </a:cubicBezTo>
                    <a:cubicBezTo>
                      <a:pt x="672" y="1620"/>
                      <a:pt x="678" y="1623"/>
                      <a:pt x="677" y="1624"/>
                    </a:cubicBezTo>
                    <a:cubicBezTo>
                      <a:pt x="677" y="1626"/>
                      <a:pt x="667" y="1616"/>
                      <a:pt x="667" y="1625"/>
                    </a:cubicBezTo>
                    <a:cubicBezTo>
                      <a:pt x="666" y="1628"/>
                      <a:pt x="672" y="1631"/>
                      <a:pt x="674" y="1633"/>
                    </a:cubicBezTo>
                    <a:cubicBezTo>
                      <a:pt x="675" y="1633"/>
                      <a:pt x="675" y="1635"/>
                      <a:pt x="675" y="1636"/>
                    </a:cubicBezTo>
                    <a:cubicBezTo>
                      <a:pt x="676" y="1637"/>
                      <a:pt x="676" y="1638"/>
                      <a:pt x="677" y="1639"/>
                    </a:cubicBezTo>
                    <a:cubicBezTo>
                      <a:pt x="678" y="1640"/>
                      <a:pt x="679" y="1641"/>
                      <a:pt x="680" y="1642"/>
                    </a:cubicBezTo>
                    <a:cubicBezTo>
                      <a:pt x="680" y="1644"/>
                      <a:pt x="680" y="1645"/>
                      <a:pt x="681" y="1647"/>
                    </a:cubicBezTo>
                    <a:cubicBezTo>
                      <a:pt x="681" y="1648"/>
                      <a:pt x="685" y="1652"/>
                      <a:pt x="684" y="1653"/>
                    </a:cubicBezTo>
                    <a:cubicBezTo>
                      <a:pt x="683" y="1655"/>
                      <a:pt x="681" y="1650"/>
                      <a:pt x="680" y="1647"/>
                    </a:cubicBezTo>
                    <a:cubicBezTo>
                      <a:pt x="680" y="1646"/>
                      <a:pt x="678" y="1642"/>
                      <a:pt x="677" y="1639"/>
                    </a:cubicBezTo>
                    <a:cubicBezTo>
                      <a:pt x="676" y="1639"/>
                      <a:pt x="676" y="1638"/>
                      <a:pt x="676" y="1638"/>
                    </a:cubicBezTo>
                    <a:cubicBezTo>
                      <a:pt x="675" y="1637"/>
                      <a:pt x="675" y="1637"/>
                      <a:pt x="675" y="1636"/>
                    </a:cubicBezTo>
                    <a:cubicBezTo>
                      <a:pt x="674" y="1634"/>
                      <a:pt x="674" y="1633"/>
                      <a:pt x="673" y="1632"/>
                    </a:cubicBezTo>
                    <a:cubicBezTo>
                      <a:pt x="668" y="1630"/>
                      <a:pt x="673" y="1638"/>
                      <a:pt x="672" y="1637"/>
                    </a:cubicBezTo>
                    <a:cubicBezTo>
                      <a:pt x="671" y="1636"/>
                      <a:pt x="667" y="1632"/>
                      <a:pt x="666" y="1631"/>
                    </a:cubicBezTo>
                    <a:cubicBezTo>
                      <a:pt x="663" y="1627"/>
                      <a:pt x="657" y="1611"/>
                      <a:pt x="655" y="1618"/>
                    </a:cubicBezTo>
                    <a:cubicBezTo>
                      <a:pt x="654" y="1621"/>
                      <a:pt x="661" y="1625"/>
                      <a:pt x="660" y="1628"/>
                    </a:cubicBezTo>
                    <a:cubicBezTo>
                      <a:pt x="660" y="1629"/>
                      <a:pt x="658" y="1627"/>
                      <a:pt x="658" y="1627"/>
                    </a:cubicBezTo>
                    <a:cubicBezTo>
                      <a:pt x="654" y="1623"/>
                      <a:pt x="654" y="1617"/>
                      <a:pt x="651" y="1613"/>
                    </a:cubicBezTo>
                    <a:cubicBezTo>
                      <a:pt x="649" y="1610"/>
                      <a:pt x="643" y="1608"/>
                      <a:pt x="643" y="1605"/>
                    </a:cubicBezTo>
                    <a:cubicBezTo>
                      <a:pt x="642" y="1601"/>
                      <a:pt x="644" y="1594"/>
                      <a:pt x="640" y="1590"/>
                    </a:cubicBezTo>
                    <a:cubicBezTo>
                      <a:pt x="637" y="1588"/>
                      <a:pt x="637" y="1592"/>
                      <a:pt x="635" y="1590"/>
                    </a:cubicBezTo>
                    <a:cubicBezTo>
                      <a:pt x="633" y="1589"/>
                      <a:pt x="632" y="1582"/>
                      <a:pt x="633" y="1581"/>
                    </a:cubicBezTo>
                    <a:cubicBezTo>
                      <a:pt x="634" y="1581"/>
                      <a:pt x="641" y="1580"/>
                      <a:pt x="642" y="1581"/>
                    </a:cubicBezTo>
                    <a:cubicBezTo>
                      <a:pt x="642" y="1582"/>
                      <a:pt x="641" y="1582"/>
                      <a:pt x="642" y="1583"/>
                    </a:cubicBezTo>
                    <a:cubicBezTo>
                      <a:pt x="643" y="1585"/>
                      <a:pt x="646" y="1585"/>
                      <a:pt x="647" y="1586"/>
                    </a:cubicBezTo>
                    <a:cubicBezTo>
                      <a:pt x="651" y="1589"/>
                      <a:pt x="651" y="1596"/>
                      <a:pt x="657" y="1596"/>
                    </a:cubicBezTo>
                    <a:cubicBezTo>
                      <a:pt x="659" y="1596"/>
                      <a:pt x="658" y="1591"/>
                      <a:pt x="662" y="1590"/>
                    </a:cubicBezTo>
                    <a:cubicBezTo>
                      <a:pt x="666" y="1590"/>
                      <a:pt x="687" y="1602"/>
                      <a:pt x="687" y="1604"/>
                    </a:cubicBezTo>
                    <a:cubicBezTo>
                      <a:pt x="687" y="1606"/>
                      <a:pt x="678" y="1602"/>
                      <a:pt x="679" y="1604"/>
                    </a:cubicBezTo>
                    <a:cubicBezTo>
                      <a:pt x="681" y="1607"/>
                      <a:pt x="688" y="1607"/>
                      <a:pt x="692" y="1608"/>
                    </a:cubicBezTo>
                    <a:cubicBezTo>
                      <a:pt x="696" y="1609"/>
                      <a:pt x="697" y="1612"/>
                      <a:pt x="701" y="1613"/>
                    </a:cubicBezTo>
                    <a:cubicBezTo>
                      <a:pt x="706" y="1615"/>
                      <a:pt x="712" y="1615"/>
                      <a:pt x="716" y="1617"/>
                    </a:cubicBezTo>
                    <a:cubicBezTo>
                      <a:pt x="720" y="1619"/>
                      <a:pt x="718" y="1622"/>
                      <a:pt x="717" y="1624"/>
                    </a:cubicBezTo>
                    <a:cubicBezTo>
                      <a:pt x="717" y="1625"/>
                      <a:pt x="725" y="1631"/>
                      <a:pt x="726" y="1631"/>
                    </a:cubicBezTo>
                    <a:cubicBezTo>
                      <a:pt x="726" y="1631"/>
                      <a:pt x="720" y="1621"/>
                      <a:pt x="726" y="1622"/>
                    </a:cubicBezTo>
                    <a:cubicBezTo>
                      <a:pt x="729" y="1622"/>
                      <a:pt x="730" y="1627"/>
                      <a:pt x="731" y="1629"/>
                    </a:cubicBezTo>
                    <a:cubicBezTo>
                      <a:pt x="731" y="1630"/>
                      <a:pt x="730" y="1633"/>
                      <a:pt x="730" y="1634"/>
                    </a:cubicBezTo>
                    <a:cubicBezTo>
                      <a:pt x="731" y="1634"/>
                      <a:pt x="733" y="1632"/>
                      <a:pt x="734" y="1632"/>
                    </a:cubicBezTo>
                    <a:cubicBezTo>
                      <a:pt x="737" y="1631"/>
                      <a:pt x="741" y="1633"/>
                      <a:pt x="744" y="1635"/>
                    </a:cubicBezTo>
                    <a:cubicBezTo>
                      <a:pt x="746" y="1636"/>
                      <a:pt x="745" y="1638"/>
                      <a:pt x="746" y="1639"/>
                    </a:cubicBezTo>
                    <a:cubicBezTo>
                      <a:pt x="753" y="1645"/>
                      <a:pt x="758" y="1651"/>
                      <a:pt x="756" y="1660"/>
                    </a:cubicBezTo>
                    <a:cubicBezTo>
                      <a:pt x="755" y="1661"/>
                      <a:pt x="754" y="1663"/>
                      <a:pt x="754" y="1664"/>
                    </a:cubicBezTo>
                    <a:cubicBezTo>
                      <a:pt x="754" y="1666"/>
                      <a:pt x="755" y="1667"/>
                      <a:pt x="755" y="1668"/>
                    </a:cubicBezTo>
                    <a:cubicBezTo>
                      <a:pt x="755" y="1670"/>
                      <a:pt x="752" y="1671"/>
                      <a:pt x="752" y="1673"/>
                    </a:cubicBezTo>
                    <a:cubicBezTo>
                      <a:pt x="751" y="1678"/>
                      <a:pt x="752" y="1684"/>
                      <a:pt x="750" y="1688"/>
                    </a:cubicBezTo>
                    <a:cubicBezTo>
                      <a:pt x="747" y="1696"/>
                      <a:pt x="743" y="1697"/>
                      <a:pt x="740" y="1706"/>
                    </a:cubicBezTo>
                    <a:cubicBezTo>
                      <a:pt x="740" y="1707"/>
                      <a:pt x="739" y="1707"/>
                      <a:pt x="740" y="1709"/>
                    </a:cubicBezTo>
                    <a:cubicBezTo>
                      <a:pt x="744" y="1716"/>
                      <a:pt x="756" y="1718"/>
                      <a:pt x="759" y="1723"/>
                    </a:cubicBezTo>
                    <a:cubicBezTo>
                      <a:pt x="760" y="1727"/>
                      <a:pt x="756" y="1726"/>
                      <a:pt x="756" y="1729"/>
                    </a:cubicBezTo>
                    <a:cubicBezTo>
                      <a:pt x="755" y="1730"/>
                      <a:pt x="759" y="1733"/>
                      <a:pt x="757" y="1734"/>
                    </a:cubicBezTo>
                    <a:cubicBezTo>
                      <a:pt x="756" y="1735"/>
                      <a:pt x="754" y="1735"/>
                      <a:pt x="754" y="1737"/>
                    </a:cubicBezTo>
                    <a:cubicBezTo>
                      <a:pt x="755" y="1742"/>
                      <a:pt x="759" y="1738"/>
                      <a:pt x="762" y="1741"/>
                    </a:cubicBezTo>
                    <a:cubicBezTo>
                      <a:pt x="763" y="1741"/>
                      <a:pt x="762" y="1743"/>
                      <a:pt x="764" y="1743"/>
                    </a:cubicBezTo>
                    <a:cubicBezTo>
                      <a:pt x="765" y="1743"/>
                      <a:pt x="766" y="1743"/>
                      <a:pt x="766" y="1744"/>
                    </a:cubicBezTo>
                    <a:cubicBezTo>
                      <a:pt x="767" y="1746"/>
                      <a:pt x="768" y="1747"/>
                      <a:pt x="770" y="1749"/>
                    </a:cubicBezTo>
                    <a:cubicBezTo>
                      <a:pt x="771" y="1750"/>
                      <a:pt x="770" y="1752"/>
                      <a:pt x="771" y="1754"/>
                    </a:cubicBezTo>
                    <a:cubicBezTo>
                      <a:pt x="772" y="1756"/>
                      <a:pt x="774" y="1756"/>
                      <a:pt x="774" y="1758"/>
                    </a:cubicBezTo>
                    <a:cubicBezTo>
                      <a:pt x="774" y="1761"/>
                      <a:pt x="770" y="1765"/>
                      <a:pt x="772" y="1766"/>
                    </a:cubicBezTo>
                    <a:cubicBezTo>
                      <a:pt x="776" y="1770"/>
                      <a:pt x="784" y="1771"/>
                      <a:pt x="786" y="1777"/>
                    </a:cubicBezTo>
                    <a:cubicBezTo>
                      <a:pt x="787" y="1780"/>
                      <a:pt x="791" y="1784"/>
                      <a:pt x="791" y="1786"/>
                    </a:cubicBezTo>
                    <a:cubicBezTo>
                      <a:pt x="791" y="1787"/>
                      <a:pt x="790" y="1791"/>
                      <a:pt x="790" y="1792"/>
                    </a:cubicBezTo>
                    <a:cubicBezTo>
                      <a:pt x="792" y="1793"/>
                      <a:pt x="795" y="1792"/>
                      <a:pt x="796" y="1793"/>
                    </a:cubicBezTo>
                    <a:cubicBezTo>
                      <a:pt x="804" y="1794"/>
                      <a:pt x="808" y="1800"/>
                      <a:pt x="810" y="1807"/>
                    </a:cubicBezTo>
                    <a:cubicBezTo>
                      <a:pt x="813" y="1820"/>
                      <a:pt x="800" y="1819"/>
                      <a:pt x="800" y="1824"/>
                    </a:cubicBezTo>
                    <a:cubicBezTo>
                      <a:pt x="800" y="1828"/>
                      <a:pt x="812" y="1834"/>
                      <a:pt x="811" y="1836"/>
                    </a:cubicBezTo>
                    <a:close/>
                    <a:moveTo>
                      <a:pt x="1008" y="1802"/>
                    </a:moveTo>
                    <a:cubicBezTo>
                      <a:pt x="1009" y="1801"/>
                      <a:pt x="1019" y="1794"/>
                      <a:pt x="1021" y="1794"/>
                    </a:cubicBezTo>
                    <a:cubicBezTo>
                      <a:pt x="1023" y="1793"/>
                      <a:pt x="1025" y="1794"/>
                      <a:pt x="1027" y="1793"/>
                    </a:cubicBezTo>
                    <a:cubicBezTo>
                      <a:pt x="1029" y="1793"/>
                      <a:pt x="1031" y="1791"/>
                      <a:pt x="1033" y="1791"/>
                    </a:cubicBezTo>
                    <a:cubicBezTo>
                      <a:pt x="1034" y="1791"/>
                      <a:pt x="1034" y="1790"/>
                      <a:pt x="1034" y="1791"/>
                    </a:cubicBezTo>
                    <a:cubicBezTo>
                      <a:pt x="1035" y="1791"/>
                      <a:pt x="1030" y="1802"/>
                      <a:pt x="1029" y="1802"/>
                    </a:cubicBezTo>
                    <a:cubicBezTo>
                      <a:pt x="1030" y="1798"/>
                      <a:pt x="1030" y="1798"/>
                      <a:pt x="1030" y="1798"/>
                    </a:cubicBezTo>
                    <a:cubicBezTo>
                      <a:pt x="1027" y="1805"/>
                      <a:pt x="1023" y="1810"/>
                      <a:pt x="1024" y="1817"/>
                    </a:cubicBezTo>
                    <a:cubicBezTo>
                      <a:pt x="1025" y="1822"/>
                      <a:pt x="1029" y="1818"/>
                      <a:pt x="1029" y="1826"/>
                    </a:cubicBezTo>
                    <a:cubicBezTo>
                      <a:pt x="1028" y="1828"/>
                      <a:pt x="1029" y="1830"/>
                      <a:pt x="1029" y="1831"/>
                    </a:cubicBezTo>
                    <a:cubicBezTo>
                      <a:pt x="1028" y="1832"/>
                      <a:pt x="1016" y="1831"/>
                      <a:pt x="1016" y="1831"/>
                    </a:cubicBezTo>
                    <a:cubicBezTo>
                      <a:pt x="1014" y="1833"/>
                      <a:pt x="1015" y="1837"/>
                      <a:pt x="1010" y="1835"/>
                    </a:cubicBezTo>
                    <a:cubicBezTo>
                      <a:pt x="1003" y="1831"/>
                      <a:pt x="1006" y="1824"/>
                      <a:pt x="1007" y="1819"/>
                    </a:cubicBezTo>
                    <a:cubicBezTo>
                      <a:pt x="1007" y="1817"/>
                      <a:pt x="1005" y="1816"/>
                      <a:pt x="1005" y="1814"/>
                    </a:cubicBezTo>
                    <a:cubicBezTo>
                      <a:pt x="1006" y="1812"/>
                      <a:pt x="1008" y="1811"/>
                      <a:pt x="1008" y="1809"/>
                    </a:cubicBezTo>
                    <a:cubicBezTo>
                      <a:pt x="1008" y="1807"/>
                      <a:pt x="1007" y="1804"/>
                      <a:pt x="1008" y="1802"/>
                    </a:cubicBezTo>
                    <a:close/>
                    <a:moveTo>
                      <a:pt x="890" y="1965"/>
                    </a:moveTo>
                    <a:cubicBezTo>
                      <a:pt x="893" y="1962"/>
                      <a:pt x="895" y="1960"/>
                      <a:pt x="899" y="1959"/>
                    </a:cubicBezTo>
                    <a:cubicBezTo>
                      <a:pt x="907" y="1955"/>
                      <a:pt x="933" y="1954"/>
                      <a:pt x="939" y="1961"/>
                    </a:cubicBezTo>
                    <a:cubicBezTo>
                      <a:pt x="938" y="1960"/>
                      <a:pt x="938" y="1960"/>
                      <a:pt x="938" y="1960"/>
                    </a:cubicBezTo>
                    <a:cubicBezTo>
                      <a:pt x="942" y="1962"/>
                      <a:pt x="952" y="1974"/>
                      <a:pt x="951" y="1979"/>
                    </a:cubicBezTo>
                    <a:cubicBezTo>
                      <a:pt x="950" y="1983"/>
                      <a:pt x="944" y="1988"/>
                      <a:pt x="947" y="1993"/>
                    </a:cubicBezTo>
                    <a:cubicBezTo>
                      <a:pt x="948" y="1993"/>
                      <a:pt x="952" y="1994"/>
                      <a:pt x="951" y="1995"/>
                    </a:cubicBezTo>
                    <a:cubicBezTo>
                      <a:pt x="950" y="1997"/>
                      <a:pt x="932" y="1998"/>
                      <a:pt x="929" y="1998"/>
                    </a:cubicBezTo>
                    <a:cubicBezTo>
                      <a:pt x="913" y="1998"/>
                      <a:pt x="894" y="1997"/>
                      <a:pt x="882" y="1986"/>
                    </a:cubicBezTo>
                    <a:cubicBezTo>
                      <a:pt x="873" y="1978"/>
                      <a:pt x="885" y="1970"/>
                      <a:pt x="890" y="1965"/>
                    </a:cubicBezTo>
                    <a:close/>
                    <a:moveTo>
                      <a:pt x="859" y="1681"/>
                    </a:moveTo>
                    <a:cubicBezTo>
                      <a:pt x="858" y="1683"/>
                      <a:pt x="859" y="1685"/>
                      <a:pt x="858" y="1686"/>
                    </a:cubicBezTo>
                    <a:cubicBezTo>
                      <a:pt x="857" y="1687"/>
                      <a:pt x="851" y="1692"/>
                      <a:pt x="849" y="1691"/>
                    </a:cubicBezTo>
                    <a:cubicBezTo>
                      <a:pt x="848" y="1690"/>
                      <a:pt x="850" y="1690"/>
                      <a:pt x="849" y="1689"/>
                    </a:cubicBezTo>
                    <a:cubicBezTo>
                      <a:pt x="848" y="1688"/>
                      <a:pt x="847" y="1689"/>
                      <a:pt x="846" y="1688"/>
                    </a:cubicBezTo>
                    <a:cubicBezTo>
                      <a:pt x="844" y="1685"/>
                      <a:pt x="854" y="1683"/>
                      <a:pt x="849" y="1679"/>
                    </a:cubicBezTo>
                    <a:cubicBezTo>
                      <a:pt x="846" y="1676"/>
                      <a:pt x="843" y="1687"/>
                      <a:pt x="840" y="1686"/>
                    </a:cubicBezTo>
                    <a:cubicBezTo>
                      <a:pt x="837" y="1686"/>
                      <a:pt x="840" y="1682"/>
                      <a:pt x="840" y="1681"/>
                    </a:cubicBezTo>
                    <a:cubicBezTo>
                      <a:pt x="840" y="1679"/>
                      <a:pt x="837" y="1678"/>
                      <a:pt x="838" y="1676"/>
                    </a:cubicBezTo>
                    <a:cubicBezTo>
                      <a:pt x="840" y="1674"/>
                      <a:pt x="842" y="1674"/>
                      <a:pt x="843" y="1671"/>
                    </a:cubicBezTo>
                    <a:cubicBezTo>
                      <a:pt x="843" y="1671"/>
                      <a:pt x="843" y="1670"/>
                      <a:pt x="843" y="1670"/>
                    </a:cubicBezTo>
                    <a:cubicBezTo>
                      <a:pt x="843" y="1668"/>
                      <a:pt x="840" y="1669"/>
                      <a:pt x="841" y="1666"/>
                    </a:cubicBezTo>
                    <a:cubicBezTo>
                      <a:pt x="842" y="1665"/>
                      <a:pt x="845" y="1664"/>
                      <a:pt x="844" y="1662"/>
                    </a:cubicBezTo>
                    <a:cubicBezTo>
                      <a:pt x="842" y="1661"/>
                      <a:pt x="839" y="1661"/>
                      <a:pt x="839" y="1658"/>
                    </a:cubicBezTo>
                    <a:cubicBezTo>
                      <a:pt x="838" y="1655"/>
                      <a:pt x="842" y="1655"/>
                      <a:pt x="844" y="1652"/>
                    </a:cubicBezTo>
                    <a:cubicBezTo>
                      <a:pt x="845" y="1651"/>
                      <a:pt x="843" y="1649"/>
                      <a:pt x="843" y="1648"/>
                    </a:cubicBezTo>
                    <a:cubicBezTo>
                      <a:pt x="845" y="1647"/>
                      <a:pt x="855" y="1642"/>
                      <a:pt x="854" y="1648"/>
                    </a:cubicBezTo>
                    <a:cubicBezTo>
                      <a:pt x="854" y="1647"/>
                      <a:pt x="854" y="1647"/>
                      <a:pt x="854" y="1647"/>
                    </a:cubicBezTo>
                    <a:cubicBezTo>
                      <a:pt x="853" y="1650"/>
                      <a:pt x="855" y="1649"/>
                      <a:pt x="857" y="1650"/>
                    </a:cubicBezTo>
                    <a:cubicBezTo>
                      <a:pt x="859" y="1651"/>
                      <a:pt x="854" y="1654"/>
                      <a:pt x="857" y="1655"/>
                    </a:cubicBezTo>
                    <a:cubicBezTo>
                      <a:pt x="861" y="1657"/>
                      <a:pt x="864" y="1645"/>
                      <a:pt x="866" y="1655"/>
                    </a:cubicBezTo>
                    <a:cubicBezTo>
                      <a:pt x="867" y="1657"/>
                      <a:pt x="865" y="1657"/>
                      <a:pt x="864" y="1658"/>
                    </a:cubicBezTo>
                    <a:cubicBezTo>
                      <a:pt x="862" y="1660"/>
                      <a:pt x="863" y="1663"/>
                      <a:pt x="862" y="1665"/>
                    </a:cubicBezTo>
                    <a:cubicBezTo>
                      <a:pt x="861" y="1667"/>
                      <a:pt x="858" y="1667"/>
                      <a:pt x="858" y="1670"/>
                    </a:cubicBezTo>
                    <a:cubicBezTo>
                      <a:pt x="858" y="1674"/>
                      <a:pt x="864" y="1669"/>
                      <a:pt x="863" y="1673"/>
                    </a:cubicBezTo>
                    <a:cubicBezTo>
                      <a:pt x="863" y="1674"/>
                      <a:pt x="857" y="1676"/>
                      <a:pt x="858" y="1677"/>
                    </a:cubicBezTo>
                    <a:cubicBezTo>
                      <a:pt x="860" y="1679"/>
                      <a:pt x="867" y="1676"/>
                      <a:pt x="867" y="1679"/>
                    </a:cubicBezTo>
                    <a:cubicBezTo>
                      <a:pt x="868" y="1684"/>
                      <a:pt x="860" y="1679"/>
                      <a:pt x="859" y="1681"/>
                    </a:cubicBezTo>
                    <a:close/>
                    <a:moveTo>
                      <a:pt x="1040" y="2221"/>
                    </a:moveTo>
                    <a:cubicBezTo>
                      <a:pt x="1036" y="2223"/>
                      <a:pt x="1033" y="2223"/>
                      <a:pt x="1034" y="2229"/>
                    </a:cubicBezTo>
                    <a:cubicBezTo>
                      <a:pt x="1034" y="2233"/>
                      <a:pt x="1038" y="2236"/>
                      <a:pt x="1041" y="2239"/>
                    </a:cubicBezTo>
                    <a:cubicBezTo>
                      <a:pt x="1041" y="2239"/>
                      <a:pt x="1046" y="2243"/>
                      <a:pt x="1045" y="2243"/>
                    </a:cubicBezTo>
                    <a:cubicBezTo>
                      <a:pt x="1042" y="2244"/>
                      <a:pt x="1029" y="2233"/>
                      <a:pt x="1025" y="2242"/>
                    </a:cubicBezTo>
                    <a:cubicBezTo>
                      <a:pt x="1021" y="2248"/>
                      <a:pt x="1019" y="2255"/>
                      <a:pt x="1020" y="2262"/>
                    </a:cubicBezTo>
                    <a:cubicBezTo>
                      <a:pt x="1020" y="2265"/>
                      <a:pt x="1026" y="2280"/>
                      <a:pt x="1021" y="2276"/>
                    </a:cubicBezTo>
                    <a:cubicBezTo>
                      <a:pt x="1019" y="2273"/>
                      <a:pt x="1019" y="2269"/>
                      <a:pt x="1017" y="2267"/>
                    </a:cubicBezTo>
                    <a:cubicBezTo>
                      <a:pt x="1016" y="2265"/>
                      <a:pt x="1003" y="2254"/>
                      <a:pt x="1001" y="2254"/>
                    </a:cubicBezTo>
                    <a:cubicBezTo>
                      <a:pt x="996" y="2255"/>
                      <a:pt x="1012" y="2271"/>
                      <a:pt x="1011" y="2273"/>
                    </a:cubicBezTo>
                    <a:cubicBezTo>
                      <a:pt x="1011" y="2277"/>
                      <a:pt x="1006" y="2272"/>
                      <a:pt x="1005" y="2272"/>
                    </a:cubicBezTo>
                    <a:cubicBezTo>
                      <a:pt x="1001" y="2271"/>
                      <a:pt x="1004" y="2278"/>
                      <a:pt x="999" y="2277"/>
                    </a:cubicBezTo>
                    <a:cubicBezTo>
                      <a:pt x="996" y="2276"/>
                      <a:pt x="990" y="2266"/>
                      <a:pt x="983" y="2269"/>
                    </a:cubicBezTo>
                    <a:cubicBezTo>
                      <a:pt x="981" y="2269"/>
                      <a:pt x="980" y="2272"/>
                      <a:pt x="979" y="2273"/>
                    </a:cubicBezTo>
                    <a:cubicBezTo>
                      <a:pt x="973" y="2281"/>
                      <a:pt x="989" y="2282"/>
                      <a:pt x="987" y="2287"/>
                    </a:cubicBezTo>
                    <a:cubicBezTo>
                      <a:pt x="987" y="2290"/>
                      <a:pt x="980" y="2284"/>
                      <a:pt x="979" y="2284"/>
                    </a:cubicBezTo>
                    <a:cubicBezTo>
                      <a:pt x="975" y="2283"/>
                      <a:pt x="971" y="2286"/>
                      <a:pt x="971" y="2285"/>
                    </a:cubicBezTo>
                    <a:cubicBezTo>
                      <a:pt x="971" y="2284"/>
                      <a:pt x="969" y="2272"/>
                      <a:pt x="969" y="2270"/>
                    </a:cubicBezTo>
                    <a:cubicBezTo>
                      <a:pt x="970" y="2266"/>
                      <a:pt x="975" y="2264"/>
                      <a:pt x="973" y="2259"/>
                    </a:cubicBezTo>
                    <a:cubicBezTo>
                      <a:pt x="971" y="2254"/>
                      <a:pt x="965" y="2252"/>
                      <a:pt x="961" y="2253"/>
                    </a:cubicBezTo>
                    <a:cubicBezTo>
                      <a:pt x="959" y="2253"/>
                      <a:pt x="962" y="2254"/>
                      <a:pt x="961" y="2255"/>
                    </a:cubicBezTo>
                    <a:cubicBezTo>
                      <a:pt x="961" y="2255"/>
                      <a:pt x="956" y="2255"/>
                      <a:pt x="956" y="2254"/>
                    </a:cubicBezTo>
                    <a:cubicBezTo>
                      <a:pt x="956" y="2254"/>
                      <a:pt x="958" y="2254"/>
                      <a:pt x="957" y="2253"/>
                    </a:cubicBezTo>
                    <a:cubicBezTo>
                      <a:pt x="956" y="2252"/>
                      <a:pt x="954" y="2253"/>
                      <a:pt x="953" y="2252"/>
                    </a:cubicBezTo>
                    <a:cubicBezTo>
                      <a:pt x="951" y="2250"/>
                      <a:pt x="945" y="2245"/>
                      <a:pt x="941" y="2245"/>
                    </a:cubicBezTo>
                    <a:cubicBezTo>
                      <a:pt x="938" y="2245"/>
                      <a:pt x="943" y="2254"/>
                      <a:pt x="939" y="2251"/>
                    </a:cubicBezTo>
                    <a:cubicBezTo>
                      <a:pt x="937" y="2250"/>
                      <a:pt x="937" y="2243"/>
                      <a:pt x="935" y="2241"/>
                    </a:cubicBezTo>
                    <a:cubicBezTo>
                      <a:pt x="932" y="2239"/>
                      <a:pt x="930" y="2238"/>
                      <a:pt x="927" y="2236"/>
                    </a:cubicBezTo>
                    <a:cubicBezTo>
                      <a:pt x="926" y="2235"/>
                      <a:pt x="927" y="2233"/>
                      <a:pt x="926" y="2232"/>
                    </a:cubicBezTo>
                    <a:cubicBezTo>
                      <a:pt x="922" y="2229"/>
                      <a:pt x="925" y="2235"/>
                      <a:pt x="922" y="2229"/>
                    </a:cubicBezTo>
                    <a:cubicBezTo>
                      <a:pt x="921" y="2228"/>
                      <a:pt x="916" y="2230"/>
                      <a:pt x="916" y="2228"/>
                    </a:cubicBezTo>
                    <a:cubicBezTo>
                      <a:pt x="915" y="2227"/>
                      <a:pt x="918" y="2227"/>
                      <a:pt x="917" y="2225"/>
                    </a:cubicBezTo>
                    <a:cubicBezTo>
                      <a:pt x="916" y="2223"/>
                      <a:pt x="913" y="2223"/>
                      <a:pt x="912" y="2222"/>
                    </a:cubicBezTo>
                    <a:cubicBezTo>
                      <a:pt x="911" y="2221"/>
                      <a:pt x="911" y="2215"/>
                      <a:pt x="906" y="2215"/>
                    </a:cubicBezTo>
                    <a:cubicBezTo>
                      <a:pt x="905" y="2215"/>
                      <a:pt x="905" y="2217"/>
                      <a:pt x="904" y="2216"/>
                    </a:cubicBezTo>
                    <a:cubicBezTo>
                      <a:pt x="902" y="2216"/>
                      <a:pt x="904" y="2208"/>
                      <a:pt x="903" y="2207"/>
                    </a:cubicBezTo>
                    <a:cubicBezTo>
                      <a:pt x="901" y="2206"/>
                      <a:pt x="899" y="2207"/>
                      <a:pt x="897" y="2206"/>
                    </a:cubicBezTo>
                    <a:cubicBezTo>
                      <a:pt x="895" y="2204"/>
                      <a:pt x="895" y="2200"/>
                      <a:pt x="891" y="2199"/>
                    </a:cubicBezTo>
                    <a:cubicBezTo>
                      <a:pt x="890" y="2198"/>
                      <a:pt x="888" y="2199"/>
                      <a:pt x="887" y="2197"/>
                    </a:cubicBezTo>
                    <a:cubicBezTo>
                      <a:pt x="885" y="2196"/>
                      <a:pt x="885" y="2192"/>
                      <a:pt x="882" y="2191"/>
                    </a:cubicBezTo>
                    <a:cubicBezTo>
                      <a:pt x="877" y="2190"/>
                      <a:pt x="872" y="2196"/>
                      <a:pt x="867" y="2192"/>
                    </a:cubicBezTo>
                    <a:cubicBezTo>
                      <a:pt x="866" y="2191"/>
                      <a:pt x="871" y="2191"/>
                      <a:pt x="871" y="2191"/>
                    </a:cubicBezTo>
                    <a:cubicBezTo>
                      <a:pt x="874" y="2191"/>
                      <a:pt x="874" y="2189"/>
                      <a:pt x="877" y="2189"/>
                    </a:cubicBezTo>
                    <a:cubicBezTo>
                      <a:pt x="877" y="2189"/>
                      <a:pt x="878" y="2189"/>
                      <a:pt x="878" y="2189"/>
                    </a:cubicBezTo>
                    <a:cubicBezTo>
                      <a:pt x="878" y="2189"/>
                      <a:pt x="878" y="2188"/>
                      <a:pt x="878" y="2188"/>
                    </a:cubicBezTo>
                    <a:cubicBezTo>
                      <a:pt x="877" y="2185"/>
                      <a:pt x="874" y="2183"/>
                      <a:pt x="872" y="2180"/>
                    </a:cubicBezTo>
                    <a:cubicBezTo>
                      <a:pt x="869" y="2173"/>
                      <a:pt x="875" y="2175"/>
                      <a:pt x="875" y="2173"/>
                    </a:cubicBezTo>
                    <a:cubicBezTo>
                      <a:pt x="875" y="2170"/>
                      <a:pt x="870" y="2169"/>
                      <a:pt x="870" y="2166"/>
                    </a:cubicBezTo>
                    <a:cubicBezTo>
                      <a:pt x="870" y="2164"/>
                      <a:pt x="874" y="2167"/>
                      <a:pt x="874" y="2167"/>
                    </a:cubicBezTo>
                    <a:cubicBezTo>
                      <a:pt x="876" y="2170"/>
                      <a:pt x="878" y="2170"/>
                      <a:pt x="879" y="2175"/>
                    </a:cubicBezTo>
                    <a:cubicBezTo>
                      <a:pt x="879" y="2186"/>
                      <a:pt x="886" y="2179"/>
                      <a:pt x="889" y="2182"/>
                    </a:cubicBezTo>
                    <a:cubicBezTo>
                      <a:pt x="892" y="2184"/>
                      <a:pt x="885" y="2190"/>
                      <a:pt x="897" y="2187"/>
                    </a:cubicBezTo>
                    <a:cubicBezTo>
                      <a:pt x="898" y="2187"/>
                      <a:pt x="899" y="2186"/>
                      <a:pt x="901" y="2185"/>
                    </a:cubicBezTo>
                    <a:cubicBezTo>
                      <a:pt x="903" y="2184"/>
                      <a:pt x="901" y="2187"/>
                      <a:pt x="900" y="2187"/>
                    </a:cubicBezTo>
                    <a:cubicBezTo>
                      <a:pt x="899" y="2189"/>
                      <a:pt x="897" y="2191"/>
                      <a:pt x="895" y="2193"/>
                    </a:cubicBezTo>
                    <a:cubicBezTo>
                      <a:pt x="894" y="2193"/>
                      <a:pt x="891" y="2192"/>
                      <a:pt x="892" y="2194"/>
                    </a:cubicBezTo>
                    <a:cubicBezTo>
                      <a:pt x="892" y="2196"/>
                      <a:pt x="901" y="2203"/>
                      <a:pt x="903" y="2203"/>
                    </a:cubicBezTo>
                    <a:cubicBezTo>
                      <a:pt x="906" y="2204"/>
                      <a:pt x="904" y="2199"/>
                      <a:pt x="906" y="2200"/>
                    </a:cubicBezTo>
                    <a:cubicBezTo>
                      <a:pt x="907" y="2200"/>
                      <a:pt x="907" y="2202"/>
                      <a:pt x="908" y="2203"/>
                    </a:cubicBezTo>
                    <a:cubicBezTo>
                      <a:pt x="909" y="2203"/>
                      <a:pt x="910" y="2202"/>
                      <a:pt x="910" y="2203"/>
                    </a:cubicBezTo>
                    <a:cubicBezTo>
                      <a:pt x="911" y="2204"/>
                      <a:pt x="909" y="2205"/>
                      <a:pt x="908" y="2205"/>
                    </a:cubicBezTo>
                    <a:cubicBezTo>
                      <a:pt x="907" y="2207"/>
                      <a:pt x="908" y="2211"/>
                      <a:pt x="909" y="2212"/>
                    </a:cubicBezTo>
                    <a:cubicBezTo>
                      <a:pt x="910" y="2214"/>
                      <a:pt x="912" y="2211"/>
                      <a:pt x="914" y="2211"/>
                    </a:cubicBezTo>
                    <a:cubicBezTo>
                      <a:pt x="916" y="2211"/>
                      <a:pt x="915" y="2215"/>
                      <a:pt x="918" y="2214"/>
                    </a:cubicBezTo>
                    <a:cubicBezTo>
                      <a:pt x="919" y="2214"/>
                      <a:pt x="922" y="2207"/>
                      <a:pt x="921" y="2206"/>
                    </a:cubicBezTo>
                    <a:cubicBezTo>
                      <a:pt x="919" y="2203"/>
                      <a:pt x="918" y="2207"/>
                      <a:pt x="916" y="2207"/>
                    </a:cubicBezTo>
                    <a:cubicBezTo>
                      <a:pt x="913" y="2206"/>
                      <a:pt x="916" y="2202"/>
                      <a:pt x="916" y="2202"/>
                    </a:cubicBezTo>
                    <a:cubicBezTo>
                      <a:pt x="916" y="2201"/>
                      <a:pt x="910" y="2200"/>
                      <a:pt x="914" y="2198"/>
                    </a:cubicBezTo>
                    <a:cubicBezTo>
                      <a:pt x="919" y="2195"/>
                      <a:pt x="920" y="2203"/>
                      <a:pt x="924" y="2204"/>
                    </a:cubicBezTo>
                    <a:cubicBezTo>
                      <a:pt x="928" y="2205"/>
                      <a:pt x="922" y="2200"/>
                      <a:pt x="927" y="2200"/>
                    </a:cubicBezTo>
                    <a:cubicBezTo>
                      <a:pt x="929" y="2201"/>
                      <a:pt x="929" y="2204"/>
                      <a:pt x="931" y="2205"/>
                    </a:cubicBezTo>
                    <a:cubicBezTo>
                      <a:pt x="935" y="2207"/>
                      <a:pt x="938" y="2207"/>
                      <a:pt x="941" y="2210"/>
                    </a:cubicBezTo>
                    <a:cubicBezTo>
                      <a:pt x="942" y="2211"/>
                      <a:pt x="942" y="2212"/>
                      <a:pt x="943" y="2212"/>
                    </a:cubicBezTo>
                    <a:cubicBezTo>
                      <a:pt x="945" y="2212"/>
                      <a:pt x="944" y="2210"/>
                      <a:pt x="946" y="2211"/>
                    </a:cubicBezTo>
                    <a:cubicBezTo>
                      <a:pt x="947" y="2211"/>
                      <a:pt x="955" y="2218"/>
                      <a:pt x="957" y="2215"/>
                    </a:cubicBezTo>
                    <a:cubicBezTo>
                      <a:pt x="957" y="2214"/>
                      <a:pt x="956" y="2208"/>
                      <a:pt x="955" y="2207"/>
                    </a:cubicBezTo>
                    <a:cubicBezTo>
                      <a:pt x="955" y="2206"/>
                      <a:pt x="953" y="2206"/>
                      <a:pt x="953" y="2205"/>
                    </a:cubicBezTo>
                    <a:cubicBezTo>
                      <a:pt x="949" y="2200"/>
                      <a:pt x="960" y="2206"/>
                      <a:pt x="960" y="2203"/>
                    </a:cubicBezTo>
                    <a:cubicBezTo>
                      <a:pt x="960" y="2200"/>
                      <a:pt x="953" y="2196"/>
                      <a:pt x="951" y="2196"/>
                    </a:cubicBezTo>
                    <a:cubicBezTo>
                      <a:pt x="949" y="2195"/>
                      <a:pt x="947" y="2195"/>
                      <a:pt x="945" y="2195"/>
                    </a:cubicBezTo>
                    <a:cubicBezTo>
                      <a:pt x="944" y="2195"/>
                      <a:pt x="944" y="2196"/>
                      <a:pt x="944" y="2195"/>
                    </a:cubicBezTo>
                    <a:cubicBezTo>
                      <a:pt x="943" y="2193"/>
                      <a:pt x="947" y="2193"/>
                      <a:pt x="948" y="2192"/>
                    </a:cubicBezTo>
                    <a:cubicBezTo>
                      <a:pt x="951" y="2191"/>
                      <a:pt x="943" y="2190"/>
                      <a:pt x="942" y="2189"/>
                    </a:cubicBezTo>
                    <a:cubicBezTo>
                      <a:pt x="941" y="2189"/>
                      <a:pt x="941" y="2189"/>
                      <a:pt x="941" y="2188"/>
                    </a:cubicBezTo>
                    <a:cubicBezTo>
                      <a:pt x="941" y="2187"/>
                      <a:pt x="944" y="2188"/>
                      <a:pt x="944" y="2187"/>
                    </a:cubicBezTo>
                    <a:cubicBezTo>
                      <a:pt x="945" y="2186"/>
                      <a:pt x="941" y="2184"/>
                      <a:pt x="942" y="2182"/>
                    </a:cubicBezTo>
                    <a:cubicBezTo>
                      <a:pt x="942" y="2182"/>
                      <a:pt x="943" y="2182"/>
                      <a:pt x="943" y="2183"/>
                    </a:cubicBezTo>
                    <a:cubicBezTo>
                      <a:pt x="945" y="2184"/>
                      <a:pt x="951" y="2191"/>
                      <a:pt x="953" y="2189"/>
                    </a:cubicBezTo>
                    <a:cubicBezTo>
                      <a:pt x="956" y="2186"/>
                      <a:pt x="947" y="2177"/>
                      <a:pt x="948" y="2175"/>
                    </a:cubicBezTo>
                    <a:cubicBezTo>
                      <a:pt x="948" y="2173"/>
                      <a:pt x="952" y="2162"/>
                      <a:pt x="947" y="2165"/>
                    </a:cubicBezTo>
                    <a:cubicBezTo>
                      <a:pt x="945" y="2166"/>
                      <a:pt x="945" y="2172"/>
                      <a:pt x="941" y="2171"/>
                    </a:cubicBezTo>
                    <a:cubicBezTo>
                      <a:pt x="937" y="2169"/>
                      <a:pt x="942" y="2167"/>
                      <a:pt x="940" y="2165"/>
                    </a:cubicBezTo>
                    <a:cubicBezTo>
                      <a:pt x="938" y="2162"/>
                      <a:pt x="937" y="2165"/>
                      <a:pt x="935" y="2164"/>
                    </a:cubicBezTo>
                    <a:cubicBezTo>
                      <a:pt x="934" y="2163"/>
                      <a:pt x="936" y="2160"/>
                      <a:pt x="935" y="2160"/>
                    </a:cubicBezTo>
                    <a:cubicBezTo>
                      <a:pt x="934" y="2159"/>
                      <a:pt x="932" y="2160"/>
                      <a:pt x="931" y="2159"/>
                    </a:cubicBezTo>
                    <a:cubicBezTo>
                      <a:pt x="929" y="2159"/>
                      <a:pt x="927" y="2156"/>
                      <a:pt x="925" y="2156"/>
                    </a:cubicBezTo>
                    <a:cubicBezTo>
                      <a:pt x="923" y="2156"/>
                      <a:pt x="923" y="2159"/>
                      <a:pt x="921" y="2159"/>
                    </a:cubicBezTo>
                    <a:cubicBezTo>
                      <a:pt x="918" y="2160"/>
                      <a:pt x="910" y="2156"/>
                      <a:pt x="907" y="2161"/>
                    </a:cubicBezTo>
                    <a:cubicBezTo>
                      <a:pt x="905" y="2165"/>
                      <a:pt x="910" y="2170"/>
                      <a:pt x="907" y="2173"/>
                    </a:cubicBezTo>
                    <a:cubicBezTo>
                      <a:pt x="906" y="2174"/>
                      <a:pt x="899" y="2168"/>
                      <a:pt x="898" y="2167"/>
                    </a:cubicBezTo>
                    <a:cubicBezTo>
                      <a:pt x="898" y="2167"/>
                      <a:pt x="902" y="2163"/>
                      <a:pt x="903" y="2161"/>
                    </a:cubicBezTo>
                    <a:cubicBezTo>
                      <a:pt x="903" y="2160"/>
                      <a:pt x="901" y="2155"/>
                      <a:pt x="902" y="2155"/>
                    </a:cubicBezTo>
                    <a:cubicBezTo>
                      <a:pt x="903" y="2154"/>
                      <a:pt x="906" y="2155"/>
                      <a:pt x="908" y="2154"/>
                    </a:cubicBezTo>
                    <a:cubicBezTo>
                      <a:pt x="910" y="2153"/>
                      <a:pt x="910" y="2150"/>
                      <a:pt x="911" y="2149"/>
                    </a:cubicBezTo>
                    <a:cubicBezTo>
                      <a:pt x="913" y="2149"/>
                      <a:pt x="914" y="2151"/>
                      <a:pt x="915" y="2152"/>
                    </a:cubicBezTo>
                    <a:cubicBezTo>
                      <a:pt x="917" y="2152"/>
                      <a:pt x="924" y="2149"/>
                      <a:pt x="924" y="2146"/>
                    </a:cubicBezTo>
                    <a:cubicBezTo>
                      <a:pt x="925" y="2144"/>
                      <a:pt x="920" y="2144"/>
                      <a:pt x="920" y="2143"/>
                    </a:cubicBezTo>
                    <a:cubicBezTo>
                      <a:pt x="920" y="2142"/>
                      <a:pt x="923" y="2142"/>
                      <a:pt x="922" y="2141"/>
                    </a:cubicBezTo>
                    <a:cubicBezTo>
                      <a:pt x="922" y="2139"/>
                      <a:pt x="919" y="2137"/>
                      <a:pt x="920" y="2135"/>
                    </a:cubicBezTo>
                    <a:cubicBezTo>
                      <a:pt x="920" y="2134"/>
                      <a:pt x="924" y="2133"/>
                      <a:pt x="921" y="2131"/>
                    </a:cubicBezTo>
                    <a:cubicBezTo>
                      <a:pt x="921" y="2131"/>
                      <a:pt x="921" y="2131"/>
                      <a:pt x="920" y="2131"/>
                    </a:cubicBezTo>
                    <a:cubicBezTo>
                      <a:pt x="917" y="2129"/>
                      <a:pt x="915" y="2127"/>
                      <a:pt x="912" y="2125"/>
                    </a:cubicBezTo>
                    <a:cubicBezTo>
                      <a:pt x="911" y="2125"/>
                      <a:pt x="907" y="2121"/>
                      <a:pt x="907" y="2121"/>
                    </a:cubicBezTo>
                    <a:cubicBezTo>
                      <a:pt x="909" y="2121"/>
                      <a:pt x="922" y="2128"/>
                      <a:pt x="924" y="2129"/>
                    </a:cubicBezTo>
                    <a:cubicBezTo>
                      <a:pt x="927" y="2131"/>
                      <a:pt x="926" y="2126"/>
                      <a:pt x="928" y="2125"/>
                    </a:cubicBezTo>
                    <a:cubicBezTo>
                      <a:pt x="930" y="2125"/>
                      <a:pt x="931" y="2130"/>
                      <a:pt x="934" y="2129"/>
                    </a:cubicBezTo>
                    <a:cubicBezTo>
                      <a:pt x="944" y="2129"/>
                      <a:pt x="946" y="2116"/>
                      <a:pt x="953" y="2118"/>
                    </a:cubicBezTo>
                    <a:cubicBezTo>
                      <a:pt x="955" y="2119"/>
                      <a:pt x="950" y="2120"/>
                      <a:pt x="950" y="2121"/>
                    </a:cubicBezTo>
                    <a:cubicBezTo>
                      <a:pt x="947" y="2123"/>
                      <a:pt x="948" y="2126"/>
                      <a:pt x="945" y="2128"/>
                    </a:cubicBezTo>
                    <a:cubicBezTo>
                      <a:pt x="944" y="2128"/>
                      <a:pt x="943" y="2128"/>
                      <a:pt x="944" y="2129"/>
                    </a:cubicBezTo>
                    <a:cubicBezTo>
                      <a:pt x="944" y="2130"/>
                      <a:pt x="961" y="2136"/>
                      <a:pt x="962" y="2136"/>
                    </a:cubicBezTo>
                    <a:cubicBezTo>
                      <a:pt x="966" y="2137"/>
                      <a:pt x="965" y="2125"/>
                      <a:pt x="964" y="2123"/>
                    </a:cubicBezTo>
                    <a:cubicBezTo>
                      <a:pt x="963" y="2121"/>
                      <a:pt x="956" y="2121"/>
                      <a:pt x="957" y="2118"/>
                    </a:cubicBezTo>
                    <a:cubicBezTo>
                      <a:pt x="959" y="2116"/>
                      <a:pt x="961" y="2118"/>
                      <a:pt x="963" y="2118"/>
                    </a:cubicBezTo>
                    <a:cubicBezTo>
                      <a:pt x="964" y="2118"/>
                      <a:pt x="965" y="2117"/>
                      <a:pt x="966" y="2117"/>
                    </a:cubicBezTo>
                    <a:cubicBezTo>
                      <a:pt x="966" y="2117"/>
                      <a:pt x="966" y="2117"/>
                      <a:pt x="967" y="2117"/>
                    </a:cubicBezTo>
                    <a:cubicBezTo>
                      <a:pt x="967" y="2118"/>
                      <a:pt x="965" y="2120"/>
                      <a:pt x="965" y="2121"/>
                    </a:cubicBezTo>
                    <a:cubicBezTo>
                      <a:pt x="966" y="2124"/>
                      <a:pt x="976" y="2128"/>
                      <a:pt x="979" y="2129"/>
                    </a:cubicBezTo>
                    <a:cubicBezTo>
                      <a:pt x="982" y="2129"/>
                      <a:pt x="986" y="2120"/>
                      <a:pt x="990" y="2118"/>
                    </a:cubicBezTo>
                    <a:cubicBezTo>
                      <a:pt x="990" y="2118"/>
                      <a:pt x="991" y="2118"/>
                      <a:pt x="991" y="2118"/>
                    </a:cubicBezTo>
                    <a:cubicBezTo>
                      <a:pt x="990" y="2120"/>
                      <a:pt x="987" y="2124"/>
                      <a:pt x="986" y="2127"/>
                    </a:cubicBezTo>
                    <a:cubicBezTo>
                      <a:pt x="985" y="2128"/>
                      <a:pt x="982" y="2135"/>
                      <a:pt x="980" y="2136"/>
                    </a:cubicBezTo>
                    <a:cubicBezTo>
                      <a:pt x="979" y="2136"/>
                      <a:pt x="977" y="2135"/>
                      <a:pt x="976" y="2135"/>
                    </a:cubicBezTo>
                    <a:cubicBezTo>
                      <a:pt x="974" y="2136"/>
                      <a:pt x="979" y="2138"/>
                      <a:pt x="977" y="2139"/>
                    </a:cubicBezTo>
                    <a:cubicBezTo>
                      <a:pt x="975" y="2140"/>
                      <a:pt x="972" y="2137"/>
                      <a:pt x="970" y="2137"/>
                    </a:cubicBezTo>
                    <a:cubicBezTo>
                      <a:pt x="964" y="2138"/>
                      <a:pt x="971" y="2140"/>
                      <a:pt x="963" y="2141"/>
                    </a:cubicBezTo>
                    <a:cubicBezTo>
                      <a:pt x="961" y="2141"/>
                      <a:pt x="959" y="2139"/>
                      <a:pt x="957" y="2138"/>
                    </a:cubicBezTo>
                    <a:cubicBezTo>
                      <a:pt x="951" y="2134"/>
                      <a:pt x="942" y="2131"/>
                      <a:pt x="935" y="2133"/>
                    </a:cubicBezTo>
                    <a:cubicBezTo>
                      <a:pt x="934" y="2133"/>
                      <a:pt x="928" y="2135"/>
                      <a:pt x="928" y="2136"/>
                    </a:cubicBezTo>
                    <a:cubicBezTo>
                      <a:pt x="928" y="2137"/>
                      <a:pt x="931" y="2137"/>
                      <a:pt x="932" y="2137"/>
                    </a:cubicBezTo>
                    <a:cubicBezTo>
                      <a:pt x="934" y="2138"/>
                      <a:pt x="937" y="2142"/>
                      <a:pt x="941" y="2143"/>
                    </a:cubicBezTo>
                    <a:cubicBezTo>
                      <a:pt x="942" y="2143"/>
                      <a:pt x="942" y="2141"/>
                      <a:pt x="944" y="2142"/>
                    </a:cubicBezTo>
                    <a:cubicBezTo>
                      <a:pt x="946" y="2143"/>
                      <a:pt x="946" y="2148"/>
                      <a:pt x="949" y="2150"/>
                    </a:cubicBezTo>
                    <a:cubicBezTo>
                      <a:pt x="953" y="2152"/>
                      <a:pt x="952" y="2148"/>
                      <a:pt x="954" y="2148"/>
                    </a:cubicBezTo>
                    <a:cubicBezTo>
                      <a:pt x="956" y="2147"/>
                      <a:pt x="960" y="2155"/>
                      <a:pt x="961" y="2157"/>
                    </a:cubicBezTo>
                    <a:cubicBezTo>
                      <a:pt x="959" y="2155"/>
                      <a:pt x="959" y="2155"/>
                      <a:pt x="959" y="2155"/>
                    </a:cubicBezTo>
                    <a:cubicBezTo>
                      <a:pt x="963" y="2165"/>
                      <a:pt x="980" y="2178"/>
                      <a:pt x="988" y="2185"/>
                    </a:cubicBezTo>
                    <a:cubicBezTo>
                      <a:pt x="996" y="2194"/>
                      <a:pt x="1003" y="2205"/>
                      <a:pt x="1013" y="2212"/>
                    </a:cubicBezTo>
                    <a:cubicBezTo>
                      <a:pt x="1016" y="2214"/>
                      <a:pt x="1020" y="2214"/>
                      <a:pt x="1023" y="2216"/>
                    </a:cubicBezTo>
                    <a:cubicBezTo>
                      <a:pt x="1025" y="2216"/>
                      <a:pt x="1027" y="2219"/>
                      <a:pt x="1029" y="2220"/>
                    </a:cubicBezTo>
                    <a:cubicBezTo>
                      <a:pt x="1033" y="2221"/>
                      <a:pt x="1050" y="2217"/>
                      <a:pt x="1044" y="2218"/>
                    </a:cubicBezTo>
                    <a:cubicBezTo>
                      <a:pt x="1046" y="2218"/>
                      <a:pt x="1042" y="2220"/>
                      <a:pt x="1040" y="2221"/>
                    </a:cubicBezTo>
                    <a:close/>
                    <a:moveTo>
                      <a:pt x="1048" y="1949"/>
                    </a:moveTo>
                    <a:cubicBezTo>
                      <a:pt x="1047" y="1950"/>
                      <a:pt x="1047" y="1950"/>
                      <a:pt x="1047" y="1950"/>
                    </a:cubicBezTo>
                    <a:cubicBezTo>
                      <a:pt x="1045" y="1950"/>
                      <a:pt x="1046" y="1948"/>
                      <a:pt x="1045" y="1948"/>
                    </a:cubicBezTo>
                    <a:cubicBezTo>
                      <a:pt x="1043" y="1947"/>
                      <a:pt x="1043" y="1949"/>
                      <a:pt x="1042" y="1950"/>
                    </a:cubicBezTo>
                    <a:cubicBezTo>
                      <a:pt x="1041" y="1950"/>
                      <a:pt x="1040" y="1948"/>
                      <a:pt x="1039" y="1947"/>
                    </a:cubicBezTo>
                    <a:cubicBezTo>
                      <a:pt x="1038" y="1947"/>
                      <a:pt x="1036" y="1948"/>
                      <a:pt x="1035" y="1946"/>
                    </a:cubicBezTo>
                    <a:cubicBezTo>
                      <a:pt x="1034" y="1944"/>
                      <a:pt x="1041" y="1946"/>
                      <a:pt x="1042" y="1944"/>
                    </a:cubicBezTo>
                    <a:cubicBezTo>
                      <a:pt x="1045" y="1940"/>
                      <a:pt x="1045" y="1933"/>
                      <a:pt x="1043" y="1928"/>
                    </a:cubicBezTo>
                    <a:cubicBezTo>
                      <a:pt x="1042" y="1924"/>
                      <a:pt x="1036" y="1917"/>
                      <a:pt x="1031" y="1917"/>
                    </a:cubicBezTo>
                    <a:cubicBezTo>
                      <a:pt x="1029" y="1918"/>
                      <a:pt x="1029" y="1929"/>
                      <a:pt x="1026" y="1926"/>
                    </a:cubicBezTo>
                    <a:cubicBezTo>
                      <a:pt x="1022" y="1922"/>
                      <a:pt x="1032" y="1914"/>
                      <a:pt x="1031" y="1912"/>
                    </a:cubicBezTo>
                    <a:cubicBezTo>
                      <a:pt x="1030" y="1908"/>
                      <a:pt x="1021" y="1905"/>
                      <a:pt x="1022" y="1900"/>
                    </a:cubicBezTo>
                    <a:cubicBezTo>
                      <a:pt x="1023" y="1892"/>
                      <a:pt x="1031" y="1895"/>
                      <a:pt x="1032" y="1894"/>
                    </a:cubicBezTo>
                    <a:cubicBezTo>
                      <a:pt x="1033" y="1893"/>
                      <a:pt x="1032" y="1890"/>
                      <a:pt x="1033" y="1889"/>
                    </a:cubicBezTo>
                    <a:cubicBezTo>
                      <a:pt x="1034" y="1889"/>
                      <a:pt x="1035" y="1893"/>
                      <a:pt x="1036" y="1893"/>
                    </a:cubicBezTo>
                    <a:cubicBezTo>
                      <a:pt x="1037" y="1896"/>
                      <a:pt x="1040" y="1898"/>
                      <a:pt x="1041" y="1901"/>
                    </a:cubicBezTo>
                    <a:cubicBezTo>
                      <a:pt x="1040" y="1900"/>
                      <a:pt x="1040" y="1900"/>
                      <a:pt x="1040" y="1900"/>
                    </a:cubicBezTo>
                    <a:cubicBezTo>
                      <a:pt x="1043" y="1905"/>
                      <a:pt x="1049" y="1903"/>
                      <a:pt x="1052" y="1907"/>
                    </a:cubicBezTo>
                    <a:cubicBezTo>
                      <a:pt x="1059" y="1915"/>
                      <a:pt x="1053" y="1924"/>
                      <a:pt x="1053" y="1933"/>
                    </a:cubicBezTo>
                    <a:cubicBezTo>
                      <a:pt x="1053" y="1935"/>
                      <a:pt x="1055" y="1934"/>
                      <a:pt x="1055" y="1936"/>
                    </a:cubicBezTo>
                    <a:cubicBezTo>
                      <a:pt x="1055" y="1941"/>
                      <a:pt x="1049" y="1942"/>
                      <a:pt x="1048" y="1946"/>
                    </a:cubicBezTo>
                    <a:cubicBezTo>
                      <a:pt x="1048" y="1947"/>
                      <a:pt x="1049" y="1948"/>
                      <a:pt x="1048" y="1949"/>
                    </a:cubicBezTo>
                    <a:close/>
                    <a:moveTo>
                      <a:pt x="1115" y="2058"/>
                    </a:moveTo>
                    <a:cubicBezTo>
                      <a:pt x="1114" y="2058"/>
                      <a:pt x="1107" y="2061"/>
                      <a:pt x="1106" y="2062"/>
                    </a:cubicBezTo>
                    <a:cubicBezTo>
                      <a:pt x="1106" y="2064"/>
                      <a:pt x="1108" y="2065"/>
                      <a:pt x="1108" y="2066"/>
                    </a:cubicBezTo>
                    <a:cubicBezTo>
                      <a:pt x="1113" y="2076"/>
                      <a:pt x="1119" y="2066"/>
                      <a:pt x="1112" y="2075"/>
                    </a:cubicBezTo>
                    <a:cubicBezTo>
                      <a:pt x="1111" y="2076"/>
                      <a:pt x="1110" y="2078"/>
                      <a:pt x="1109" y="2079"/>
                    </a:cubicBezTo>
                    <a:cubicBezTo>
                      <a:pt x="1105" y="2081"/>
                      <a:pt x="1095" y="2070"/>
                      <a:pt x="1092" y="2067"/>
                    </a:cubicBezTo>
                    <a:cubicBezTo>
                      <a:pt x="1078" y="2054"/>
                      <a:pt x="1064" y="2046"/>
                      <a:pt x="1056" y="2035"/>
                    </a:cubicBezTo>
                    <a:cubicBezTo>
                      <a:pt x="1055" y="2033"/>
                      <a:pt x="1048" y="2023"/>
                      <a:pt x="1049" y="2021"/>
                    </a:cubicBezTo>
                    <a:cubicBezTo>
                      <a:pt x="1050" y="2018"/>
                      <a:pt x="1055" y="2023"/>
                      <a:pt x="1057" y="2024"/>
                    </a:cubicBezTo>
                    <a:cubicBezTo>
                      <a:pt x="1061" y="2028"/>
                      <a:pt x="1061" y="2028"/>
                      <a:pt x="1061" y="2028"/>
                    </a:cubicBezTo>
                    <a:cubicBezTo>
                      <a:pt x="1062" y="2030"/>
                      <a:pt x="1067" y="2036"/>
                      <a:pt x="1069" y="2036"/>
                    </a:cubicBezTo>
                    <a:cubicBezTo>
                      <a:pt x="1069" y="2037"/>
                      <a:pt x="1068" y="2034"/>
                      <a:pt x="1069" y="2034"/>
                    </a:cubicBezTo>
                    <a:cubicBezTo>
                      <a:pt x="1071" y="2033"/>
                      <a:pt x="1075" y="2034"/>
                      <a:pt x="1078" y="2035"/>
                    </a:cubicBezTo>
                    <a:cubicBezTo>
                      <a:pt x="1078" y="2035"/>
                      <a:pt x="1090" y="2054"/>
                      <a:pt x="1091" y="2049"/>
                    </a:cubicBezTo>
                    <a:cubicBezTo>
                      <a:pt x="1091" y="2049"/>
                      <a:pt x="1087" y="2041"/>
                      <a:pt x="1087" y="2041"/>
                    </a:cubicBezTo>
                    <a:cubicBezTo>
                      <a:pt x="1089" y="2039"/>
                      <a:pt x="1091" y="2043"/>
                      <a:pt x="1092" y="2044"/>
                    </a:cubicBezTo>
                    <a:cubicBezTo>
                      <a:pt x="1102" y="2049"/>
                      <a:pt x="1096" y="2056"/>
                      <a:pt x="1100" y="2059"/>
                    </a:cubicBezTo>
                    <a:cubicBezTo>
                      <a:pt x="1101" y="2059"/>
                      <a:pt x="1115" y="2053"/>
                      <a:pt x="1117" y="2054"/>
                    </a:cubicBezTo>
                    <a:cubicBezTo>
                      <a:pt x="1119" y="2054"/>
                      <a:pt x="1116" y="2057"/>
                      <a:pt x="1115" y="2058"/>
                    </a:cubicBezTo>
                    <a:close/>
                    <a:moveTo>
                      <a:pt x="1274" y="3798"/>
                    </a:moveTo>
                    <a:cubicBezTo>
                      <a:pt x="1273" y="3798"/>
                      <a:pt x="1273" y="3798"/>
                      <a:pt x="1273" y="3798"/>
                    </a:cubicBezTo>
                    <a:cubicBezTo>
                      <a:pt x="1259" y="3792"/>
                      <a:pt x="1266" y="3776"/>
                      <a:pt x="1237" y="3760"/>
                    </a:cubicBezTo>
                    <a:cubicBezTo>
                      <a:pt x="1229" y="3755"/>
                      <a:pt x="1217" y="3751"/>
                      <a:pt x="1210" y="3749"/>
                    </a:cubicBezTo>
                    <a:cubicBezTo>
                      <a:pt x="1208" y="3748"/>
                      <a:pt x="1194" y="3753"/>
                      <a:pt x="1199" y="3744"/>
                    </a:cubicBezTo>
                    <a:cubicBezTo>
                      <a:pt x="1203" y="3736"/>
                      <a:pt x="1268" y="3762"/>
                      <a:pt x="1267" y="3785"/>
                    </a:cubicBezTo>
                    <a:cubicBezTo>
                      <a:pt x="1267" y="3789"/>
                      <a:pt x="1267" y="3790"/>
                      <a:pt x="1270" y="3793"/>
                    </a:cubicBezTo>
                    <a:cubicBezTo>
                      <a:pt x="1272" y="3795"/>
                      <a:pt x="1282" y="3804"/>
                      <a:pt x="1274" y="3798"/>
                    </a:cubicBezTo>
                    <a:close/>
                    <a:moveTo>
                      <a:pt x="1424" y="3883"/>
                    </a:moveTo>
                    <a:cubicBezTo>
                      <a:pt x="1420" y="3888"/>
                      <a:pt x="1395" y="3867"/>
                      <a:pt x="1392" y="3860"/>
                    </a:cubicBezTo>
                    <a:cubicBezTo>
                      <a:pt x="1391" y="3859"/>
                      <a:pt x="1390" y="3851"/>
                      <a:pt x="1389" y="3851"/>
                    </a:cubicBezTo>
                    <a:cubicBezTo>
                      <a:pt x="1388" y="3851"/>
                      <a:pt x="1376" y="3850"/>
                      <a:pt x="1371" y="3846"/>
                    </a:cubicBezTo>
                    <a:cubicBezTo>
                      <a:pt x="1370" y="3845"/>
                      <a:pt x="1362" y="3840"/>
                      <a:pt x="1362" y="3842"/>
                    </a:cubicBezTo>
                    <a:cubicBezTo>
                      <a:pt x="1362" y="3844"/>
                      <a:pt x="1363" y="3848"/>
                      <a:pt x="1358" y="3845"/>
                    </a:cubicBezTo>
                    <a:cubicBezTo>
                      <a:pt x="1356" y="3843"/>
                      <a:pt x="1359" y="3837"/>
                      <a:pt x="1356" y="3836"/>
                    </a:cubicBezTo>
                    <a:cubicBezTo>
                      <a:pt x="1351" y="3834"/>
                      <a:pt x="1350" y="3842"/>
                      <a:pt x="1347" y="3841"/>
                    </a:cubicBezTo>
                    <a:cubicBezTo>
                      <a:pt x="1346" y="3841"/>
                      <a:pt x="1345" y="3841"/>
                      <a:pt x="1345" y="3840"/>
                    </a:cubicBezTo>
                    <a:cubicBezTo>
                      <a:pt x="1343" y="3837"/>
                      <a:pt x="1351" y="3840"/>
                      <a:pt x="1346" y="3829"/>
                    </a:cubicBezTo>
                    <a:cubicBezTo>
                      <a:pt x="1345" y="3827"/>
                      <a:pt x="1346" y="3825"/>
                      <a:pt x="1344" y="3824"/>
                    </a:cubicBezTo>
                    <a:cubicBezTo>
                      <a:pt x="1325" y="3812"/>
                      <a:pt x="1309" y="3827"/>
                      <a:pt x="1291" y="3814"/>
                    </a:cubicBezTo>
                    <a:cubicBezTo>
                      <a:pt x="1290" y="3814"/>
                      <a:pt x="1284" y="3810"/>
                      <a:pt x="1285" y="3810"/>
                    </a:cubicBezTo>
                    <a:cubicBezTo>
                      <a:pt x="1286" y="3808"/>
                      <a:pt x="1308" y="3815"/>
                      <a:pt x="1313" y="3817"/>
                    </a:cubicBezTo>
                    <a:cubicBezTo>
                      <a:pt x="1312" y="3813"/>
                      <a:pt x="1312" y="3813"/>
                      <a:pt x="1312" y="3813"/>
                    </a:cubicBezTo>
                    <a:cubicBezTo>
                      <a:pt x="1318" y="3816"/>
                      <a:pt x="1348" y="3816"/>
                      <a:pt x="1349" y="3816"/>
                    </a:cubicBezTo>
                    <a:cubicBezTo>
                      <a:pt x="1352" y="3819"/>
                      <a:pt x="1358" y="3822"/>
                      <a:pt x="1356" y="3825"/>
                    </a:cubicBezTo>
                    <a:cubicBezTo>
                      <a:pt x="1355" y="3825"/>
                      <a:pt x="1347" y="3823"/>
                      <a:pt x="1350" y="3826"/>
                    </a:cubicBezTo>
                    <a:cubicBezTo>
                      <a:pt x="1359" y="3836"/>
                      <a:pt x="1376" y="3836"/>
                      <a:pt x="1389" y="3841"/>
                    </a:cubicBezTo>
                    <a:cubicBezTo>
                      <a:pt x="1391" y="3841"/>
                      <a:pt x="1393" y="3844"/>
                      <a:pt x="1393" y="3845"/>
                    </a:cubicBezTo>
                    <a:cubicBezTo>
                      <a:pt x="1395" y="3860"/>
                      <a:pt x="1395" y="3853"/>
                      <a:pt x="1412" y="3859"/>
                    </a:cubicBezTo>
                    <a:cubicBezTo>
                      <a:pt x="1413" y="3860"/>
                      <a:pt x="1409" y="3861"/>
                      <a:pt x="1408" y="3861"/>
                    </a:cubicBezTo>
                    <a:cubicBezTo>
                      <a:pt x="1402" y="3860"/>
                      <a:pt x="1401" y="3858"/>
                      <a:pt x="1406" y="3862"/>
                    </a:cubicBezTo>
                    <a:cubicBezTo>
                      <a:pt x="1407" y="3863"/>
                      <a:pt x="1413" y="3864"/>
                      <a:pt x="1409" y="3864"/>
                    </a:cubicBezTo>
                    <a:cubicBezTo>
                      <a:pt x="1407" y="3864"/>
                      <a:pt x="1405" y="3863"/>
                      <a:pt x="1402" y="3863"/>
                    </a:cubicBezTo>
                    <a:cubicBezTo>
                      <a:pt x="1402" y="3863"/>
                      <a:pt x="1404" y="3864"/>
                      <a:pt x="1404" y="3865"/>
                    </a:cubicBezTo>
                    <a:cubicBezTo>
                      <a:pt x="1405" y="3870"/>
                      <a:pt x="1429" y="3878"/>
                      <a:pt x="1424" y="3883"/>
                    </a:cubicBezTo>
                    <a:close/>
                    <a:moveTo>
                      <a:pt x="3355" y="1120"/>
                    </a:moveTo>
                    <a:cubicBezTo>
                      <a:pt x="3359" y="1114"/>
                      <a:pt x="3364" y="1100"/>
                      <a:pt x="3374" y="1104"/>
                    </a:cubicBezTo>
                    <a:cubicBezTo>
                      <a:pt x="3376" y="1104"/>
                      <a:pt x="3370" y="1108"/>
                      <a:pt x="3370" y="1109"/>
                    </a:cubicBezTo>
                    <a:cubicBezTo>
                      <a:pt x="3370" y="1109"/>
                      <a:pt x="3375" y="1107"/>
                      <a:pt x="3376" y="1107"/>
                    </a:cubicBezTo>
                    <a:cubicBezTo>
                      <a:pt x="3379" y="1110"/>
                      <a:pt x="3376" y="1116"/>
                      <a:pt x="3378" y="1120"/>
                    </a:cubicBezTo>
                    <a:cubicBezTo>
                      <a:pt x="3379" y="1121"/>
                      <a:pt x="3383" y="1128"/>
                      <a:pt x="3382" y="1128"/>
                    </a:cubicBezTo>
                    <a:cubicBezTo>
                      <a:pt x="3377" y="1130"/>
                      <a:pt x="3365" y="1131"/>
                      <a:pt x="3360" y="1130"/>
                    </a:cubicBezTo>
                    <a:cubicBezTo>
                      <a:pt x="3354" y="1128"/>
                      <a:pt x="3355" y="1121"/>
                      <a:pt x="3354" y="1121"/>
                    </a:cubicBezTo>
                    <a:lnTo>
                      <a:pt x="3355" y="1120"/>
                    </a:lnTo>
                    <a:close/>
                    <a:moveTo>
                      <a:pt x="3423" y="2054"/>
                    </a:moveTo>
                    <a:cubicBezTo>
                      <a:pt x="3422" y="2055"/>
                      <a:pt x="3421" y="2059"/>
                      <a:pt x="3419" y="2056"/>
                    </a:cubicBezTo>
                    <a:cubicBezTo>
                      <a:pt x="3404" y="2046"/>
                      <a:pt x="3354" y="2044"/>
                      <a:pt x="3356" y="2035"/>
                    </a:cubicBezTo>
                    <a:cubicBezTo>
                      <a:pt x="3356" y="2030"/>
                      <a:pt x="3366" y="2034"/>
                      <a:pt x="3368" y="2034"/>
                    </a:cubicBezTo>
                    <a:cubicBezTo>
                      <a:pt x="3371" y="2034"/>
                      <a:pt x="3371" y="2039"/>
                      <a:pt x="3373" y="2041"/>
                    </a:cubicBezTo>
                    <a:cubicBezTo>
                      <a:pt x="3383" y="2050"/>
                      <a:pt x="3398" y="2039"/>
                      <a:pt x="3406" y="2041"/>
                    </a:cubicBezTo>
                    <a:cubicBezTo>
                      <a:pt x="3412" y="2044"/>
                      <a:pt x="3426" y="2045"/>
                      <a:pt x="3423" y="2054"/>
                    </a:cubicBezTo>
                    <a:close/>
                    <a:moveTo>
                      <a:pt x="3588" y="2595"/>
                    </a:moveTo>
                    <a:cubicBezTo>
                      <a:pt x="3585" y="2595"/>
                      <a:pt x="3581" y="2613"/>
                      <a:pt x="3567" y="2607"/>
                    </a:cubicBezTo>
                    <a:cubicBezTo>
                      <a:pt x="3565" y="2606"/>
                      <a:pt x="3558" y="2603"/>
                      <a:pt x="3557" y="2601"/>
                    </a:cubicBezTo>
                    <a:cubicBezTo>
                      <a:pt x="3557" y="2601"/>
                      <a:pt x="3561" y="2587"/>
                      <a:pt x="3565" y="2585"/>
                    </a:cubicBezTo>
                    <a:cubicBezTo>
                      <a:pt x="3565" y="2585"/>
                      <a:pt x="3565" y="2585"/>
                      <a:pt x="3565" y="2585"/>
                    </a:cubicBezTo>
                    <a:cubicBezTo>
                      <a:pt x="3571" y="2588"/>
                      <a:pt x="3568" y="2587"/>
                      <a:pt x="3572" y="2592"/>
                    </a:cubicBezTo>
                    <a:cubicBezTo>
                      <a:pt x="3577" y="2598"/>
                      <a:pt x="3596" y="2587"/>
                      <a:pt x="3595" y="2596"/>
                    </a:cubicBezTo>
                    <a:cubicBezTo>
                      <a:pt x="3595" y="2598"/>
                      <a:pt x="3589" y="2595"/>
                      <a:pt x="3588" y="2595"/>
                    </a:cubicBezTo>
                    <a:close/>
                    <a:moveTo>
                      <a:pt x="3711" y="1947"/>
                    </a:moveTo>
                    <a:cubicBezTo>
                      <a:pt x="3711" y="1947"/>
                      <a:pt x="3711" y="1947"/>
                      <a:pt x="3711" y="1947"/>
                    </a:cubicBezTo>
                    <a:cubicBezTo>
                      <a:pt x="3710" y="1940"/>
                      <a:pt x="3739" y="1935"/>
                      <a:pt x="3745" y="1932"/>
                    </a:cubicBezTo>
                    <a:cubicBezTo>
                      <a:pt x="3750" y="1930"/>
                      <a:pt x="3761" y="1924"/>
                      <a:pt x="3761" y="1918"/>
                    </a:cubicBezTo>
                    <a:cubicBezTo>
                      <a:pt x="3761" y="1917"/>
                      <a:pt x="3763" y="1913"/>
                      <a:pt x="3765" y="1916"/>
                    </a:cubicBezTo>
                    <a:cubicBezTo>
                      <a:pt x="3778" y="1934"/>
                      <a:pt x="3712" y="1947"/>
                      <a:pt x="3711" y="1947"/>
                    </a:cubicBezTo>
                    <a:close/>
                    <a:moveTo>
                      <a:pt x="3979" y="2547"/>
                    </a:moveTo>
                    <a:cubicBezTo>
                      <a:pt x="3978" y="2547"/>
                      <a:pt x="3978" y="2547"/>
                      <a:pt x="3978" y="2547"/>
                    </a:cubicBezTo>
                    <a:cubicBezTo>
                      <a:pt x="3977" y="2550"/>
                      <a:pt x="3977" y="2552"/>
                      <a:pt x="3976" y="2554"/>
                    </a:cubicBezTo>
                    <a:cubicBezTo>
                      <a:pt x="3974" y="2565"/>
                      <a:pt x="3963" y="2548"/>
                      <a:pt x="3962" y="2549"/>
                    </a:cubicBezTo>
                    <a:cubicBezTo>
                      <a:pt x="3961" y="2549"/>
                      <a:pt x="3960" y="2550"/>
                      <a:pt x="3960" y="2550"/>
                    </a:cubicBezTo>
                    <a:cubicBezTo>
                      <a:pt x="3952" y="2563"/>
                      <a:pt x="3943" y="2559"/>
                      <a:pt x="3944" y="2543"/>
                    </a:cubicBezTo>
                    <a:cubicBezTo>
                      <a:pt x="3944" y="2540"/>
                      <a:pt x="3993" y="2536"/>
                      <a:pt x="3979" y="2547"/>
                    </a:cubicBezTo>
                    <a:close/>
                    <a:moveTo>
                      <a:pt x="4473" y="2739"/>
                    </a:moveTo>
                    <a:cubicBezTo>
                      <a:pt x="4471" y="2743"/>
                      <a:pt x="4484" y="2731"/>
                      <a:pt x="4483" y="2736"/>
                    </a:cubicBezTo>
                    <a:cubicBezTo>
                      <a:pt x="4482" y="2740"/>
                      <a:pt x="4493" y="2750"/>
                      <a:pt x="4492" y="2752"/>
                    </a:cubicBezTo>
                    <a:cubicBezTo>
                      <a:pt x="4490" y="2755"/>
                      <a:pt x="4496" y="2751"/>
                      <a:pt x="4496" y="2753"/>
                    </a:cubicBezTo>
                    <a:cubicBezTo>
                      <a:pt x="4494" y="2758"/>
                      <a:pt x="4484" y="2754"/>
                      <a:pt x="4481" y="2756"/>
                    </a:cubicBezTo>
                    <a:cubicBezTo>
                      <a:pt x="4466" y="2767"/>
                      <a:pt x="4481" y="2746"/>
                      <a:pt x="4472" y="2750"/>
                    </a:cubicBezTo>
                    <a:cubicBezTo>
                      <a:pt x="4469" y="2751"/>
                      <a:pt x="4468" y="2748"/>
                      <a:pt x="4464" y="2749"/>
                    </a:cubicBezTo>
                    <a:cubicBezTo>
                      <a:pt x="4460" y="2750"/>
                      <a:pt x="4454" y="2752"/>
                      <a:pt x="4451" y="2748"/>
                    </a:cubicBezTo>
                    <a:cubicBezTo>
                      <a:pt x="4447" y="2742"/>
                      <a:pt x="4466" y="2744"/>
                      <a:pt x="4460" y="2742"/>
                    </a:cubicBezTo>
                    <a:cubicBezTo>
                      <a:pt x="4440" y="2734"/>
                      <a:pt x="4420" y="2749"/>
                      <a:pt x="4404" y="2748"/>
                    </a:cubicBezTo>
                    <a:cubicBezTo>
                      <a:pt x="4403" y="2748"/>
                      <a:pt x="4401" y="2746"/>
                      <a:pt x="4400" y="2744"/>
                    </a:cubicBezTo>
                    <a:cubicBezTo>
                      <a:pt x="4398" y="2737"/>
                      <a:pt x="4404" y="2745"/>
                      <a:pt x="4407" y="2743"/>
                    </a:cubicBezTo>
                    <a:cubicBezTo>
                      <a:pt x="4411" y="2740"/>
                      <a:pt x="4397" y="2734"/>
                      <a:pt x="4400" y="2730"/>
                    </a:cubicBezTo>
                    <a:cubicBezTo>
                      <a:pt x="4405" y="2721"/>
                      <a:pt x="4430" y="2709"/>
                      <a:pt x="4440" y="2714"/>
                    </a:cubicBezTo>
                    <a:cubicBezTo>
                      <a:pt x="4442" y="2715"/>
                      <a:pt x="4437" y="2715"/>
                      <a:pt x="4435" y="2716"/>
                    </a:cubicBezTo>
                    <a:cubicBezTo>
                      <a:pt x="4434" y="2716"/>
                      <a:pt x="4446" y="2733"/>
                      <a:pt x="4448" y="2732"/>
                    </a:cubicBezTo>
                    <a:cubicBezTo>
                      <a:pt x="4455" y="2730"/>
                      <a:pt x="4455" y="2719"/>
                      <a:pt x="4451" y="2718"/>
                    </a:cubicBezTo>
                    <a:cubicBezTo>
                      <a:pt x="4449" y="2718"/>
                      <a:pt x="4450" y="2714"/>
                      <a:pt x="4450" y="2713"/>
                    </a:cubicBezTo>
                    <a:cubicBezTo>
                      <a:pt x="4451" y="2713"/>
                      <a:pt x="4450" y="2713"/>
                      <a:pt x="4450" y="2713"/>
                    </a:cubicBezTo>
                    <a:cubicBezTo>
                      <a:pt x="4450" y="2713"/>
                      <a:pt x="4450" y="2713"/>
                      <a:pt x="4450" y="2713"/>
                    </a:cubicBezTo>
                    <a:cubicBezTo>
                      <a:pt x="4443" y="2692"/>
                      <a:pt x="4519" y="2698"/>
                      <a:pt x="4521" y="2710"/>
                    </a:cubicBezTo>
                    <a:cubicBezTo>
                      <a:pt x="4522" y="2721"/>
                      <a:pt x="4481" y="2721"/>
                      <a:pt x="4473" y="2739"/>
                    </a:cubicBezTo>
                    <a:close/>
                    <a:moveTo>
                      <a:pt x="4601" y="276"/>
                    </a:moveTo>
                    <a:cubicBezTo>
                      <a:pt x="4578" y="271"/>
                      <a:pt x="4590" y="254"/>
                      <a:pt x="4601" y="255"/>
                    </a:cubicBezTo>
                    <a:cubicBezTo>
                      <a:pt x="4603" y="255"/>
                      <a:pt x="4603" y="255"/>
                      <a:pt x="4603" y="255"/>
                    </a:cubicBezTo>
                    <a:cubicBezTo>
                      <a:pt x="4611" y="258"/>
                      <a:pt x="4596" y="254"/>
                      <a:pt x="4602" y="261"/>
                    </a:cubicBezTo>
                    <a:cubicBezTo>
                      <a:pt x="4603" y="261"/>
                      <a:pt x="4603" y="262"/>
                      <a:pt x="4604" y="262"/>
                    </a:cubicBezTo>
                    <a:cubicBezTo>
                      <a:pt x="4618" y="267"/>
                      <a:pt x="4615" y="280"/>
                      <a:pt x="4601" y="276"/>
                    </a:cubicBezTo>
                    <a:close/>
                    <a:moveTo>
                      <a:pt x="4625" y="309"/>
                    </a:moveTo>
                    <a:cubicBezTo>
                      <a:pt x="4620" y="307"/>
                      <a:pt x="4634" y="300"/>
                      <a:pt x="4633" y="295"/>
                    </a:cubicBezTo>
                    <a:cubicBezTo>
                      <a:pt x="4633" y="294"/>
                      <a:pt x="4606" y="277"/>
                      <a:pt x="4625" y="278"/>
                    </a:cubicBezTo>
                    <a:cubicBezTo>
                      <a:pt x="4674" y="272"/>
                      <a:pt x="4647" y="317"/>
                      <a:pt x="4625" y="309"/>
                    </a:cubicBezTo>
                    <a:close/>
                    <a:moveTo>
                      <a:pt x="4645" y="2984"/>
                    </a:moveTo>
                    <a:cubicBezTo>
                      <a:pt x="4645" y="2984"/>
                      <a:pt x="4645" y="2984"/>
                      <a:pt x="4645" y="2984"/>
                    </a:cubicBezTo>
                    <a:cubicBezTo>
                      <a:pt x="4644" y="2982"/>
                      <a:pt x="4644" y="2982"/>
                      <a:pt x="4644" y="2982"/>
                    </a:cubicBezTo>
                    <a:cubicBezTo>
                      <a:pt x="4644" y="2983"/>
                      <a:pt x="4644" y="2983"/>
                      <a:pt x="4645" y="2984"/>
                    </a:cubicBezTo>
                    <a:cubicBezTo>
                      <a:pt x="4644" y="2976"/>
                      <a:pt x="4644" y="2947"/>
                      <a:pt x="4660" y="2957"/>
                    </a:cubicBezTo>
                    <a:cubicBezTo>
                      <a:pt x="4661" y="2957"/>
                      <a:pt x="4667" y="2961"/>
                      <a:pt x="4667" y="2960"/>
                    </a:cubicBezTo>
                    <a:cubicBezTo>
                      <a:pt x="4669" y="2955"/>
                      <a:pt x="4659" y="2956"/>
                      <a:pt x="4660" y="2955"/>
                    </a:cubicBezTo>
                    <a:cubicBezTo>
                      <a:pt x="4664" y="2947"/>
                      <a:pt x="4672" y="2962"/>
                      <a:pt x="4673" y="2962"/>
                    </a:cubicBezTo>
                    <a:cubicBezTo>
                      <a:pt x="4677" y="2964"/>
                      <a:pt x="4677" y="2962"/>
                      <a:pt x="4678" y="2966"/>
                    </a:cubicBezTo>
                    <a:cubicBezTo>
                      <a:pt x="4685" y="2987"/>
                      <a:pt x="4673" y="2975"/>
                      <a:pt x="4672" y="2979"/>
                    </a:cubicBezTo>
                    <a:cubicBezTo>
                      <a:pt x="4669" y="2996"/>
                      <a:pt x="4680" y="2988"/>
                      <a:pt x="4675" y="2996"/>
                    </a:cubicBezTo>
                    <a:cubicBezTo>
                      <a:pt x="4669" y="3007"/>
                      <a:pt x="4651" y="2990"/>
                      <a:pt x="4645" y="2984"/>
                    </a:cubicBezTo>
                    <a:close/>
                    <a:moveTo>
                      <a:pt x="4678" y="3025"/>
                    </a:moveTo>
                    <a:cubicBezTo>
                      <a:pt x="4676" y="3025"/>
                      <a:pt x="4673" y="3020"/>
                      <a:pt x="4672" y="3019"/>
                    </a:cubicBezTo>
                    <a:cubicBezTo>
                      <a:pt x="4672" y="3019"/>
                      <a:pt x="4672" y="3019"/>
                      <a:pt x="4673" y="3019"/>
                    </a:cubicBezTo>
                    <a:cubicBezTo>
                      <a:pt x="4672" y="3019"/>
                      <a:pt x="4672" y="3019"/>
                      <a:pt x="4672" y="3019"/>
                    </a:cubicBezTo>
                    <a:cubicBezTo>
                      <a:pt x="4672" y="3018"/>
                      <a:pt x="4672" y="3018"/>
                      <a:pt x="4672" y="3019"/>
                    </a:cubicBezTo>
                    <a:cubicBezTo>
                      <a:pt x="4670" y="3011"/>
                      <a:pt x="4675" y="2995"/>
                      <a:pt x="4685" y="3006"/>
                    </a:cubicBezTo>
                    <a:cubicBezTo>
                      <a:pt x="4689" y="3010"/>
                      <a:pt x="4688" y="3028"/>
                      <a:pt x="4678" y="3025"/>
                    </a:cubicBezTo>
                    <a:close/>
                    <a:moveTo>
                      <a:pt x="4728" y="2630"/>
                    </a:moveTo>
                    <a:cubicBezTo>
                      <a:pt x="4727" y="2642"/>
                      <a:pt x="4694" y="2657"/>
                      <a:pt x="4686" y="2650"/>
                    </a:cubicBezTo>
                    <a:cubicBezTo>
                      <a:pt x="4685" y="2649"/>
                      <a:pt x="4682" y="2647"/>
                      <a:pt x="4682" y="2647"/>
                    </a:cubicBezTo>
                    <a:cubicBezTo>
                      <a:pt x="4681" y="2648"/>
                      <a:pt x="4681" y="2648"/>
                      <a:pt x="4681" y="2648"/>
                    </a:cubicBezTo>
                    <a:cubicBezTo>
                      <a:pt x="4682" y="2645"/>
                      <a:pt x="4678" y="2641"/>
                      <a:pt x="4681" y="2637"/>
                    </a:cubicBezTo>
                    <a:cubicBezTo>
                      <a:pt x="4684" y="2634"/>
                      <a:pt x="4689" y="2637"/>
                      <a:pt x="4693" y="2636"/>
                    </a:cubicBezTo>
                    <a:cubicBezTo>
                      <a:pt x="4693" y="2636"/>
                      <a:pt x="4730" y="2611"/>
                      <a:pt x="4728" y="2630"/>
                    </a:cubicBezTo>
                    <a:close/>
                    <a:moveTo>
                      <a:pt x="4721" y="327"/>
                    </a:moveTo>
                    <a:cubicBezTo>
                      <a:pt x="4721" y="328"/>
                      <a:pt x="4721" y="328"/>
                      <a:pt x="4721" y="328"/>
                    </a:cubicBezTo>
                    <a:cubicBezTo>
                      <a:pt x="4713" y="331"/>
                      <a:pt x="4710" y="337"/>
                      <a:pt x="4701" y="332"/>
                    </a:cubicBezTo>
                    <a:cubicBezTo>
                      <a:pt x="4700" y="331"/>
                      <a:pt x="4686" y="324"/>
                      <a:pt x="4688" y="324"/>
                    </a:cubicBezTo>
                    <a:cubicBezTo>
                      <a:pt x="4697" y="322"/>
                      <a:pt x="4708" y="327"/>
                      <a:pt x="4711" y="325"/>
                    </a:cubicBezTo>
                    <a:cubicBezTo>
                      <a:pt x="4716" y="322"/>
                      <a:pt x="4721" y="315"/>
                      <a:pt x="4725" y="314"/>
                    </a:cubicBezTo>
                    <a:cubicBezTo>
                      <a:pt x="4726" y="314"/>
                      <a:pt x="4733" y="318"/>
                      <a:pt x="4733" y="318"/>
                    </a:cubicBezTo>
                    <a:cubicBezTo>
                      <a:pt x="4732" y="323"/>
                      <a:pt x="4722" y="324"/>
                      <a:pt x="4721" y="32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6" name="Freeform 941"/>
              <p:cNvSpPr>
                <a:spLocks/>
              </p:cNvSpPr>
              <p:nvPr/>
            </p:nvSpPr>
            <p:spPr bwMode="auto">
              <a:xfrm>
                <a:off x="6799" y="799"/>
                <a:ext cx="7" cy="22"/>
              </a:xfrm>
              <a:custGeom>
                <a:avLst/>
                <a:gdLst>
                  <a:gd name="T0" fmla="*/ 11 w 11"/>
                  <a:gd name="T1" fmla="*/ 33 h 33"/>
                  <a:gd name="T2" fmla="*/ 11 w 11"/>
                  <a:gd name="T3" fmla="*/ 0 h 33"/>
                  <a:gd name="T4" fmla="*/ 4 w 11"/>
                  <a:gd name="T5" fmla="*/ 2 h 33"/>
                  <a:gd name="T6" fmla="*/ 10 w 11"/>
                  <a:gd name="T7" fmla="*/ 15 h 33"/>
                  <a:gd name="T8" fmla="*/ 11 w 11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33">
                    <a:moveTo>
                      <a:pt x="11" y="33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8" y="0"/>
                      <a:pt x="5" y="1"/>
                      <a:pt x="4" y="2"/>
                    </a:cubicBezTo>
                    <a:cubicBezTo>
                      <a:pt x="0" y="5"/>
                      <a:pt x="10" y="13"/>
                      <a:pt x="10" y="15"/>
                    </a:cubicBezTo>
                    <a:cubicBezTo>
                      <a:pt x="10" y="20"/>
                      <a:pt x="10" y="27"/>
                      <a:pt x="11" y="3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7" name="Freeform 946"/>
              <p:cNvSpPr>
                <a:spLocks/>
              </p:cNvSpPr>
              <p:nvPr/>
            </p:nvSpPr>
            <p:spPr bwMode="auto">
              <a:xfrm>
                <a:off x="4967" y="1013"/>
                <a:ext cx="49" cy="19"/>
              </a:xfrm>
              <a:custGeom>
                <a:avLst/>
                <a:gdLst>
                  <a:gd name="T0" fmla="*/ 52 w 75"/>
                  <a:gd name="T1" fmla="*/ 13 h 30"/>
                  <a:gd name="T2" fmla="*/ 70 w 75"/>
                  <a:gd name="T3" fmla="*/ 8 h 30"/>
                  <a:gd name="T4" fmla="*/ 11 w 75"/>
                  <a:gd name="T5" fmla="*/ 20 h 30"/>
                  <a:gd name="T6" fmla="*/ 13 w 75"/>
                  <a:gd name="T7" fmla="*/ 18 h 30"/>
                  <a:gd name="T8" fmla="*/ 52 w 75"/>
                  <a:gd name="T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30">
                    <a:moveTo>
                      <a:pt x="52" y="13"/>
                    </a:moveTo>
                    <a:cubicBezTo>
                      <a:pt x="57" y="10"/>
                      <a:pt x="75" y="11"/>
                      <a:pt x="70" y="8"/>
                    </a:cubicBezTo>
                    <a:cubicBezTo>
                      <a:pt x="54" y="0"/>
                      <a:pt x="23" y="8"/>
                      <a:pt x="11" y="20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0" y="30"/>
                      <a:pt x="42" y="17"/>
                      <a:pt x="52" y="1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8" name="Freeform 948"/>
              <p:cNvSpPr>
                <a:spLocks/>
              </p:cNvSpPr>
              <p:nvPr/>
            </p:nvSpPr>
            <p:spPr bwMode="auto">
              <a:xfrm>
                <a:off x="5256" y="504"/>
                <a:ext cx="3" cy="0"/>
              </a:xfrm>
              <a:custGeom>
                <a:avLst/>
                <a:gdLst>
                  <a:gd name="T0" fmla="*/ 3 w 4"/>
                  <a:gd name="T1" fmla="*/ 1 h 1"/>
                  <a:gd name="T2" fmla="*/ 0 w 4"/>
                  <a:gd name="T3" fmla="*/ 0 h 1"/>
                  <a:gd name="T4" fmla="*/ 4 w 4"/>
                  <a:gd name="T5" fmla="*/ 1 h 1"/>
                  <a:gd name="T6" fmla="*/ 3 w 4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3" y="1"/>
                    </a:moveTo>
                    <a:cubicBezTo>
                      <a:pt x="2" y="1"/>
                      <a:pt x="1" y="1"/>
                      <a:pt x="0" y="0"/>
                    </a:cubicBezTo>
                    <a:cubicBezTo>
                      <a:pt x="1" y="1"/>
                      <a:pt x="2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29" name="Freeform 949"/>
              <p:cNvSpPr>
                <a:spLocks/>
              </p:cNvSpPr>
              <p:nvPr/>
            </p:nvSpPr>
            <p:spPr bwMode="auto">
              <a:xfrm>
                <a:off x="5251" y="788"/>
                <a:ext cx="7" cy="6"/>
              </a:xfrm>
              <a:custGeom>
                <a:avLst/>
                <a:gdLst>
                  <a:gd name="T0" fmla="*/ 8 w 10"/>
                  <a:gd name="T1" fmla="*/ 6 h 9"/>
                  <a:gd name="T2" fmla="*/ 0 w 10"/>
                  <a:gd name="T3" fmla="*/ 0 h 9"/>
                  <a:gd name="T4" fmla="*/ 8 w 10"/>
                  <a:gd name="T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9">
                    <a:moveTo>
                      <a:pt x="8" y="6"/>
                    </a:moveTo>
                    <a:cubicBezTo>
                      <a:pt x="6" y="4"/>
                      <a:pt x="3" y="2"/>
                      <a:pt x="0" y="0"/>
                    </a:cubicBezTo>
                    <a:cubicBezTo>
                      <a:pt x="4" y="5"/>
                      <a:pt x="10" y="9"/>
                      <a:pt x="8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0" name="Freeform 950"/>
              <p:cNvSpPr>
                <a:spLocks/>
              </p:cNvSpPr>
              <p:nvPr/>
            </p:nvSpPr>
            <p:spPr bwMode="auto">
              <a:xfrm>
                <a:off x="5003" y="669"/>
                <a:ext cx="1" cy="3"/>
              </a:xfrm>
              <a:custGeom>
                <a:avLst/>
                <a:gdLst>
                  <a:gd name="T0" fmla="*/ 0 w 1"/>
                  <a:gd name="T1" fmla="*/ 4 h 4"/>
                  <a:gd name="T2" fmla="*/ 1 w 1"/>
                  <a:gd name="T3" fmla="*/ 1 h 4"/>
                  <a:gd name="T4" fmla="*/ 1 w 1"/>
                  <a:gd name="T5" fmla="*/ 0 h 4"/>
                  <a:gd name="T6" fmla="*/ 0 w 1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4">
                    <a:moveTo>
                      <a:pt x="0" y="4"/>
                    </a:moveTo>
                    <a:cubicBezTo>
                      <a:pt x="0" y="3"/>
                      <a:pt x="1" y="2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1" name="Freeform 952"/>
              <p:cNvSpPr>
                <a:spLocks/>
              </p:cNvSpPr>
              <p:nvPr/>
            </p:nvSpPr>
            <p:spPr bwMode="auto">
              <a:xfrm>
                <a:off x="5307" y="353"/>
                <a:ext cx="8" cy="1"/>
              </a:xfrm>
              <a:custGeom>
                <a:avLst/>
                <a:gdLst>
                  <a:gd name="T0" fmla="*/ 12 w 12"/>
                  <a:gd name="T1" fmla="*/ 0 h 2"/>
                  <a:gd name="T2" fmla="*/ 0 w 12"/>
                  <a:gd name="T3" fmla="*/ 0 h 2"/>
                  <a:gd name="T4" fmla="*/ 12 w 1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2">
                    <a:moveTo>
                      <a:pt x="12" y="0"/>
                    </a:moveTo>
                    <a:cubicBezTo>
                      <a:pt x="8" y="0"/>
                      <a:pt x="4" y="0"/>
                      <a:pt x="0" y="0"/>
                    </a:cubicBezTo>
                    <a:cubicBezTo>
                      <a:pt x="3" y="2"/>
                      <a:pt x="7" y="1"/>
                      <a:pt x="12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2" name="Freeform 953"/>
              <p:cNvSpPr>
                <a:spLocks/>
              </p:cNvSpPr>
              <p:nvPr/>
            </p:nvSpPr>
            <p:spPr bwMode="auto">
              <a:xfrm>
                <a:off x="6447" y="512"/>
                <a:ext cx="42" cy="14"/>
              </a:xfrm>
              <a:custGeom>
                <a:avLst/>
                <a:gdLst>
                  <a:gd name="T0" fmla="*/ 63 w 64"/>
                  <a:gd name="T1" fmla="*/ 15 h 22"/>
                  <a:gd name="T2" fmla="*/ 13 w 64"/>
                  <a:gd name="T3" fmla="*/ 12 h 22"/>
                  <a:gd name="T4" fmla="*/ 63 w 64"/>
                  <a:gd name="T5" fmla="*/ 1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" h="22">
                    <a:moveTo>
                      <a:pt x="63" y="15"/>
                    </a:moveTo>
                    <a:cubicBezTo>
                      <a:pt x="62" y="8"/>
                      <a:pt x="0" y="0"/>
                      <a:pt x="13" y="12"/>
                    </a:cubicBezTo>
                    <a:cubicBezTo>
                      <a:pt x="26" y="20"/>
                      <a:pt x="64" y="22"/>
                      <a:pt x="63" y="1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3" name="Freeform 954"/>
              <p:cNvSpPr>
                <a:spLocks/>
              </p:cNvSpPr>
              <p:nvPr/>
            </p:nvSpPr>
            <p:spPr bwMode="auto">
              <a:xfrm>
                <a:off x="6454" y="519"/>
                <a:ext cx="1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0 w 2"/>
                  <a:gd name="T5" fmla="*/ 0 h 1"/>
                  <a:gd name="T6" fmla="*/ 2 w 2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1" y="0"/>
                      <a:pt x="1" y="0"/>
                      <a:pt x="0" y="0"/>
                    </a:cubicBezTo>
                    <a:lnTo>
                      <a:pt x="2" y="1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4" name="Freeform 958"/>
              <p:cNvSpPr>
                <a:spLocks/>
              </p:cNvSpPr>
              <p:nvPr/>
            </p:nvSpPr>
            <p:spPr bwMode="auto">
              <a:xfrm>
                <a:off x="6087" y="533"/>
                <a:ext cx="0" cy="1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5" name="Freeform 961"/>
              <p:cNvSpPr>
                <a:spLocks/>
              </p:cNvSpPr>
              <p:nvPr/>
            </p:nvSpPr>
            <p:spPr bwMode="auto">
              <a:xfrm>
                <a:off x="6601" y="549"/>
                <a:ext cx="0" cy="1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0 h 2"/>
                  <a:gd name="T4" fmla="*/ 1 w 1"/>
                  <a:gd name="T5" fmla="*/ 0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6" name="Freeform 962"/>
              <p:cNvSpPr>
                <a:spLocks/>
              </p:cNvSpPr>
              <p:nvPr/>
            </p:nvSpPr>
            <p:spPr bwMode="auto">
              <a:xfrm>
                <a:off x="6765" y="257"/>
                <a:ext cx="44" cy="45"/>
              </a:xfrm>
              <a:custGeom>
                <a:avLst/>
                <a:gdLst>
                  <a:gd name="T0" fmla="*/ 63 w 67"/>
                  <a:gd name="T1" fmla="*/ 23 h 69"/>
                  <a:gd name="T2" fmla="*/ 48 w 67"/>
                  <a:gd name="T3" fmla="*/ 16 h 69"/>
                  <a:gd name="T4" fmla="*/ 55 w 67"/>
                  <a:gd name="T5" fmla="*/ 18 h 69"/>
                  <a:gd name="T6" fmla="*/ 60 w 67"/>
                  <a:gd name="T7" fmla="*/ 7 h 69"/>
                  <a:gd name="T8" fmla="*/ 60 w 67"/>
                  <a:gd name="T9" fmla="*/ 6 h 69"/>
                  <a:gd name="T10" fmla="*/ 60 w 67"/>
                  <a:gd name="T11" fmla="*/ 6 h 69"/>
                  <a:gd name="T12" fmla="*/ 38 w 67"/>
                  <a:gd name="T13" fmla="*/ 8 h 69"/>
                  <a:gd name="T14" fmla="*/ 44 w 67"/>
                  <a:gd name="T15" fmla="*/ 23 h 69"/>
                  <a:gd name="T16" fmla="*/ 25 w 67"/>
                  <a:gd name="T17" fmla="*/ 27 h 69"/>
                  <a:gd name="T18" fmla="*/ 29 w 67"/>
                  <a:gd name="T19" fmla="*/ 12 h 69"/>
                  <a:gd name="T20" fmla="*/ 2 w 67"/>
                  <a:gd name="T21" fmla="*/ 31 h 69"/>
                  <a:gd name="T22" fmla="*/ 10 w 67"/>
                  <a:gd name="T23" fmla="*/ 33 h 69"/>
                  <a:gd name="T24" fmla="*/ 33 w 67"/>
                  <a:gd name="T25" fmla="*/ 37 h 69"/>
                  <a:gd name="T26" fmla="*/ 48 w 67"/>
                  <a:gd name="T27" fmla="*/ 62 h 69"/>
                  <a:gd name="T28" fmla="*/ 51 w 67"/>
                  <a:gd name="T29" fmla="*/ 33 h 69"/>
                  <a:gd name="T30" fmla="*/ 63 w 67"/>
                  <a:gd name="T31" fmla="*/ 34 h 69"/>
                  <a:gd name="T32" fmla="*/ 63 w 67"/>
                  <a:gd name="T33" fmla="*/ 2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7" h="69">
                    <a:moveTo>
                      <a:pt x="63" y="23"/>
                    </a:moveTo>
                    <a:cubicBezTo>
                      <a:pt x="56" y="19"/>
                      <a:pt x="47" y="17"/>
                      <a:pt x="48" y="16"/>
                    </a:cubicBezTo>
                    <a:cubicBezTo>
                      <a:pt x="49" y="13"/>
                      <a:pt x="54" y="18"/>
                      <a:pt x="55" y="18"/>
                    </a:cubicBezTo>
                    <a:cubicBezTo>
                      <a:pt x="64" y="22"/>
                      <a:pt x="58" y="13"/>
                      <a:pt x="60" y="7"/>
                    </a:cubicBezTo>
                    <a:cubicBezTo>
                      <a:pt x="60" y="7"/>
                      <a:pt x="60" y="7"/>
                      <a:pt x="60" y="6"/>
                    </a:cubicBezTo>
                    <a:cubicBezTo>
                      <a:pt x="60" y="6"/>
                      <a:pt x="60" y="6"/>
                      <a:pt x="60" y="6"/>
                    </a:cubicBezTo>
                    <a:cubicBezTo>
                      <a:pt x="67" y="0"/>
                      <a:pt x="39" y="4"/>
                      <a:pt x="38" y="8"/>
                    </a:cubicBezTo>
                    <a:cubicBezTo>
                      <a:pt x="37" y="12"/>
                      <a:pt x="44" y="18"/>
                      <a:pt x="44" y="23"/>
                    </a:cubicBezTo>
                    <a:cubicBezTo>
                      <a:pt x="43" y="24"/>
                      <a:pt x="27" y="28"/>
                      <a:pt x="25" y="27"/>
                    </a:cubicBezTo>
                    <a:cubicBezTo>
                      <a:pt x="19" y="24"/>
                      <a:pt x="30" y="15"/>
                      <a:pt x="29" y="12"/>
                    </a:cubicBezTo>
                    <a:cubicBezTo>
                      <a:pt x="27" y="9"/>
                      <a:pt x="0" y="28"/>
                      <a:pt x="2" y="31"/>
                    </a:cubicBezTo>
                    <a:cubicBezTo>
                      <a:pt x="4" y="34"/>
                      <a:pt x="8" y="30"/>
                      <a:pt x="10" y="33"/>
                    </a:cubicBezTo>
                    <a:cubicBezTo>
                      <a:pt x="25" y="57"/>
                      <a:pt x="20" y="33"/>
                      <a:pt x="33" y="37"/>
                    </a:cubicBezTo>
                    <a:cubicBezTo>
                      <a:pt x="33" y="37"/>
                      <a:pt x="44" y="69"/>
                      <a:pt x="48" y="62"/>
                    </a:cubicBezTo>
                    <a:cubicBezTo>
                      <a:pt x="52" y="55"/>
                      <a:pt x="46" y="40"/>
                      <a:pt x="51" y="33"/>
                    </a:cubicBezTo>
                    <a:cubicBezTo>
                      <a:pt x="52" y="31"/>
                      <a:pt x="58" y="33"/>
                      <a:pt x="63" y="34"/>
                    </a:cubicBezTo>
                    <a:lnTo>
                      <a:pt x="63" y="23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7" name="Freeform 963"/>
              <p:cNvSpPr>
                <a:spLocks/>
              </p:cNvSpPr>
              <p:nvPr/>
            </p:nvSpPr>
            <p:spPr bwMode="auto">
              <a:xfrm>
                <a:off x="6628" y="356"/>
                <a:ext cx="28" cy="16"/>
              </a:xfrm>
              <a:custGeom>
                <a:avLst/>
                <a:gdLst>
                  <a:gd name="T0" fmla="*/ 10 w 44"/>
                  <a:gd name="T1" fmla="*/ 15 h 24"/>
                  <a:gd name="T2" fmla="*/ 35 w 44"/>
                  <a:gd name="T3" fmla="*/ 17 h 24"/>
                  <a:gd name="T4" fmla="*/ 43 w 44"/>
                  <a:gd name="T5" fmla="*/ 9 h 24"/>
                  <a:gd name="T6" fmla="*/ 14 w 44"/>
                  <a:gd name="T7" fmla="*/ 3 h 24"/>
                  <a:gd name="T8" fmla="*/ 5 w 44"/>
                  <a:gd name="T9" fmla="*/ 4 h 24"/>
                  <a:gd name="T10" fmla="*/ 17 w 44"/>
                  <a:gd name="T11" fmla="*/ 11 h 24"/>
                  <a:gd name="T12" fmla="*/ 3 w 44"/>
                  <a:gd name="T13" fmla="*/ 8 h 24"/>
                  <a:gd name="T14" fmla="*/ 3 w 44"/>
                  <a:gd name="T15" fmla="*/ 8 h 24"/>
                  <a:gd name="T16" fmla="*/ 10 w 44"/>
                  <a:gd name="T17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24">
                    <a:moveTo>
                      <a:pt x="10" y="15"/>
                    </a:moveTo>
                    <a:cubicBezTo>
                      <a:pt x="22" y="21"/>
                      <a:pt x="30" y="24"/>
                      <a:pt x="35" y="17"/>
                    </a:cubicBezTo>
                    <a:cubicBezTo>
                      <a:pt x="36" y="15"/>
                      <a:pt x="44" y="12"/>
                      <a:pt x="43" y="9"/>
                    </a:cubicBezTo>
                    <a:cubicBezTo>
                      <a:pt x="42" y="5"/>
                      <a:pt x="13" y="6"/>
                      <a:pt x="14" y="3"/>
                    </a:cubicBezTo>
                    <a:cubicBezTo>
                      <a:pt x="15" y="0"/>
                      <a:pt x="3" y="1"/>
                      <a:pt x="5" y="4"/>
                    </a:cubicBezTo>
                    <a:cubicBezTo>
                      <a:pt x="7" y="7"/>
                      <a:pt x="18" y="3"/>
                      <a:pt x="17" y="11"/>
                    </a:cubicBezTo>
                    <a:cubicBezTo>
                      <a:pt x="16" y="18"/>
                      <a:pt x="7" y="6"/>
                      <a:pt x="3" y="8"/>
                    </a:cubicBezTo>
                    <a:cubicBezTo>
                      <a:pt x="3" y="8"/>
                      <a:pt x="3" y="8"/>
                      <a:pt x="3" y="8"/>
                    </a:cubicBezTo>
                    <a:cubicBezTo>
                      <a:pt x="0" y="9"/>
                      <a:pt x="8" y="14"/>
                      <a:pt x="10" y="1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8" name="Freeform 964"/>
              <p:cNvSpPr>
                <a:spLocks/>
              </p:cNvSpPr>
              <p:nvPr/>
            </p:nvSpPr>
            <p:spPr bwMode="auto">
              <a:xfrm>
                <a:off x="6485" y="607"/>
                <a:ext cx="1" cy="1"/>
              </a:xfrm>
              <a:custGeom>
                <a:avLst/>
                <a:gdLst>
                  <a:gd name="T0" fmla="*/ 0 w 1"/>
                  <a:gd name="T1" fmla="*/ 2 h 2"/>
                  <a:gd name="T2" fmla="*/ 1 w 1"/>
                  <a:gd name="T3" fmla="*/ 0 h 2"/>
                  <a:gd name="T4" fmla="*/ 1 w 1"/>
                  <a:gd name="T5" fmla="*/ 0 h 2"/>
                  <a:gd name="T6" fmla="*/ 0 w 1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1"/>
                      <a:pt x="0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39" name="Freeform 965"/>
              <p:cNvSpPr>
                <a:spLocks/>
              </p:cNvSpPr>
              <p:nvPr/>
            </p:nvSpPr>
            <p:spPr bwMode="auto">
              <a:xfrm>
                <a:off x="3183" y="2903"/>
                <a:ext cx="552" cy="389"/>
              </a:xfrm>
              <a:custGeom>
                <a:avLst/>
                <a:gdLst>
                  <a:gd name="T0" fmla="*/ 773 w 842"/>
                  <a:gd name="T1" fmla="*/ 374 h 594"/>
                  <a:gd name="T2" fmla="*/ 757 w 842"/>
                  <a:gd name="T3" fmla="*/ 387 h 594"/>
                  <a:gd name="T4" fmla="*/ 704 w 842"/>
                  <a:gd name="T5" fmla="*/ 347 h 594"/>
                  <a:gd name="T6" fmla="*/ 704 w 842"/>
                  <a:gd name="T7" fmla="*/ 334 h 594"/>
                  <a:gd name="T8" fmla="*/ 712 w 842"/>
                  <a:gd name="T9" fmla="*/ 211 h 594"/>
                  <a:gd name="T10" fmla="*/ 652 w 842"/>
                  <a:gd name="T11" fmla="*/ 102 h 594"/>
                  <a:gd name="T12" fmla="*/ 628 w 842"/>
                  <a:gd name="T13" fmla="*/ 77 h 594"/>
                  <a:gd name="T14" fmla="*/ 568 w 842"/>
                  <a:gd name="T15" fmla="*/ 0 h 594"/>
                  <a:gd name="T16" fmla="*/ 526 w 842"/>
                  <a:gd name="T17" fmla="*/ 34 h 594"/>
                  <a:gd name="T18" fmla="*/ 413 w 842"/>
                  <a:gd name="T19" fmla="*/ 68 h 594"/>
                  <a:gd name="T20" fmla="*/ 353 w 842"/>
                  <a:gd name="T21" fmla="*/ 44 h 594"/>
                  <a:gd name="T22" fmla="*/ 321 w 842"/>
                  <a:gd name="T23" fmla="*/ 40 h 594"/>
                  <a:gd name="T24" fmla="*/ 258 w 842"/>
                  <a:gd name="T25" fmla="*/ 16 h 594"/>
                  <a:gd name="T26" fmla="*/ 238 w 842"/>
                  <a:gd name="T27" fmla="*/ 29 h 594"/>
                  <a:gd name="T28" fmla="*/ 209 w 842"/>
                  <a:gd name="T29" fmla="*/ 62 h 594"/>
                  <a:gd name="T30" fmla="*/ 154 w 842"/>
                  <a:gd name="T31" fmla="*/ 113 h 594"/>
                  <a:gd name="T32" fmla="*/ 120 w 842"/>
                  <a:gd name="T33" fmla="*/ 173 h 594"/>
                  <a:gd name="T34" fmla="*/ 50 w 842"/>
                  <a:gd name="T35" fmla="*/ 251 h 594"/>
                  <a:gd name="T36" fmla="*/ 0 w 842"/>
                  <a:gd name="T37" fmla="*/ 273 h 594"/>
                  <a:gd name="T38" fmla="*/ 40 w 842"/>
                  <a:gd name="T39" fmla="*/ 321 h 594"/>
                  <a:gd name="T40" fmla="*/ 47 w 842"/>
                  <a:gd name="T41" fmla="*/ 319 h 594"/>
                  <a:gd name="T42" fmla="*/ 46 w 842"/>
                  <a:gd name="T43" fmla="*/ 353 h 594"/>
                  <a:gd name="T44" fmla="*/ 99 w 842"/>
                  <a:gd name="T45" fmla="*/ 414 h 594"/>
                  <a:gd name="T46" fmla="*/ 98 w 842"/>
                  <a:gd name="T47" fmla="*/ 431 h 594"/>
                  <a:gd name="T48" fmla="*/ 120 w 842"/>
                  <a:gd name="T49" fmla="*/ 456 h 594"/>
                  <a:gd name="T50" fmla="*/ 168 w 842"/>
                  <a:gd name="T51" fmla="*/ 479 h 594"/>
                  <a:gd name="T52" fmla="*/ 196 w 842"/>
                  <a:gd name="T53" fmla="*/ 479 h 594"/>
                  <a:gd name="T54" fmla="*/ 246 w 842"/>
                  <a:gd name="T55" fmla="*/ 529 h 594"/>
                  <a:gd name="T56" fmla="*/ 286 w 842"/>
                  <a:gd name="T57" fmla="*/ 560 h 594"/>
                  <a:gd name="T58" fmla="*/ 377 w 842"/>
                  <a:gd name="T59" fmla="*/ 569 h 594"/>
                  <a:gd name="T60" fmla="*/ 521 w 842"/>
                  <a:gd name="T61" fmla="*/ 544 h 594"/>
                  <a:gd name="T62" fmla="*/ 636 w 842"/>
                  <a:gd name="T63" fmla="*/ 538 h 594"/>
                  <a:gd name="T64" fmla="*/ 682 w 842"/>
                  <a:gd name="T65" fmla="*/ 540 h 594"/>
                  <a:gd name="T66" fmla="*/ 743 w 842"/>
                  <a:gd name="T67" fmla="*/ 571 h 594"/>
                  <a:gd name="T68" fmla="*/ 764 w 842"/>
                  <a:gd name="T69" fmla="*/ 482 h 594"/>
                  <a:gd name="T70" fmla="*/ 770 w 842"/>
                  <a:gd name="T71" fmla="*/ 464 h 594"/>
                  <a:gd name="T72" fmla="*/ 754 w 842"/>
                  <a:gd name="T73" fmla="*/ 470 h 594"/>
                  <a:gd name="T74" fmla="*/ 774 w 842"/>
                  <a:gd name="T75" fmla="*/ 456 h 594"/>
                  <a:gd name="T76" fmla="*/ 778 w 842"/>
                  <a:gd name="T77" fmla="*/ 457 h 594"/>
                  <a:gd name="T78" fmla="*/ 773 w 842"/>
                  <a:gd name="T79" fmla="*/ 437 h 594"/>
                  <a:gd name="T80" fmla="*/ 776 w 842"/>
                  <a:gd name="T81" fmla="*/ 413 h 594"/>
                  <a:gd name="T82" fmla="*/ 784 w 842"/>
                  <a:gd name="T83" fmla="*/ 436 h 594"/>
                  <a:gd name="T84" fmla="*/ 780 w 842"/>
                  <a:gd name="T85" fmla="*/ 451 h 594"/>
                  <a:gd name="T86" fmla="*/ 797 w 842"/>
                  <a:gd name="T87" fmla="*/ 440 h 594"/>
                  <a:gd name="T88" fmla="*/ 841 w 842"/>
                  <a:gd name="T89" fmla="*/ 394 h 594"/>
                  <a:gd name="T90" fmla="*/ 838 w 842"/>
                  <a:gd name="T91" fmla="*/ 386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42" h="594">
                    <a:moveTo>
                      <a:pt x="809" y="360"/>
                    </a:moveTo>
                    <a:cubicBezTo>
                      <a:pt x="803" y="356"/>
                      <a:pt x="789" y="374"/>
                      <a:pt x="773" y="374"/>
                    </a:cubicBezTo>
                    <a:cubicBezTo>
                      <a:pt x="770" y="374"/>
                      <a:pt x="762" y="373"/>
                      <a:pt x="759" y="375"/>
                    </a:cubicBezTo>
                    <a:cubicBezTo>
                      <a:pt x="750" y="380"/>
                      <a:pt x="767" y="387"/>
                      <a:pt x="757" y="387"/>
                    </a:cubicBezTo>
                    <a:cubicBezTo>
                      <a:pt x="719" y="383"/>
                      <a:pt x="722" y="362"/>
                      <a:pt x="709" y="357"/>
                    </a:cubicBezTo>
                    <a:cubicBezTo>
                      <a:pt x="705" y="359"/>
                      <a:pt x="706" y="350"/>
                      <a:pt x="704" y="347"/>
                    </a:cubicBezTo>
                    <a:cubicBezTo>
                      <a:pt x="695" y="340"/>
                      <a:pt x="695" y="340"/>
                      <a:pt x="695" y="340"/>
                    </a:cubicBezTo>
                    <a:cubicBezTo>
                      <a:pt x="695" y="337"/>
                      <a:pt x="703" y="337"/>
                      <a:pt x="704" y="334"/>
                    </a:cubicBezTo>
                    <a:cubicBezTo>
                      <a:pt x="708" y="322"/>
                      <a:pt x="697" y="298"/>
                      <a:pt x="697" y="285"/>
                    </a:cubicBezTo>
                    <a:cubicBezTo>
                      <a:pt x="697" y="260"/>
                      <a:pt x="712" y="236"/>
                      <a:pt x="712" y="211"/>
                    </a:cubicBezTo>
                    <a:cubicBezTo>
                      <a:pt x="712" y="161"/>
                      <a:pt x="658" y="146"/>
                      <a:pt x="651" y="113"/>
                    </a:cubicBezTo>
                    <a:cubicBezTo>
                      <a:pt x="650" y="109"/>
                      <a:pt x="653" y="106"/>
                      <a:pt x="652" y="102"/>
                    </a:cubicBezTo>
                    <a:cubicBezTo>
                      <a:pt x="651" y="99"/>
                      <a:pt x="644" y="101"/>
                      <a:pt x="642" y="98"/>
                    </a:cubicBezTo>
                    <a:cubicBezTo>
                      <a:pt x="639" y="94"/>
                      <a:pt x="631" y="82"/>
                      <a:pt x="628" y="77"/>
                    </a:cubicBezTo>
                    <a:cubicBezTo>
                      <a:pt x="618" y="55"/>
                      <a:pt x="617" y="31"/>
                      <a:pt x="600" y="12"/>
                    </a:cubicBezTo>
                    <a:cubicBezTo>
                      <a:pt x="593" y="5"/>
                      <a:pt x="580" y="0"/>
                      <a:pt x="568" y="0"/>
                    </a:cubicBezTo>
                    <a:cubicBezTo>
                      <a:pt x="557" y="0"/>
                      <a:pt x="546" y="2"/>
                      <a:pt x="539" y="8"/>
                    </a:cubicBezTo>
                    <a:cubicBezTo>
                      <a:pt x="533" y="13"/>
                      <a:pt x="535" y="29"/>
                      <a:pt x="526" y="34"/>
                    </a:cubicBezTo>
                    <a:cubicBezTo>
                      <a:pt x="514" y="40"/>
                      <a:pt x="466" y="39"/>
                      <a:pt x="448" y="45"/>
                    </a:cubicBezTo>
                    <a:cubicBezTo>
                      <a:pt x="439" y="48"/>
                      <a:pt x="427" y="76"/>
                      <a:pt x="413" y="68"/>
                    </a:cubicBezTo>
                    <a:cubicBezTo>
                      <a:pt x="402" y="62"/>
                      <a:pt x="396" y="40"/>
                      <a:pt x="380" y="38"/>
                    </a:cubicBezTo>
                    <a:cubicBezTo>
                      <a:pt x="372" y="37"/>
                      <a:pt x="362" y="45"/>
                      <a:pt x="353" y="44"/>
                    </a:cubicBezTo>
                    <a:cubicBezTo>
                      <a:pt x="345" y="44"/>
                      <a:pt x="339" y="37"/>
                      <a:pt x="331" y="36"/>
                    </a:cubicBezTo>
                    <a:cubicBezTo>
                      <a:pt x="327" y="36"/>
                      <a:pt x="324" y="40"/>
                      <a:pt x="321" y="40"/>
                    </a:cubicBezTo>
                    <a:cubicBezTo>
                      <a:pt x="310" y="40"/>
                      <a:pt x="297" y="34"/>
                      <a:pt x="287" y="34"/>
                    </a:cubicBezTo>
                    <a:cubicBezTo>
                      <a:pt x="277" y="34"/>
                      <a:pt x="268" y="16"/>
                      <a:pt x="258" y="16"/>
                    </a:cubicBezTo>
                    <a:cubicBezTo>
                      <a:pt x="250" y="16"/>
                      <a:pt x="254" y="34"/>
                      <a:pt x="246" y="34"/>
                    </a:cubicBezTo>
                    <a:cubicBezTo>
                      <a:pt x="243" y="34"/>
                      <a:pt x="241" y="29"/>
                      <a:pt x="238" y="29"/>
                    </a:cubicBezTo>
                    <a:cubicBezTo>
                      <a:pt x="235" y="30"/>
                      <a:pt x="237" y="40"/>
                      <a:pt x="235" y="38"/>
                    </a:cubicBezTo>
                    <a:cubicBezTo>
                      <a:pt x="225" y="45"/>
                      <a:pt x="222" y="59"/>
                      <a:pt x="209" y="62"/>
                    </a:cubicBezTo>
                    <a:cubicBezTo>
                      <a:pt x="198" y="64"/>
                      <a:pt x="193" y="59"/>
                      <a:pt x="183" y="64"/>
                    </a:cubicBezTo>
                    <a:cubicBezTo>
                      <a:pt x="160" y="75"/>
                      <a:pt x="160" y="105"/>
                      <a:pt x="154" y="113"/>
                    </a:cubicBezTo>
                    <a:cubicBezTo>
                      <a:pt x="148" y="122"/>
                      <a:pt x="124" y="141"/>
                      <a:pt x="123" y="156"/>
                    </a:cubicBezTo>
                    <a:cubicBezTo>
                      <a:pt x="123" y="163"/>
                      <a:pt x="126" y="162"/>
                      <a:pt x="120" y="173"/>
                    </a:cubicBezTo>
                    <a:cubicBezTo>
                      <a:pt x="114" y="185"/>
                      <a:pt x="76" y="257"/>
                      <a:pt x="70" y="258"/>
                    </a:cubicBezTo>
                    <a:cubicBezTo>
                      <a:pt x="70" y="258"/>
                      <a:pt x="50" y="251"/>
                      <a:pt x="50" y="251"/>
                    </a:cubicBezTo>
                    <a:cubicBezTo>
                      <a:pt x="30" y="255"/>
                      <a:pt x="47" y="256"/>
                      <a:pt x="44" y="262"/>
                    </a:cubicBezTo>
                    <a:cubicBezTo>
                      <a:pt x="43" y="265"/>
                      <a:pt x="3" y="272"/>
                      <a:pt x="0" y="273"/>
                    </a:cubicBezTo>
                    <a:cubicBezTo>
                      <a:pt x="11" y="291"/>
                      <a:pt x="28" y="297"/>
                      <a:pt x="37" y="316"/>
                    </a:cubicBezTo>
                    <a:cubicBezTo>
                      <a:pt x="38" y="318"/>
                      <a:pt x="38" y="321"/>
                      <a:pt x="40" y="321"/>
                    </a:cubicBezTo>
                    <a:cubicBezTo>
                      <a:pt x="43" y="322"/>
                      <a:pt x="45" y="318"/>
                      <a:pt x="47" y="317"/>
                    </a:cubicBezTo>
                    <a:cubicBezTo>
                      <a:pt x="48" y="317"/>
                      <a:pt x="47" y="319"/>
                      <a:pt x="47" y="319"/>
                    </a:cubicBezTo>
                    <a:cubicBezTo>
                      <a:pt x="47" y="322"/>
                      <a:pt x="46" y="326"/>
                      <a:pt x="46" y="329"/>
                    </a:cubicBezTo>
                    <a:cubicBezTo>
                      <a:pt x="45" y="336"/>
                      <a:pt x="45" y="347"/>
                      <a:pt x="46" y="353"/>
                    </a:cubicBezTo>
                    <a:cubicBezTo>
                      <a:pt x="49" y="375"/>
                      <a:pt x="97" y="379"/>
                      <a:pt x="108" y="391"/>
                    </a:cubicBezTo>
                    <a:cubicBezTo>
                      <a:pt x="120" y="404"/>
                      <a:pt x="98" y="404"/>
                      <a:pt x="99" y="414"/>
                    </a:cubicBezTo>
                    <a:cubicBezTo>
                      <a:pt x="99" y="414"/>
                      <a:pt x="114" y="422"/>
                      <a:pt x="114" y="422"/>
                    </a:cubicBezTo>
                    <a:cubicBezTo>
                      <a:pt x="122" y="433"/>
                      <a:pt x="100" y="428"/>
                      <a:pt x="98" y="431"/>
                    </a:cubicBezTo>
                    <a:cubicBezTo>
                      <a:pt x="87" y="441"/>
                      <a:pt x="118" y="444"/>
                      <a:pt x="119" y="446"/>
                    </a:cubicBezTo>
                    <a:cubicBezTo>
                      <a:pt x="120" y="449"/>
                      <a:pt x="118" y="453"/>
                      <a:pt x="120" y="456"/>
                    </a:cubicBezTo>
                    <a:cubicBezTo>
                      <a:pt x="122" y="459"/>
                      <a:pt x="141" y="459"/>
                      <a:pt x="145" y="459"/>
                    </a:cubicBezTo>
                    <a:cubicBezTo>
                      <a:pt x="154" y="460"/>
                      <a:pt x="161" y="482"/>
                      <a:pt x="168" y="479"/>
                    </a:cubicBezTo>
                    <a:cubicBezTo>
                      <a:pt x="192" y="469"/>
                      <a:pt x="167" y="426"/>
                      <a:pt x="221" y="469"/>
                    </a:cubicBezTo>
                    <a:cubicBezTo>
                      <a:pt x="227" y="473"/>
                      <a:pt x="198" y="470"/>
                      <a:pt x="196" y="479"/>
                    </a:cubicBezTo>
                    <a:cubicBezTo>
                      <a:pt x="193" y="491"/>
                      <a:pt x="203" y="502"/>
                      <a:pt x="215" y="510"/>
                    </a:cubicBezTo>
                    <a:cubicBezTo>
                      <a:pt x="227" y="518"/>
                      <a:pt x="240" y="524"/>
                      <a:pt x="246" y="529"/>
                    </a:cubicBezTo>
                    <a:cubicBezTo>
                      <a:pt x="254" y="536"/>
                      <a:pt x="218" y="546"/>
                      <a:pt x="230" y="558"/>
                    </a:cubicBezTo>
                    <a:cubicBezTo>
                      <a:pt x="246" y="574"/>
                      <a:pt x="269" y="555"/>
                      <a:pt x="286" y="560"/>
                    </a:cubicBezTo>
                    <a:cubicBezTo>
                      <a:pt x="308" y="567"/>
                      <a:pt x="339" y="581"/>
                      <a:pt x="362" y="577"/>
                    </a:cubicBezTo>
                    <a:cubicBezTo>
                      <a:pt x="362" y="577"/>
                      <a:pt x="377" y="569"/>
                      <a:pt x="377" y="569"/>
                    </a:cubicBezTo>
                    <a:cubicBezTo>
                      <a:pt x="409" y="560"/>
                      <a:pt x="443" y="594"/>
                      <a:pt x="472" y="583"/>
                    </a:cubicBezTo>
                    <a:cubicBezTo>
                      <a:pt x="495" y="575"/>
                      <a:pt x="503" y="556"/>
                      <a:pt x="521" y="544"/>
                    </a:cubicBezTo>
                    <a:cubicBezTo>
                      <a:pt x="538" y="533"/>
                      <a:pt x="573" y="526"/>
                      <a:pt x="593" y="523"/>
                    </a:cubicBezTo>
                    <a:cubicBezTo>
                      <a:pt x="633" y="517"/>
                      <a:pt x="619" y="533"/>
                      <a:pt x="636" y="538"/>
                    </a:cubicBezTo>
                    <a:cubicBezTo>
                      <a:pt x="642" y="539"/>
                      <a:pt x="653" y="531"/>
                      <a:pt x="658" y="533"/>
                    </a:cubicBezTo>
                    <a:cubicBezTo>
                      <a:pt x="672" y="540"/>
                      <a:pt x="661" y="543"/>
                      <a:pt x="682" y="540"/>
                    </a:cubicBezTo>
                    <a:cubicBezTo>
                      <a:pt x="687" y="539"/>
                      <a:pt x="688" y="554"/>
                      <a:pt x="689" y="556"/>
                    </a:cubicBezTo>
                    <a:cubicBezTo>
                      <a:pt x="700" y="571"/>
                      <a:pt x="727" y="570"/>
                      <a:pt x="743" y="571"/>
                    </a:cubicBezTo>
                    <a:cubicBezTo>
                      <a:pt x="745" y="543"/>
                      <a:pt x="746" y="513"/>
                      <a:pt x="746" y="510"/>
                    </a:cubicBezTo>
                    <a:cubicBezTo>
                      <a:pt x="743" y="498"/>
                      <a:pt x="755" y="492"/>
                      <a:pt x="764" y="482"/>
                    </a:cubicBezTo>
                    <a:cubicBezTo>
                      <a:pt x="767" y="479"/>
                      <a:pt x="770" y="474"/>
                      <a:pt x="772" y="471"/>
                    </a:cubicBezTo>
                    <a:cubicBezTo>
                      <a:pt x="773" y="469"/>
                      <a:pt x="771" y="462"/>
                      <a:pt x="770" y="464"/>
                    </a:cubicBezTo>
                    <a:cubicBezTo>
                      <a:pt x="765" y="475"/>
                      <a:pt x="758" y="486"/>
                      <a:pt x="758" y="471"/>
                    </a:cubicBezTo>
                    <a:cubicBezTo>
                      <a:pt x="758" y="468"/>
                      <a:pt x="754" y="471"/>
                      <a:pt x="754" y="470"/>
                    </a:cubicBezTo>
                    <a:cubicBezTo>
                      <a:pt x="753" y="462"/>
                      <a:pt x="760" y="464"/>
                      <a:pt x="763" y="463"/>
                    </a:cubicBezTo>
                    <a:cubicBezTo>
                      <a:pt x="774" y="456"/>
                      <a:pt x="774" y="456"/>
                      <a:pt x="774" y="456"/>
                    </a:cubicBezTo>
                    <a:cubicBezTo>
                      <a:pt x="776" y="458"/>
                      <a:pt x="772" y="459"/>
                      <a:pt x="773" y="461"/>
                    </a:cubicBezTo>
                    <a:cubicBezTo>
                      <a:pt x="774" y="462"/>
                      <a:pt x="777" y="458"/>
                      <a:pt x="778" y="457"/>
                    </a:cubicBezTo>
                    <a:cubicBezTo>
                      <a:pt x="781" y="445"/>
                      <a:pt x="769" y="454"/>
                      <a:pt x="767" y="455"/>
                    </a:cubicBezTo>
                    <a:cubicBezTo>
                      <a:pt x="753" y="469"/>
                      <a:pt x="771" y="440"/>
                      <a:pt x="773" y="437"/>
                    </a:cubicBezTo>
                    <a:cubicBezTo>
                      <a:pt x="776" y="435"/>
                      <a:pt x="766" y="431"/>
                      <a:pt x="766" y="429"/>
                    </a:cubicBezTo>
                    <a:cubicBezTo>
                      <a:pt x="766" y="420"/>
                      <a:pt x="770" y="419"/>
                      <a:pt x="776" y="413"/>
                    </a:cubicBezTo>
                    <a:cubicBezTo>
                      <a:pt x="778" y="412"/>
                      <a:pt x="782" y="413"/>
                      <a:pt x="784" y="414"/>
                    </a:cubicBezTo>
                    <a:cubicBezTo>
                      <a:pt x="790" y="421"/>
                      <a:pt x="774" y="429"/>
                      <a:pt x="784" y="436"/>
                    </a:cubicBezTo>
                    <a:cubicBezTo>
                      <a:pt x="787" y="438"/>
                      <a:pt x="786" y="427"/>
                      <a:pt x="789" y="433"/>
                    </a:cubicBezTo>
                    <a:cubicBezTo>
                      <a:pt x="795" y="445"/>
                      <a:pt x="776" y="439"/>
                      <a:pt x="780" y="451"/>
                    </a:cubicBezTo>
                    <a:cubicBezTo>
                      <a:pt x="781" y="453"/>
                      <a:pt x="783" y="450"/>
                      <a:pt x="784" y="448"/>
                    </a:cubicBezTo>
                    <a:cubicBezTo>
                      <a:pt x="786" y="445"/>
                      <a:pt x="793" y="442"/>
                      <a:pt x="797" y="440"/>
                    </a:cubicBezTo>
                    <a:cubicBezTo>
                      <a:pt x="806" y="438"/>
                      <a:pt x="827" y="442"/>
                      <a:pt x="833" y="434"/>
                    </a:cubicBezTo>
                    <a:cubicBezTo>
                      <a:pt x="838" y="426"/>
                      <a:pt x="837" y="405"/>
                      <a:pt x="841" y="394"/>
                    </a:cubicBezTo>
                    <a:cubicBezTo>
                      <a:pt x="842" y="391"/>
                      <a:pt x="833" y="390"/>
                      <a:pt x="834" y="387"/>
                    </a:cubicBezTo>
                    <a:cubicBezTo>
                      <a:pt x="834" y="386"/>
                      <a:pt x="836" y="386"/>
                      <a:pt x="838" y="386"/>
                    </a:cubicBezTo>
                    <a:cubicBezTo>
                      <a:pt x="838" y="354"/>
                      <a:pt x="825" y="369"/>
                      <a:pt x="809" y="36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0" name="Freeform 966"/>
              <p:cNvSpPr>
                <a:spLocks/>
              </p:cNvSpPr>
              <p:nvPr/>
            </p:nvSpPr>
            <p:spPr bwMode="auto">
              <a:xfrm>
                <a:off x="1574" y="2310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1" name="Freeform 967"/>
              <p:cNvSpPr>
                <a:spLocks/>
              </p:cNvSpPr>
              <p:nvPr/>
            </p:nvSpPr>
            <p:spPr bwMode="auto">
              <a:xfrm>
                <a:off x="1397" y="2400"/>
                <a:ext cx="22" cy="12"/>
              </a:xfrm>
              <a:custGeom>
                <a:avLst/>
                <a:gdLst>
                  <a:gd name="T0" fmla="*/ 3 w 33"/>
                  <a:gd name="T1" fmla="*/ 7 h 19"/>
                  <a:gd name="T2" fmla="*/ 20 w 33"/>
                  <a:gd name="T3" fmla="*/ 7 h 19"/>
                  <a:gd name="T4" fmla="*/ 30 w 33"/>
                  <a:gd name="T5" fmla="*/ 19 h 19"/>
                  <a:gd name="T6" fmla="*/ 29 w 33"/>
                  <a:gd name="T7" fmla="*/ 9 h 19"/>
                  <a:gd name="T8" fmla="*/ 31 w 33"/>
                  <a:gd name="T9" fmla="*/ 3 h 19"/>
                  <a:gd name="T10" fmla="*/ 31 w 33"/>
                  <a:gd name="T11" fmla="*/ 3 h 19"/>
                  <a:gd name="T12" fmla="*/ 8 w 33"/>
                  <a:gd name="T13" fmla="*/ 2 h 19"/>
                  <a:gd name="T14" fmla="*/ 3 w 33"/>
                  <a:gd name="T15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9">
                    <a:moveTo>
                      <a:pt x="3" y="7"/>
                    </a:moveTo>
                    <a:cubicBezTo>
                      <a:pt x="8" y="10"/>
                      <a:pt x="15" y="5"/>
                      <a:pt x="20" y="7"/>
                    </a:cubicBezTo>
                    <a:cubicBezTo>
                      <a:pt x="23" y="8"/>
                      <a:pt x="22" y="19"/>
                      <a:pt x="30" y="19"/>
                    </a:cubicBezTo>
                    <a:cubicBezTo>
                      <a:pt x="33" y="19"/>
                      <a:pt x="30" y="13"/>
                      <a:pt x="29" y="9"/>
                    </a:cubicBezTo>
                    <a:cubicBezTo>
                      <a:pt x="29" y="7"/>
                      <a:pt x="32" y="4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29" y="0"/>
                      <a:pt x="8" y="1"/>
                      <a:pt x="8" y="2"/>
                    </a:cubicBezTo>
                    <a:cubicBezTo>
                      <a:pt x="8" y="4"/>
                      <a:pt x="0" y="6"/>
                      <a:pt x="3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2" name="Freeform 968"/>
              <p:cNvSpPr>
                <a:spLocks/>
              </p:cNvSpPr>
              <p:nvPr/>
            </p:nvSpPr>
            <p:spPr bwMode="auto">
              <a:xfrm>
                <a:off x="1510" y="2325"/>
                <a:ext cx="1" cy="1"/>
              </a:xfrm>
              <a:custGeom>
                <a:avLst/>
                <a:gdLst>
                  <a:gd name="T0" fmla="*/ 0 w 2"/>
                  <a:gd name="T1" fmla="*/ 0 h 1"/>
                  <a:gd name="T2" fmla="*/ 2 w 2"/>
                  <a:gd name="T3" fmla="*/ 1 h 1"/>
                  <a:gd name="T4" fmla="*/ 0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1"/>
                      <a:pt x="2" y="1"/>
                      <a:pt x="2" y="1"/>
                    </a:cubicBezTo>
                    <a:cubicBezTo>
                      <a:pt x="2" y="1"/>
                      <a:pt x="1" y="1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3" name="Freeform 969"/>
              <p:cNvSpPr>
                <a:spLocks noEditPoints="1"/>
              </p:cNvSpPr>
              <p:nvPr/>
            </p:nvSpPr>
            <p:spPr bwMode="auto">
              <a:xfrm>
                <a:off x="1385" y="2280"/>
                <a:ext cx="263" cy="350"/>
              </a:xfrm>
              <a:custGeom>
                <a:avLst/>
                <a:gdLst>
                  <a:gd name="T0" fmla="*/ 151 w 402"/>
                  <a:gd name="T1" fmla="*/ 512 h 534"/>
                  <a:gd name="T2" fmla="*/ 175 w 402"/>
                  <a:gd name="T3" fmla="*/ 510 h 534"/>
                  <a:gd name="T4" fmla="*/ 184 w 402"/>
                  <a:gd name="T5" fmla="*/ 473 h 534"/>
                  <a:gd name="T6" fmla="*/ 260 w 402"/>
                  <a:gd name="T7" fmla="*/ 458 h 534"/>
                  <a:gd name="T8" fmla="*/ 311 w 402"/>
                  <a:gd name="T9" fmla="*/ 439 h 534"/>
                  <a:gd name="T10" fmla="*/ 322 w 402"/>
                  <a:gd name="T11" fmla="*/ 436 h 534"/>
                  <a:gd name="T12" fmla="*/ 357 w 402"/>
                  <a:gd name="T13" fmla="*/ 410 h 534"/>
                  <a:gd name="T14" fmla="*/ 396 w 402"/>
                  <a:gd name="T15" fmla="*/ 274 h 534"/>
                  <a:gd name="T16" fmla="*/ 377 w 402"/>
                  <a:gd name="T17" fmla="*/ 175 h 534"/>
                  <a:gd name="T18" fmla="*/ 331 w 402"/>
                  <a:gd name="T19" fmla="*/ 162 h 534"/>
                  <a:gd name="T20" fmla="*/ 241 w 402"/>
                  <a:gd name="T21" fmla="*/ 101 h 534"/>
                  <a:gd name="T22" fmla="*/ 276 w 402"/>
                  <a:gd name="T23" fmla="*/ 1 h 534"/>
                  <a:gd name="T24" fmla="*/ 251 w 402"/>
                  <a:gd name="T25" fmla="*/ 60 h 534"/>
                  <a:gd name="T26" fmla="*/ 248 w 402"/>
                  <a:gd name="T27" fmla="*/ 19 h 534"/>
                  <a:gd name="T28" fmla="*/ 249 w 402"/>
                  <a:gd name="T29" fmla="*/ 32 h 534"/>
                  <a:gd name="T30" fmla="*/ 227 w 402"/>
                  <a:gd name="T31" fmla="*/ 28 h 534"/>
                  <a:gd name="T32" fmla="*/ 197 w 402"/>
                  <a:gd name="T33" fmla="*/ 32 h 534"/>
                  <a:gd name="T34" fmla="*/ 191 w 402"/>
                  <a:gd name="T35" fmla="*/ 69 h 534"/>
                  <a:gd name="T36" fmla="*/ 173 w 402"/>
                  <a:gd name="T37" fmla="*/ 77 h 534"/>
                  <a:gd name="T38" fmla="*/ 183 w 402"/>
                  <a:gd name="T39" fmla="*/ 103 h 534"/>
                  <a:gd name="T40" fmla="*/ 197 w 402"/>
                  <a:gd name="T41" fmla="*/ 107 h 534"/>
                  <a:gd name="T42" fmla="*/ 163 w 402"/>
                  <a:gd name="T43" fmla="*/ 141 h 534"/>
                  <a:gd name="T44" fmla="*/ 173 w 402"/>
                  <a:gd name="T45" fmla="*/ 158 h 534"/>
                  <a:gd name="T46" fmla="*/ 119 w 402"/>
                  <a:gd name="T47" fmla="*/ 163 h 534"/>
                  <a:gd name="T48" fmla="*/ 50 w 402"/>
                  <a:gd name="T49" fmla="*/ 160 h 534"/>
                  <a:gd name="T50" fmla="*/ 59 w 402"/>
                  <a:gd name="T51" fmla="*/ 174 h 534"/>
                  <a:gd name="T52" fmla="*/ 84 w 402"/>
                  <a:gd name="T53" fmla="*/ 208 h 534"/>
                  <a:gd name="T54" fmla="*/ 45 w 402"/>
                  <a:gd name="T55" fmla="*/ 250 h 534"/>
                  <a:gd name="T56" fmla="*/ 31 w 402"/>
                  <a:gd name="T57" fmla="*/ 264 h 534"/>
                  <a:gd name="T58" fmla="*/ 53 w 402"/>
                  <a:gd name="T59" fmla="*/ 281 h 534"/>
                  <a:gd name="T60" fmla="*/ 82 w 402"/>
                  <a:gd name="T61" fmla="*/ 280 h 534"/>
                  <a:gd name="T62" fmla="*/ 138 w 402"/>
                  <a:gd name="T63" fmla="*/ 296 h 534"/>
                  <a:gd name="T64" fmla="*/ 125 w 402"/>
                  <a:gd name="T65" fmla="*/ 304 h 534"/>
                  <a:gd name="T66" fmla="*/ 95 w 402"/>
                  <a:gd name="T67" fmla="*/ 342 h 534"/>
                  <a:gd name="T68" fmla="*/ 78 w 402"/>
                  <a:gd name="T69" fmla="*/ 376 h 534"/>
                  <a:gd name="T70" fmla="*/ 110 w 402"/>
                  <a:gd name="T71" fmla="*/ 372 h 534"/>
                  <a:gd name="T72" fmla="*/ 153 w 402"/>
                  <a:gd name="T73" fmla="*/ 372 h 534"/>
                  <a:gd name="T74" fmla="*/ 55 w 402"/>
                  <a:gd name="T75" fmla="*/ 421 h 534"/>
                  <a:gd name="T76" fmla="*/ 38 w 402"/>
                  <a:gd name="T77" fmla="*/ 417 h 534"/>
                  <a:gd name="T78" fmla="*/ 66 w 402"/>
                  <a:gd name="T79" fmla="*/ 438 h 534"/>
                  <a:gd name="T80" fmla="*/ 22 w 402"/>
                  <a:gd name="T81" fmla="*/ 469 h 534"/>
                  <a:gd name="T82" fmla="*/ 82 w 402"/>
                  <a:gd name="T83" fmla="*/ 474 h 534"/>
                  <a:gd name="T84" fmla="*/ 93 w 402"/>
                  <a:gd name="T85" fmla="*/ 494 h 534"/>
                  <a:gd name="T86" fmla="*/ 98 w 402"/>
                  <a:gd name="T87" fmla="*/ 524 h 534"/>
                  <a:gd name="T88" fmla="*/ 193 w 402"/>
                  <a:gd name="T89" fmla="*/ 335 h 534"/>
                  <a:gd name="T90" fmla="*/ 196 w 402"/>
                  <a:gd name="T91" fmla="*/ 329 h 534"/>
                  <a:gd name="T92" fmla="*/ 200 w 402"/>
                  <a:gd name="T93" fmla="*/ 320 h 534"/>
                  <a:gd name="T94" fmla="*/ 207 w 402"/>
                  <a:gd name="T95" fmla="*/ 314 h 534"/>
                  <a:gd name="T96" fmla="*/ 205 w 402"/>
                  <a:gd name="T97" fmla="*/ 319 h 534"/>
                  <a:gd name="T98" fmla="*/ 200 w 402"/>
                  <a:gd name="T99" fmla="*/ 333 h 534"/>
                  <a:gd name="T100" fmla="*/ 199 w 402"/>
                  <a:gd name="T101" fmla="*/ 340 h 534"/>
                  <a:gd name="T102" fmla="*/ 188 w 402"/>
                  <a:gd name="T103" fmla="*/ 348 h 534"/>
                  <a:gd name="T104" fmla="*/ 188 w 402"/>
                  <a:gd name="T105" fmla="*/ 341 h 534"/>
                  <a:gd name="T106" fmla="*/ 182 w 402"/>
                  <a:gd name="T107" fmla="*/ 33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2" h="534">
                    <a:moveTo>
                      <a:pt x="98" y="524"/>
                    </a:moveTo>
                    <a:cubicBezTo>
                      <a:pt x="106" y="520"/>
                      <a:pt x="116" y="532"/>
                      <a:pt x="123" y="516"/>
                    </a:cubicBezTo>
                    <a:cubicBezTo>
                      <a:pt x="123" y="516"/>
                      <a:pt x="127" y="518"/>
                      <a:pt x="128" y="517"/>
                    </a:cubicBezTo>
                    <a:cubicBezTo>
                      <a:pt x="133" y="515"/>
                      <a:pt x="138" y="520"/>
                      <a:pt x="139" y="520"/>
                    </a:cubicBezTo>
                    <a:cubicBezTo>
                      <a:pt x="143" y="519"/>
                      <a:pt x="145" y="509"/>
                      <a:pt x="151" y="512"/>
                    </a:cubicBezTo>
                    <a:cubicBezTo>
                      <a:pt x="153" y="513"/>
                      <a:pt x="156" y="512"/>
                      <a:pt x="156" y="514"/>
                    </a:cubicBezTo>
                    <a:cubicBezTo>
                      <a:pt x="156" y="515"/>
                      <a:pt x="157" y="514"/>
                      <a:pt x="158" y="514"/>
                    </a:cubicBezTo>
                    <a:cubicBezTo>
                      <a:pt x="158" y="514"/>
                      <a:pt x="161" y="515"/>
                      <a:pt x="161" y="514"/>
                    </a:cubicBezTo>
                    <a:cubicBezTo>
                      <a:pt x="162" y="511"/>
                      <a:pt x="153" y="507"/>
                      <a:pt x="156" y="505"/>
                    </a:cubicBezTo>
                    <a:cubicBezTo>
                      <a:pt x="160" y="501"/>
                      <a:pt x="173" y="510"/>
                      <a:pt x="175" y="510"/>
                    </a:cubicBezTo>
                    <a:cubicBezTo>
                      <a:pt x="176" y="510"/>
                      <a:pt x="175" y="508"/>
                      <a:pt x="175" y="508"/>
                    </a:cubicBezTo>
                    <a:cubicBezTo>
                      <a:pt x="174" y="500"/>
                      <a:pt x="173" y="497"/>
                      <a:pt x="173" y="497"/>
                    </a:cubicBezTo>
                    <a:cubicBezTo>
                      <a:pt x="177" y="496"/>
                      <a:pt x="192" y="503"/>
                      <a:pt x="196" y="489"/>
                    </a:cubicBezTo>
                    <a:cubicBezTo>
                      <a:pt x="197" y="487"/>
                      <a:pt x="196" y="476"/>
                      <a:pt x="192" y="474"/>
                    </a:cubicBezTo>
                    <a:cubicBezTo>
                      <a:pt x="191" y="474"/>
                      <a:pt x="184" y="474"/>
                      <a:pt x="184" y="473"/>
                    </a:cubicBezTo>
                    <a:cubicBezTo>
                      <a:pt x="185" y="471"/>
                      <a:pt x="205" y="469"/>
                      <a:pt x="207" y="472"/>
                    </a:cubicBezTo>
                    <a:cubicBezTo>
                      <a:pt x="208" y="475"/>
                      <a:pt x="200" y="484"/>
                      <a:pt x="201" y="484"/>
                    </a:cubicBezTo>
                    <a:cubicBezTo>
                      <a:pt x="217" y="497"/>
                      <a:pt x="233" y="463"/>
                      <a:pt x="236" y="461"/>
                    </a:cubicBezTo>
                    <a:cubicBezTo>
                      <a:pt x="237" y="459"/>
                      <a:pt x="238" y="464"/>
                      <a:pt x="238" y="465"/>
                    </a:cubicBezTo>
                    <a:cubicBezTo>
                      <a:pt x="241" y="466"/>
                      <a:pt x="258" y="463"/>
                      <a:pt x="260" y="458"/>
                    </a:cubicBezTo>
                    <a:cubicBezTo>
                      <a:pt x="260" y="457"/>
                      <a:pt x="260" y="457"/>
                      <a:pt x="260" y="457"/>
                    </a:cubicBezTo>
                    <a:cubicBezTo>
                      <a:pt x="260" y="456"/>
                      <a:pt x="263" y="450"/>
                      <a:pt x="263" y="450"/>
                    </a:cubicBezTo>
                    <a:cubicBezTo>
                      <a:pt x="261" y="448"/>
                      <a:pt x="254" y="450"/>
                      <a:pt x="256" y="447"/>
                    </a:cubicBezTo>
                    <a:cubicBezTo>
                      <a:pt x="260" y="441"/>
                      <a:pt x="307" y="434"/>
                      <a:pt x="303" y="439"/>
                    </a:cubicBezTo>
                    <a:cubicBezTo>
                      <a:pt x="301" y="440"/>
                      <a:pt x="310" y="440"/>
                      <a:pt x="311" y="439"/>
                    </a:cubicBezTo>
                    <a:cubicBezTo>
                      <a:pt x="317" y="437"/>
                      <a:pt x="306" y="420"/>
                      <a:pt x="312" y="420"/>
                    </a:cubicBezTo>
                    <a:cubicBezTo>
                      <a:pt x="314" y="419"/>
                      <a:pt x="314" y="422"/>
                      <a:pt x="314" y="423"/>
                    </a:cubicBezTo>
                    <a:cubicBezTo>
                      <a:pt x="315" y="428"/>
                      <a:pt x="319" y="429"/>
                      <a:pt x="319" y="435"/>
                    </a:cubicBezTo>
                    <a:cubicBezTo>
                      <a:pt x="319" y="436"/>
                      <a:pt x="315" y="440"/>
                      <a:pt x="317" y="441"/>
                    </a:cubicBezTo>
                    <a:cubicBezTo>
                      <a:pt x="319" y="442"/>
                      <a:pt x="321" y="437"/>
                      <a:pt x="322" y="436"/>
                    </a:cubicBezTo>
                    <a:cubicBezTo>
                      <a:pt x="331" y="430"/>
                      <a:pt x="323" y="428"/>
                      <a:pt x="331" y="425"/>
                    </a:cubicBezTo>
                    <a:cubicBezTo>
                      <a:pt x="338" y="422"/>
                      <a:pt x="329" y="428"/>
                      <a:pt x="330" y="429"/>
                    </a:cubicBezTo>
                    <a:cubicBezTo>
                      <a:pt x="332" y="434"/>
                      <a:pt x="355" y="432"/>
                      <a:pt x="358" y="430"/>
                    </a:cubicBezTo>
                    <a:cubicBezTo>
                      <a:pt x="362" y="428"/>
                      <a:pt x="366" y="436"/>
                      <a:pt x="369" y="434"/>
                    </a:cubicBezTo>
                    <a:cubicBezTo>
                      <a:pt x="383" y="424"/>
                      <a:pt x="356" y="414"/>
                      <a:pt x="357" y="410"/>
                    </a:cubicBezTo>
                    <a:cubicBezTo>
                      <a:pt x="357" y="406"/>
                      <a:pt x="369" y="414"/>
                      <a:pt x="368" y="410"/>
                    </a:cubicBezTo>
                    <a:cubicBezTo>
                      <a:pt x="367" y="400"/>
                      <a:pt x="400" y="345"/>
                      <a:pt x="402" y="329"/>
                    </a:cubicBezTo>
                    <a:cubicBezTo>
                      <a:pt x="402" y="323"/>
                      <a:pt x="397" y="292"/>
                      <a:pt x="393" y="286"/>
                    </a:cubicBezTo>
                    <a:cubicBezTo>
                      <a:pt x="392" y="285"/>
                      <a:pt x="378" y="279"/>
                      <a:pt x="381" y="276"/>
                    </a:cubicBezTo>
                    <a:cubicBezTo>
                      <a:pt x="385" y="271"/>
                      <a:pt x="396" y="274"/>
                      <a:pt x="396" y="274"/>
                    </a:cubicBezTo>
                    <a:cubicBezTo>
                      <a:pt x="397" y="272"/>
                      <a:pt x="391" y="270"/>
                      <a:pt x="390" y="268"/>
                    </a:cubicBezTo>
                    <a:cubicBezTo>
                      <a:pt x="389" y="265"/>
                      <a:pt x="382" y="261"/>
                      <a:pt x="385" y="261"/>
                    </a:cubicBezTo>
                    <a:cubicBezTo>
                      <a:pt x="402" y="258"/>
                      <a:pt x="368" y="203"/>
                      <a:pt x="369" y="187"/>
                    </a:cubicBezTo>
                    <a:cubicBezTo>
                      <a:pt x="369" y="182"/>
                      <a:pt x="387" y="199"/>
                      <a:pt x="392" y="190"/>
                    </a:cubicBezTo>
                    <a:cubicBezTo>
                      <a:pt x="395" y="184"/>
                      <a:pt x="376" y="180"/>
                      <a:pt x="377" y="175"/>
                    </a:cubicBezTo>
                    <a:cubicBezTo>
                      <a:pt x="377" y="175"/>
                      <a:pt x="377" y="175"/>
                      <a:pt x="377" y="175"/>
                    </a:cubicBezTo>
                    <a:cubicBezTo>
                      <a:pt x="372" y="173"/>
                      <a:pt x="356" y="191"/>
                      <a:pt x="346" y="184"/>
                    </a:cubicBezTo>
                    <a:cubicBezTo>
                      <a:pt x="344" y="183"/>
                      <a:pt x="343" y="180"/>
                      <a:pt x="343" y="177"/>
                    </a:cubicBezTo>
                    <a:cubicBezTo>
                      <a:pt x="343" y="174"/>
                      <a:pt x="346" y="171"/>
                      <a:pt x="346" y="168"/>
                    </a:cubicBezTo>
                    <a:cubicBezTo>
                      <a:pt x="346" y="160"/>
                      <a:pt x="335" y="164"/>
                      <a:pt x="331" y="162"/>
                    </a:cubicBezTo>
                    <a:cubicBezTo>
                      <a:pt x="325" y="157"/>
                      <a:pt x="322" y="131"/>
                      <a:pt x="310" y="132"/>
                    </a:cubicBezTo>
                    <a:cubicBezTo>
                      <a:pt x="288" y="134"/>
                      <a:pt x="306" y="167"/>
                      <a:pt x="281" y="171"/>
                    </a:cubicBezTo>
                    <a:cubicBezTo>
                      <a:pt x="268" y="172"/>
                      <a:pt x="207" y="141"/>
                      <a:pt x="208" y="128"/>
                    </a:cubicBezTo>
                    <a:cubicBezTo>
                      <a:pt x="208" y="124"/>
                      <a:pt x="251" y="109"/>
                      <a:pt x="250" y="107"/>
                    </a:cubicBezTo>
                    <a:cubicBezTo>
                      <a:pt x="248" y="104"/>
                      <a:pt x="244" y="103"/>
                      <a:pt x="241" y="101"/>
                    </a:cubicBezTo>
                    <a:cubicBezTo>
                      <a:pt x="217" y="86"/>
                      <a:pt x="254" y="95"/>
                      <a:pt x="263" y="89"/>
                    </a:cubicBezTo>
                    <a:cubicBezTo>
                      <a:pt x="279" y="78"/>
                      <a:pt x="266" y="51"/>
                      <a:pt x="289" y="46"/>
                    </a:cubicBezTo>
                    <a:cubicBezTo>
                      <a:pt x="285" y="32"/>
                      <a:pt x="320" y="27"/>
                      <a:pt x="318" y="20"/>
                    </a:cubicBezTo>
                    <a:cubicBezTo>
                      <a:pt x="317" y="17"/>
                      <a:pt x="287" y="5"/>
                      <a:pt x="282" y="2"/>
                    </a:cubicBezTo>
                    <a:cubicBezTo>
                      <a:pt x="281" y="1"/>
                      <a:pt x="277" y="0"/>
                      <a:pt x="276" y="1"/>
                    </a:cubicBezTo>
                    <a:cubicBezTo>
                      <a:pt x="276" y="3"/>
                      <a:pt x="279" y="6"/>
                      <a:pt x="281" y="7"/>
                    </a:cubicBezTo>
                    <a:cubicBezTo>
                      <a:pt x="294" y="21"/>
                      <a:pt x="277" y="8"/>
                      <a:pt x="266" y="13"/>
                    </a:cubicBezTo>
                    <a:cubicBezTo>
                      <a:pt x="264" y="14"/>
                      <a:pt x="266" y="19"/>
                      <a:pt x="265" y="21"/>
                    </a:cubicBezTo>
                    <a:cubicBezTo>
                      <a:pt x="257" y="32"/>
                      <a:pt x="284" y="27"/>
                      <a:pt x="260" y="53"/>
                    </a:cubicBezTo>
                    <a:cubicBezTo>
                      <a:pt x="259" y="54"/>
                      <a:pt x="253" y="61"/>
                      <a:pt x="251" y="60"/>
                    </a:cubicBezTo>
                    <a:cubicBezTo>
                      <a:pt x="249" y="59"/>
                      <a:pt x="262" y="48"/>
                      <a:pt x="262" y="48"/>
                    </a:cubicBezTo>
                    <a:cubicBezTo>
                      <a:pt x="262" y="42"/>
                      <a:pt x="256" y="49"/>
                      <a:pt x="255" y="47"/>
                    </a:cubicBezTo>
                    <a:cubicBezTo>
                      <a:pt x="254" y="46"/>
                      <a:pt x="257" y="45"/>
                      <a:pt x="258" y="44"/>
                    </a:cubicBezTo>
                    <a:cubicBezTo>
                      <a:pt x="266" y="39"/>
                      <a:pt x="262" y="19"/>
                      <a:pt x="254" y="15"/>
                    </a:cubicBezTo>
                    <a:cubicBezTo>
                      <a:pt x="252" y="14"/>
                      <a:pt x="249" y="18"/>
                      <a:pt x="248" y="19"/>
                    </a:cubicBezTo>
                    <a:cubicBezTo>
                      <a:pt x="246" y="20"/>
                      <a:pt x="245" y="15"/>
                      <a:pt x="245" y="20"/>
                    </a:cubicBezTo>
                    <a:cubicBezTo>
                      <a:pt x="244" y="26"/>
                      <a:pt x="247" y="33"/>
                      <a:pt x="248" y="23"/>
                    </a:cubicBezTo>
                    <a:cubicBezTo>
                      <a:pt x="248" y="21"/>
                      <a:pt x="254" y="31"/>
                      <a:pt x="252" y="34"/>
                    </a:cubicBezTo>
                    <a:cubicBezTo>
                      <a:pt x="252" y="34"/>
                      <a:pt x="250" y="40"/>
                      <a:pt x="250" y="40"/>
                    </a:cubicBezTo>
                    <a:cubicBezTo>
                      <a:pt x="249" y="40"/>
                      <a:pt x="250" y="33"/>
                      <a:pt x="249" y="32"/>
                    </a:cubicBezTo>
                    <a:cubicBezTo>
                      <a:pt x="247" y="28"/>
                      <a:pt x="240" y="28"/>
                      <a:pt x="240" y="28"/>
                    </a:cubicBezTo>
                    <a:cubicBezTo>
                      <a:pt x="239" y="26"/>
                      <a:pt x="242" y="19"/>
                      <a:pt x="241" y="18"/>
                    </a:cubicBezTo>
                    <a:cubicBezTo>
                      <a:pt x="231" y="16"/>
                      <a:pt x="239" y="32"/>
                      <a:pt x="236" y="34"/>
                    </a:cubicBezTo>
                    <a:cubicBezTo>
                      <a:pt x="234" y="35"/>
                      <a:pt x="233" y="33"/>
                      <a:pt x="231" y="32"/>
                    </a:cubicBezTo>
                    <a:cubicBezTo>
                      <a:pt x="230" y="31"/>
                      <a:pt x="231" y="30"/>
                      <a:pt x="227" y="28"/>
                    </a:cubicBezTo>
                    <a:cubicBezTo>
                      <a:pt x="226" y="27"/>
                      <a:pt x="219" y="29"/>
                      <a:pt x="225" y="27"/>
                    </a:cubicBezTo>
                    <a:cubicBezTo>
                      <a:pt x="233" y="24"/>
                      <a:pt x="211" y="27"/>
                      <a:pt x="210" y="35"/>
                    </a:cubicBezTo>
                    <a:cubicBezTo>
                      <a:pt x="210" y="35"/>
                      <a:pt x="210" y="36"/>
                      <a:pt x="209" y="36"/>
                    </a:cubicBezTo>
                    <a:cubicBezTo>
                      <a:pt x="206" y="36"/>
                      <a:pt x="203" y="33"/>
                      <a:pt x="200" y="32"/>
                    </a:cubicBezTo>
                    <a:cubicBezTo>
                      <a:pt x="200" y="32"/>
                      <a:pt x="197" y="31"/>
                      <a:pt x="197" y="32"/>
                    </a:cubicBezTo>
                    <a:cubicBezTo>
                      <a:pt x="195" y="34"/>
                      <a:pt x="196" y="48"/>
                      <a:pt x="194" y="49"/>
                    </a:cubicBezTo>
                    <a:cubicBezTo>
                      <a:pt x="193" y="50"/>
                      <a:pt x="185" y="47"/>
                      <a:pt x="182" y="53"/>
                    </a:cubicBezTo>
                    <a:cubicBezTo>
                      <a:pt x="181" y="55"/>
                      <a:pt x="188" y="59"/>
                      <a:pt x="189" y="60"/>
                    </a:cubicBezTo>
                    <a:cubicBezTo>
                      <a:pt x="190" y="60"/>
                      <a:pt x="182" y="62"/>
                      <a:pt x="182" y="62"/>
                    </a:cubicBezTo>
                    <a:cubicBezTo>
                      <a:pt x="183" y="66"/>
                      <a:pt x="188" y="68"/>
                      <a:pt x="191" y="69"/>
                    </a:cubicBezTo>
                    <a:cubicBezTo>
                      <a:pt x="192" y="70"/>
                      <a:pt x="193" y="70"/>
                      <a:pt x="193" y="70"/>
                    </a:cubicBezTo>
                    <a:cubicBezTo>
                      <a:pt x="193" y="70"/>
                      <a:pt x="192" y="70"/>
                      <a:pt x="191" y="69"/>
                    </a:cubicBezTo>
                    <a:cubicBezTo>
                      <a:pt x="190" y="69"/>
                      <a:pt x="189" y="70"/>
                      <a:pt x="189" y="71"/>
                    </a:cubicBezTo>
                    <a:cubicBezTo>
                      <a:pt x="189" y="74"/>
                      <a:pt x="194" y="74"/>
                      <a:pt x="194" y="75"/>
                    </a:cubicBezTo>
                    <a:cubicBezTo>
                      <a:pt x="194" y="82"/>
                      <a:pt x="169" y="71"/>
                      <a:pt x="173" y="77"/>
                    </a:cubicBezTo>
                    <a:cubicBezTo>
                      <a:pt x="174" y="79"/>
                      <a:pt x="188" y="82"/>
                      <a:pt x="186" y="86"/>
                    </a:cubicBezTo>
                    <a:cubicBezTo>
                      <a:pt x="186" y="88"/>
                      <a:pt x="182" y="85"/>
                      <a:pt x="181" y="84"/>
                    </a:cubicBezTo>
                    <a:cubicBezTo>
                      <a:pt x="180" y="81"/>
                      <a:pt x="149" y="88"/>
                      <a:pt x="152" y="99"/>
                    </a:cubicBezTo>
                    <a:cubicBezTo>
                      <a:pt x="155" y="108"/>
                      <a:pt x="179" y="102"/>
                      <a:pt x="180" y="104"/>
                    </a:cubicBezTo>
                    <a:cubicBezTo>
                      <a:pt x="182" y="107"/>
                      <a:pt x="182" y="108"/>
                      <a:pt x="183" y="103"/>
                    </a:cubicBezTo>
                    <a:cubicBezTo>
                      <a:pt x="184" y="100"/>
                      <a:pt x="185" y="101"/>
                      <a:pt x="185" y="104"/>
                    </a:cubicBezTo>
                    <a:cubicBezTo>
                      <a:pt x="185" y="105"/>
                      <a:pt x="191" y="103"/>
                      <a:pt x="188" y="106"/>
                    </a:cubicBezTo>
                    <a:cubicBezTo>
                      <a:pt x="187" y="108"/>
                      <a:pt x="186" y="109"/>
                      <a:pt x="188" y="109"/>
                    </a:cubicBezTo>
                    <a:cubicBezTo>
                      <a:pt x="193" y="108"/>
                      <a:pt x="192" y="101"/>
                      <a:pt x="197" y="102"/>
                    </a:cubicBezTo>
                    <a:cubicBezTo>
                      <a:pt x="200" y="103"/>
                      <a:pt x="196" y="106"/>
                      <a:pt x="197" y="107"/>
                    </a:cubicBezTo>
                    <a:cubicBezTo>
                      <a:pt x="197" y="107"/>
                      <a:pt x="211" y="100"/>
                      <a:pt x="212" y="101"/>
                    </a:cubicBezTo>
                    <a:cubicBezTo>
                      <a:pt x="212" y="102"/>
                      <a:pt x="211" y="102"/>
                      <a:pt x="211" y="102"/>
                    </a:cubicBezTo>
                    <a:cubicBezTo>
                      <a:pt x="211" y="103"/>
                      <a:pt x="196" y="119"/>
                      <a:pt x="203" y="120"/>
                    </a:cubicBezTo>
                    <a:cubicBezTo>
                      <a:pt x="204" y="120"/>
                      <a:pt x="205" y="120"/>
                      <a:pt x="204" y="121"/>
                    </a:cubicBezTo>
                    <a:cubicBezTo>
                      <a:pt x="195" y="125"/>
                      <a:pt x="167" y="131"/>
                      <a:pt x="163" y="141"/>
                    </a:cubicBezTo>
                    <a:cubicBezTo>
                      <a:pt x="162" y="144"/>
                      <a:pt x="179" y="141"/>
                      <a:pt x="177" y="145"/>
                    </a:cubicBezTo>
                    <a:cubicBezTo>
                      <a:pt x="175" y="147"/>
                      <a:pt x="174" y="145"/>
                      <a:pt x="173" y="145"/>
                    </a:cubicBezTo>
                    <a:cubicBezTo>
                      <a:pt x="168" y="145"/>
                      <a:pt x="175" y="149"/>
                      <a:pt x="175" y="149"/>
                    </a:cubicBezTo>
                    <a:cubicBezTo>
                      <a:pt x="175" y="149"/>
                      <a:pt x="181" y="151"/>
                      <a:pt x="181" y="151"/>
                    </a:cubicBezTo>
                    <a:cubicBezTo>
                      <a:pt x="177" y="157"/>
                      <a:pt x="161" y="145"/>
                      <a:pt x="173" y="158"/>
                    </a:cubicBezTo>
                    <a:cubicBezTo>
                      <a:pt x="174" y="159"/>
                      <a:pt x="178" y="160"/>
                      <a:pt x="177" y="161"/>
                    </a:cubicBezTo>
                    <a:cubicBezTo>
                      <a:pt x="176" y="164"/>
                      <a:pt x="170" y="159"/>
                      <a:pt x="168" y="158"/>
                    </a:cubicBezTo>
                    <a:cubicBezTo>
                      <a:pt x="159" y="153"/>
                      <a:pt x="143" y="149"/>
                      <a:pt x="130" y="150"/>
                    </a:cubicBezTo>
                    <a:cubicBezTo>
                      <a:pt x="123" y="150"/>
                      <a:pt x="127" y="173"/>
                      <a:pt x="121" y="170"/>
                    </a:cubicBezTo>
                    <a:cubicBezTo>
                      <a:pt x="119" y="169"/>
                      <a:pt x="120" y="165"/>
                      <a:pt x="119" y="163"/>
                    </a:cubicBezTo>
                    <a:cubicBezTo>
                      <a:pt x="118" y="162"/>
                      <a:pt x="113" y="161"/>
                      <a:pt x="114" y="159"/>
                    </a:cubicBezTo>
                    <a:cubicBezTo>
                      <a:pt x="125" y="144"/>
                      <a:pt x="59" y="144"/>
                      <a:pt x="58" y="144"/>
                    </a:cubicBezTo>
                    <a:cubicBezTo>
                      <a:pt x="54" y="148"/>
                      <a:pt x="65" y="149"/>
                      <a:pt x="65" y="150"/>
                    </a:cubicBezTo>
                    <a:cubicBezTo>
                      <a:pt x="70" y="154"/>
                      <a:pt x="57" y="150"/>
                      <a:pt x="55" y="155"/>
                    </a:cubicBezTo>
                    <a:cubicBezTo>
                      <a:pt x="54" y="158"/>
                      <a:pt x="57" y="161"/>
                      <a:pt x="50" y="160"/>
                    </a:cubicBezTo>
                    <a:cubicBezTo>
                      <a:pt x="44" y="160"/>
                      <a:pt x="62" y="148"/>
                      <a:pt x="44" y="148"/>
                    </a:cubicBezTo>
                    <a:cubicBezTo>
                      <a:pt x="39" y="148"/>
                      <a:pt x="30" y="171"/>
                      <a:pt x="33" y="176"/>
                    </a:cubicBezTo>
                    <a:cubicBezTo>
                      <a:pt x="38" y="181"/>
                      <a:pt x="41" y="158"/>
                      <a:pt x="44" y="159"/>
                    </a:cubicBezTo>
                    <a:cubicBezTo>
                      <a:pt x="58" y="164"/>
                      <a:pt x="44" y="174"/>
                      <a:pt x="48" y="180"/>
                    </a:cubicBezTo>
                    <a:cubicBezTo>
                      <a:pt x="51" y="185"/>
                      <a:pt x="57" y="169"/>
                      <a:pt x="59" y="174"/>
                    </a:cubicBezTo>
                    <a:cubicBezTo>
                      <a:pt x="61" y="176"/>
                      <a:pt x="51" y="181"/>
                      <a:pt x="53" y="186"/>
                    </a:cubicBezTo>
                    <a:cubicBezTo>
                      <a:pt x="55" y="192"/>
                      <a:pt x="66" y="193"/>
                      <a:pt x="64" y="200"/>
                    </a:cubicBezTo>
                    <a:cubicBezTo>
                      <a:pt x="63" y="202"/>
                      <a:pt x="61" y="199"/>
                      <a:pt x="62" y="198"/>
                    </a:cubicBezTo>
                    <a:cubicBezTo>
                      <a:pt x="63" y="193"/>
                      <a:pt x="50" y="198"/>
                      <a:pt x="50" y="206"/>
                    </a:cubicBezTo>
                    <a:cubicBezTo>
                      <a:pt x="49" y="207"/>
                      <a:pt x="85" y="197"/>
                      <a:pt x="84" y="208"/>
                    </a:cubicBezTo>
                    <a:cubicBezTo>
                      <a:pt x="82" y="225"/>
                      <a:pt x="54" y="217"/>
                      <a:pt x="53" y="221"/>
                    </a:cubicBezTo>
                    <a:cubicBezTo>
                      <a:pt x="50" y="231"/>
                      <a:pt x="53" y="243"/>
                      <a:pt x="66" y="243"/>
                    </a:cubicBezTo>
                    <a:cubicBezTo>
                      <a:pt x="66" y="243"/>
                      <a:pt x="72" y="241"/>
                      <a:pt x="72" y="243"/>
                    </a:cubicBezTo>
                    <a:cubicBezTo>
                      <a:pt x="71" y="244"/>
                      <a:pt x="63" y="243"/>
                      <a:pt x="61" y="243"/>
                    </a:cubicBezTo>
                    <a:cubicBezTo>
                      <a:pt x="39" y="234"/>
                      <a:pt x="46" y="249"/>
                      <a:pt x="45" y="250"/>
                    </a:cubicBezTo>
                    <a:cubicBezTo>
                      <a:pt x="44" y="254"/>
                      <a:pt x="35" y="244"/>
                      <a:pt x="34" y="248"/>
                    </a:cubicBezTo>
                    <a:cubicBezTo>
                      <a:pt x="34" y="252"/>
                      <a:pt x="27" y="247"/>
                      <a:pt x="26" y="251"/>
                    </a:cubicBezTo>
                    <a:cubicBezTo>
                      <a:pt x="26" y="252"/>
                      <a:pt x="43" y="259"/>
                      <a:pt x="44" y="260"/>
                    </a:cubicBezTo>
                    <a:cubicBezTo>
                      <a:pt x="44" y="261"/>
                      <a:pt x="42" y="261"/>
                      <a:pt x="41" y="261"/>
                    </a:cubicBezTo>
                    <a:cubicBezTo>
                      <a:pt x="41" y="261"/>
                      <a:pt x="34" y="262"/>
                      <a:pt x="31" y="264"/>
                    </a:cubicBezTo>
                    <a:cubicBezTo>
                      <a:pt x="31" y="264"/>
                      <a:pt x="28" y="268"/>
                      <a:pt x="29" y="269"/>
                    </a:cubicBezTo>
                    <a:cubicBezTo>
                      <a:pt x="38" y="278"/>
                      <a:pt x="57" y="264"/>
                      <a:pt x="55" y="269"/>
                    </a:cubicBezTo>
                    <a:cubicBezTo>
                      <a:pt x="54" y="272"/>
                      <a:pt x="59" y="272"/>
                      <a:pt x="58" y="270"/>
                    </a:cubicBezTo>
                    <a:cubicBezTo>
                      <a:pt x="58" y="269"/>
                      <a:pt x="62" y="266"/>
                      <a:pt x="63" y="268"/>
                    </a:cubicBezTo>
                    <a:cubicBezTo>
                      <a:pt x="63" y="269"/>
                      <a:pt x="52" y="280"/>
                      <a:pt x="53" y="281"/>
                    </a:cubicBezTo>
                    <a:cubicBezTo>
                      <a:pt x="66" y="291"/>
                      <a:pt x="68" y="271"/>
                      <a:pt x="76" y="272"/>
                    </a:cubicBezTo>
                    <a:cubicBezTo>
                      <a:pt x="80" y="272"/>
                      <a:pt x="74" y="278"/>
                      <a:pt x="76" y="280"/>
                    </a:cubicBezTo>
                    <a:cubicBezTo>
                      <a:pt x="79" y="282"/>
                      <a:pt x="80" y="276"/>
                      <a:pt x="79" y="274"/>
                    </a:cubicBezTo>
                    <a:cubicBezTo>
                      <a:pt x="78" y="272"/>
                      <a:pt x="82" y="271"/>
                      <a:pt x="83" y="272"/>
                    </a:cubicBezTo>
                    <a:cubicBezTo>
                      <a:pt x="86" y="273"/>
                      <a:pt x="84" y="278"/>
                      <a:pt x="82" y="280"/>
                    </a:cubicBezTo>
                    <a:cubicBezTo>
                      <a:pt x="80" y="283"/>
                      <a:pt x="73" y="297"/>
                      <a:pt x="83" y="285"/>
                    </a:cubicBezTo>
                    <a:cubicBezTo>
                      <a:pt x="84" y="283"/>
                      <a:pt x="84" y="291"/>
                      <a:pt x="85" y="293"/>
                    </a:cubicBezTo>
                    <a:cubicBezTo>
                      <a:pt x="93" y="301"/>
                      <a:pt x="133" y="279"/>
                      <a:pt x="139" y="288"/>
                    </a:cubicBezTo>
                    <a:cubicBezTo>
                      <a:pt x="140" y="289"/>
                      <a:pt x="130" y="296"/>
                      <a:pt x="132" y="295"/>
                    </a:cubicBezTo>
                    <a:cubicBezTo>
                      <a:pt x="135" y="294"/>
                      <a:pt x="136" y="296"/>
                      <a:pt x="138" y="296"/>
                    </a:cubicBezTo>
                    <a:cubicBezTo>
                      <a:pt x="139" y="296"/>
                      <a:pt x="142" y="293"/>
                      <a:pt x="143" y="294"/>
                    </a:cubicBezTo>
                    <a:cubicBezTo>
                      <a:pt x="144" y="297"/>
                      <a:pt x="136" y="306"/>
                      <a:pt x="135" y="302"/>
                    </a:cubicBezTo>
                    <a:cubicBezTo>
                      <a:pt x="135" y="301"/>
                      <a:pt x="136" y="302"/>
                      <a:pt x="136" y="301"/>
                    </a:cubicBezTo>
                    <a:cubicBezTo>
                      <a:pt x="136" y="299"/>
                      <a:pt x="133" y="301"/>
                      <a:pt x="133" y="301"/>
                    </a:cubicBezTo>
                    <a:cubicBezTo>
                      <a:pt x="130" y="303"/>
                      <a:pt x="122" y="303"/>
                      <a:pt x="125" y="304"/>
                    </a:cubicBezTo>
                    <a:cubicBezTo>
                      <a:pt x="126" y="304"/>
                      <a:pt x="129" y="307"/>
                      <a:pt x="127" y="308"/>
                    </a:cubicBezTo>
                    <a:cubicBezTo>
                      <a:pt x="122" y="313"/>
                      <a:pt x="113" y="302"/>
                      <a:pt x="110" y="304"/>
                    </a:cubicBezTo>
                    <a:cubicBezTo>
                      <a:pt x="107" y="305"/>
                      <a:pt x="91" y="330"/>
                      <a:pt x="91" y="332"/>
                    </a:cubicBezTo>
                    <a:cubicBezTo>
                      <a:pt x="91" y="334"/>
                      <a:pt x="99" y="334"/>
                      <a:pt x="100" y="333"/>
                    </a:cubicBezTo>
                    <a:cubicBezTo>
                      <a:pt x="106" y="330"/>
                      <a:pt x="95" y="342"/>
                      <a:pt x="95" y="342"/>
                    </a:cubicBezTo>
                    <a:cubicBezTo>
                      <a:pt x="100" y="345"/>
                      <a:pt x="92" y="353"/>
                      <a:pt x="89" y="357"/>
                    </a:cubicBezTo>
                    <a:cubicBezTo>
                      <a:pt x="89" y="357"/>
                      <a:pt x="57" y="380"/>
                      <a:pt x="54" y="380"/>
                    </a:cubicBezTo>
                    <a:cubicBezTo>
                      <a:pt x="54" y="381"/>
                      <a:pt x="50" y="382"/>
                      <a:pt x="50" y="383"/>
                    </a:cubicBezTo>
                    <a:cubicBezTo>
                      <a:pt x="51" y="385"/>
                      <a:pt x="71" y="380"/>
                      <a:pt x="71" y="380"/>
                    </a:cubicBezTo>
                    <a:cubicBezTo>
                      <a:pt x="71" y="377"/>
                      <a:pt x="80" y="375"/>
                      <a:pt x="78" y="376"/>
                    </a:cubicBezTo>
                    <a:cubicBezTo>
                      <a:pt x="77" y="376"/>
                      <a:pt x="77" y="376"/>
                      <a:pt x="78" y="376"/>
                    </a:cubicBezTo>
                    <a:cubicBezTo>
                      <a:pt x="78" y="376"/>
                      <a:pt x="78" y="376"/>
                      <a:pt x="78" y="376"/>
                    </a:cubicBezTo>
                    <a:cubicBezTo>
                      <a:pt x="80" y="375"/>
                      <a:pt x="84" y="374"/>
                      <a:pt x="84" y="372"/>
                    </a:cubicBezTo>
                    <a:cubicBezTo>
                      <a:pt x="85" y="369"/>
                      <a:pt x="89" y="368"/>
                      <a:pt x="90" y="374"/>
                    </a:cubicBezTo>
                    <a:cubicBezTo>
                      <a:pt x="92" y="381"/>
                      <a:pt x="108" y="370"/>
                      <a:pt x="110" y="372"/>
                    </a:cubicBezTo>
                    <a:cubicBezTo>
                      <a:pt x="111" y="374"/>
                      <a:pt x="103" y="376"/>
                      <a:pt x="104" y="377"/>
                    </a:cubicBezTo>
                    <a:cubicBezTo>
                      <a:pt x="108" y="379"/>
                      <a:pt x="113" y="375"/>
                      <a:pt x="113" y="375"/>
                    </a:cubicBezTo>
                    <a:cubicBezTo>
                      <a:pt x="121" y="372"/>
                      <a:pt x="128" y="370"/>
                      <a:pt x="131" y="360"/>
                    </a:cubicBezTo>
                    <a:cubicBezTo>
                      <a:pt x="136" y="343"/>
                      <a:pt x="137" y="366"/>
                      <a:pt x="137" y="366"/>
                    </a:cubicBezTo>
                    <a:cubicBezTo>
                      <a:pt x="145" y="375"/>
                      <a:pt x="169" y="356"/>
                      <a:pt x="153" y="372"/>
                    </a:cubicBezTo>
                    <a:cubicBezTo>
                      <a:pt x="141" y="385"/>
                      <a:pt x="83" y="378"/>
                      <a:pt x="76" y="382"/>
                    </a:cubicBezTo>
                    <a:cubicBezTo>
                      <a:pt x="72" y="384"/>
                      <a:pt x="81" y="394"/>
                      <a:pt x="77" y="395"/>
                    </a:cubicBezTo>
                    <a:cubicBezTo>
                      <a:pt x="74" y="395"/>
                      <a:pt x="49" y="400"/>
                      <a:pt x="49" y="403"/>
                    </a:cubicBezTo>
                    <a:cubicBezTo>
                      <a:pt x="49" y="406"/>
                      <a:pt x="58" y="405"/>
                      <a:pt x="59" y="407"/>
                    </a:cubicBezTo>
                    <a:cubicBezTo>
                      <a:pt x="63" y="417"/>
                      <a:pt x="55" y="420"/>
                      <a:pt x="55" y="421"/>
                    </a:cubicBezTo>
                    <a:cubicBezTo>
                      <a:pt x="56" y="422"/>
                      <a:pt x="69" y="423"/>
                      <a:pt x="68" y="425"/>
                    </a:cubicBezTo>
                    <a:cubicBezTo>
                      <a:pt x="67" y="425"/>
                      <a:pt x="65" y="425"/>
                      <a:pt x="65" y="425"/>
                    </a:cubicBezTo>
                    <a:cubicBezTo>
                      <a:pt x="60" y="425"/>
                      <a:pt x="50" y="430"/>
                      <a:pt x="43" y="423"/>
                    </a:cubicBezTo>
                    <a:cubicBezTo>
                      <a:pt x="42" y="422"/>
                      <a:pt x="44" y="417"/>
                      <a:pt x="43" y="416"/>
                    </a:cubicBezTo>
                    <a:cubicBezTo>
                      <a:pt x="42" y="416"/>
                      <a:pt x="37" y="416"/>
                      <a:pt x="38" y="417"/>
                    </a:cubicBezTo>
                    <a:cubicBezTo>
                      <a:pt x="46" y="428"/>
                      <a:pt x="25" y="419"/>
                      <a:pt x="12" y="427"/>
                    </a:cubicBezTo>
                    <a:cubicBezTo>
                      <a:pt x="10" y="428"/>
                      <a:pt x="13" y="433"/>
                      <a:pt x="11" y="435"/>
                    </a:cubicBezTo>
                    <a:cubicBezTo>
                      <a:pt x="10" y="436"/>
                      <a:pt x="4" y="427"/>
                      <a:pt x="3" y="434"/>
                    </a:cubicBezTo>
                    <a:cubicBezTo>
                      <a:pt x="0" y="450"/>
                      <a:pt x="41" y="441"/>
                      <a:pt x="53" y="438"/>
                    </a:cubicBezTo>
                    <a:cubicBezTo>
                      <a:pt x="54" y="437"/>
                      <a:pt x="66" y="436"/>
                      <a:pt x="66" y="438"/>
                    </a:cubicBezTo>
                    <a:cubicBezTo>
                      <a:pt x="66" y="439"/>
                      <a:pt x="59" y="445"/>
                      <a:pt x="55" y="443"/>
                    </a:cubicBezTo>
                    <a:cubicBezTo>
                      <a:pt x="53" y="442"/>
                      <a:pt x="48" y="453"/>
                      <a:pt x="48" y="447"/>
                    </a:cubicBezTo>
                    <a:cubicBezTo>
                      <a:pt x="48" y="442"/>
                      <a:pt x="38" y="450"/>
                      <a:pt x="35" y="454"/>
                    </a:cubicBezTo>
                    <a:cubicBezTo>
                      <a:pt x="34" y="455"/>
                      <a:pt x="25" y="458"/>
                      <a:pt x="23" y="458"/>
                    </a:cubicBezTo>
                    <a:cubicBezTo>
                      <a:pt x="14" y="459"/>
                      <a:pt x="22" y="466"/>
                      <a:pt x="22" y="469"/>
                    </a:cubicBezTo>
                    <a:cubicBezTo>
                      <a:pt x="22" y="474"/>
                      <a:pt x="7" y="470"/>
                      <a:pt x="9" y="474"/>
                    </a:cubicBezTo>
                    <a:cubicBezTo>
                      <a:pt x="10" y="475"/>
                      <a:pt x="18" y="493"/>
                      <a:pt x="20" y="482"/>
                    </a:cubicBezTo>
                    <a:cubicBezTo>
                      <a:pt x="20" y="480"/>
                      <a:pt x="24" y="476"/>
                      <a:pt x="27" y="478"/>
                    </a:cubicBezTo>
                    <a:cubicBezTo>
                      <a:pt x="30" y="481"/>
                      <a:pt x="24" y="494"/>
                      <a:pt x="33" y="493"/>
                    </a:cubicBezTo>
                    <a:cubicBezTo>
                      <a:pt x="46" y="490"/>
                      <a:pt x="79" y="470"/>
                      <a:pt x="82" y="474"/>
                    </a:cubicBezTo>
                    <a:cubicBezTo>
                      <a:pt x="87" y="481"/>
                      <a:pt x="65" y="479"/>
                      <a:pt x="61" y="486"/>
                    </a:cubicBezTo>
                    <a:cubicBezTo>
                      <a:pt x="60" y="488"/>
                      <a:pt x="29" y="508"/>
                      <a:pt x="30" y="513"/>
                    </a:cubicBezTo>
                    <a:cubicBezTo>
                      <a:pt x="32" y="518"/>
                      <a:pt x="41" y="512"/>
                      <a:pt x="46" y="509"/>
                    </a:cubicBezTo>
                    <a:cubicBezTo>
                      <a:pt x="53" y="504"/>
                      <a:pt x="83" y="493"/>
                      <a:pt x="88" y="495"/>
                    </a:cubicBezTo>
                    <a:cubicBezTo>
                      <a:pt x="90" y="495"/>
                      <a:pt x="92" y="493"/>
                      <a:pt x="93" y="494"/>
                    </a:cubicBezTo>
                    <a:cubicBezTo>
                      <a:pt x="99" y="499"/>
                      <a:pt x="61" y="512"/>
                      <a:pt x="58" y="518"/>
                    </a:cubicBezTo>
                    <a:cubicBezTo>
                      <a:pt x="58" y="518"/>
                      <a:pt x="85" y="508"/>
                      <a:pt x="85" y="508"/>
                    </a:cubicBezTo>
                    <a:cubicBezTo>
                      <a:pt x="88" y="514"/>
                      <a:pt x="53" y="523"/>
                      <a:pt x="61" y="531"/>
                    </a:cubicBezTo>
                    <a:cubicBezTo>
                      <a:pt x="64" y="534"/>
                      <a:pt x="91" y="515"/>
                      <a:pt x="94" y="516"/>
                    </a:cubicBezTo>
                    <a:cubicBezTo>
                      <a:pt x="99" y="517"/>
                      <a:pt x="97" y="524"/>
                      <a:pt x="98" y="524"/>
                    </a:cubicBezTo>
                    <a:close/>
                    <a:moveTo>
                      <a:pt x="182" y="338"/>
                    </a:moveTo>
                    <a:cubicBezTo>
                      <a:pt x="182" y="337"/>
                      <a:pt x="184" y="337"/>
                      <a:pt x="185" y="337"/>
                    </a:cubicBezTo>
                    <a:cubicBezTo>
                      <a:pt x="186" y="336"/>
                      <a:pt x="188" y="335"/>
                      <a:pt x="189" y="335"/>
                    </a:cubicBezTo>
                    <a:cubicBezTo>
                      <a:pt x="190" y="335"/>
                      <a:pt x="190" y="335"/>
                      <a:pt x="191" y="335"/>
                    </a:cubicBezTo>
                    <a:cubicBezTo>
                      <a:pt x="192" y="335"/>
                      <a:pt x="192" y="335"/>
                      <a:pt x="193" y="335"/>
                    </a:cubicBezTo>
                    <a:cubicBezTo>
                      <a:pt x="193" y="335"/>
                      <a:pt x="193" y="335"/>
                      <a:pt x="194" y="335"/>
                    </a:cubicBezTo>
                    <a:cubicBezTo>
                      <a:pt x="195" y="335"/>
                      <a:pt x="195" y="335"/>
                      <a:pt x="196" y="334"/>
                    </a:cubicBezTo>
                    <a:cubicBezTo>
                      <a:pt x="196" y="333"/>
                      <a:pt x="197" y="333"/>
                      <a:pt x="197" y="333"/>
                    </a:cubicBezTo>
                    <a:cubicBezTo>
                      <a:pt x="197" y="332"/>
                      <a:pt x="197" y="331"/>
                      <a:pt x="197" y="330"/>
                    </a:cubicBezTo>
                    <a:cubicBezTo>
                      <a:pt x="196" y="330"/>
                      <a:pt x="196" y="329"/>
                      <a:pt x="196" y="329"/>
                    </a:cubicBezTo>
                    <a:cubicBezTo>
                      <a:pt x="195" y="328"/>
                      <a:pt x="194" y="327"/>
                      <a:pt x="195" y="326"/>
                    </a:cubicBezTo>
                    <a:cubicBezTo>
                      <a:pt x="195" y="324"/>
                      <a:pt x="196" y="325"/>
                      <a:pt x="197" y="325"/>
                    </a:cubicBezTo>
                    <a:cubicBezTo>
                      <a:pt x="197" y="324"/>
                      <a:pt x="197" y="323"/>
                      <a:pt x="198" y="323"/>
                    </a:cubicBezTo>
                    <a:cubicBezTo>
                      <a:pt x="199" y="323"/>
                      <a:pt x="200" y="323"/>
                      <a:pt x="201" y="322"/>
                    </a:cubicBezTo>
                    <a:cubicBezTo>
                      <a:pt x="201" y="321"/>
                      <a:pt x="200" y="321"/>
                      <a:pt x="200" y="320"/>
                    </a:cubicBezTo>
                    <a:cubicBezTo>
                      <a:pt x="200" y="320"/>
                      <a:pt x="200" y="320"/>
                      <a:pt x="200" y="319"/>
                    </a:cubicBezTo>
                    <a:cubicBezTo>
                      <a:pt x="200" y="318"/>
                      <a:pt x="199" y="317"/>
                      <a:pt x="200" y="316"/>
                    </a:cubicBezTo>
                    <a:cubicBezTo>
                      <a:pt x="202" y="315"/>
                      <a:pt x="203" y="316"/>
                      <a:pt x="205" y="316"/>
                    </a:cubicBezTo>
                    <a:cubicBezTo>
                      <a:pt x="205" y="316"/>
                      <a:pt x="206" y="315"/>
                      <a:pt x="206" y="315"/>
                    </a:cubicBezTo>
                    <a:cubicBezTo>
                      <a:pt x="206" y="315"/>
                      <a:pt x="207" y="314"/>
                      <a:pt x="207" y="314"/>
                    </a:cubicBezTo>
                    <a:cubicBezTo>
                      <a:pt x="208" y="314"/>
                      <a:pt x="208" y="315"/>
                      <a:pt x="209" y="315"/>
                    </a:cubicBezTo>
                    <a:cubicBezTo>
                      <a:pt x="210" y="315"/>
                      <a:pt x="212" y="315"/>
                      <a:pt x="212" y="316"/>
                    </a:cubicBezTo>
                    <a:cubicBezTo>
                      <a:pt x="212" y="317"/>
                      <a:pt x="210" y="317"/>
                      <a:pt x="210" y="317"/>
                    </a:cubicBezTo>
                    <a:cubicBezTo>
                      <a:pt x="209" y="318"/>
                      <a:pt x="208" y="318"/>
                      <a:pt x="207" y="318"/>
                    </a:cubicBezTo>
                    <a:cubicBezTo>
                      <a:pt x="206" y="319"/>
                      <a:pt x="205" y="319"/>
                      <a:pt x="205" y="319"/>
                    </a:cubicBezTo>
                    <a:cubicBezTo>
                      <a:pt x="203" y="321"/>
                      <a:pt x="204" y="322"/>
                      <a:pt x="204" y="323"/>
                    </a:cubicBezTo>
                    <a:cubicBezTo>
                      <a:pt x="203" y="323"/>
                      <a:pt x="202" y="325"/>
                      <a:pt x="202" y="325"/>
                    </a:cubicBezTo>
                    <a:cubicBezTo>
                      <a:pt x="202" y="325"/>
                      <a:pt x="202" y="325"/>
                      <a:pt x="202" y="325"/>
                    </a:cubicBezTo>
                    <a:cubicBezTo>
                      <a:pt x="199" y="328"/>
                      <a:pt x="203" y="329"/>
                      <a:pt x="202" y="332"/>
                    </a:cubicBezTo>
                    <a:cubicBezTo>
                      <a:pt x="202" y="332"/>
                      <a:pt x="200" y="332"/>
                      <a:pt x="200" y="333"/>
                    </a:cubicBezTo>
                    <a:cubicBezTo>
                      <a:pt x="200" y="334"/>
                      <a:pt x="201" y="334"/>
                      <a:pt x="201" y="335"/>
                    </a:cubicBezTo>
                    <a:cubicBezTo>
                      <a:pt x="201" y="336"/>
                      <a:pt x="198" y="336"/>
                      <a:pt x="198" y="337"/>
                    </a:cubicBezTo>
                    <a:cubicBezTo>
                      <a:pt x="198" y="337"/>
                      <a:pt x="199" y="338"/>
                      <a:pt x="200" y="339"/>
                    </a:cubicBezTo>
                    <a:cubicBezTo>
                      <a:pt x="200" y="339"/>
                      <a:pt x="200" y="339"/>
                      <a:pt x="200" y="340"/>
                    </a:cubicBezTo>
                    <a:cubicBezTo>
                      <a:pt x="200" y="340"/>
                      <a:pt x="199" y="340"/>
                      <a:pt x="199" y="340"/>
                    </a:cubicBezTo>
                    <a:cubicBezTo>
                      <a:pt x="197" y="339"/>
                      <a:pt x="193" y="338"/>
                      <a:pt x="192" y="340"/>
                    </a:cubicBezTo>
                    <a:cubicBezTo>
                      <a:pt x="192" y="340"/>
                      <a:pt x="192" y="341"/>
                      <a:pt x="192" y="342"/>
                    </a:cubicBezTo>
                    <a:cubicBezTo>
                      <a:pt x="191" y="342"/>
                      <a:pt x="191" y="343"/>
                      <a:pt x="191" y="343"/>
                    </a:cubicBezTo>
                    <a:cubicBezTo>
                      <a:pt x="190" y="343"/>
                      <a:pt x="190" y="344"/>
                      <a:pt x="189" y="344"/>
                    </a:cubicBezTo>
                    <a:cubicBezTo>
                      <a:pt x="189" y="345"/>
                      <a:pt x="188" y="346"/>
                      <a:pt x="188" y="348"/>
                    </a:cubicBezTo>
                    <a:cubicBezTo>
                      <a:pt x="188" y="348"/>
                      <a:pt x="188" y="348"/>
                      <a:pt x="188" y="349"/>
                    </a:cubicBezTo>
                    <a:cubicBezTo>
                      <a:pt x="188" y="349"/>
                      <a:pt x="187" y="350"/>
                      <a:pt x="186" y="350"/>
                    </a:cubicBezTo>
                    <a:cubicBezTo>
                      <a:pt x="186" y="350"/>
                      <a:pt x="186" y="349"/>
                      <a:pt x="186" y="349"/>
                    </a:cubicBezTo>
                    <a:cubicBezTo>
                      <a:pt x="185" y="348"/>
                      <a:pt x="185" y="347"/>
                      <a:pt x="185" y="346"/>
                    </a:cubicBezTo>
                    <a:cubicBezTo>
                      <a:pt x="186" y="344"/>
                      <a:pt x="188" y="343"/>
                      <a:pt x="188" y="341"/>
                    </a:cubicBezTo>
                    <a:cubicBezTo>
                      <a:pt x="188" y="341"/>
                      <a:pt x="188" y="341"/>
                      <a:pt x="188" y="340"/>
                    </a:cubicBezTo>
                    <a:cubicBezTo>
                      <a:pt x="187" y="339"/>
                      <a:pt x="185" y="340"/>
                      <a:pt x="184" y="339"/>
                    </a:cubicBezTo>
                    <a:cubicBezTo>
                      <a:pt x="184" y="339"/>
                      <a:pt x="184" y="339"/>
                      <a:pt x="183" y="339"/>
                    </a:cubicBezTo>
                    <a:cubicBezTo>
                      <a:pt x="183" y="339"/>
                      <a:pt x="183" y="339"/>
                      <a:pt x="183" y="339"/>
                    </a:cubicBezTo>
                    <a:cubicBezTo>
                      <a:pt x="182" y="339"/>
                      <a:pt x="181" y="339"/>
                      <a:pt x="182" y="33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4" name="Freeform 970"/>
              <p:cNvSpPr>
                <a:spLocks/>
              </p:cNvSpPr>
              <p:nvPr/>
            </p:nvSpPr>
            <p:spPr bwMode="auto">
              <a:xfrm>
                <a:off x="1435" y="2526"/>
                <a:ext cx="1" cy="0"/>
              </a:xfrm>
              <a:custGeom>
                <a:avLst/>
                <a:gdLst>
                  <a:gd name="T0" fmla="*/ 1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5" name="Freeform 971"/>
              <p:cNvSpPr>
                <a:spLocks/>
              </p:cNvSpPr>
              <p:nvPr/>
            </p:nvSpPr>
            <p:spPr bwMode="auto">
              <a:xfrm>
                <a:off x="1472" y="3662"/>
                <a:ext cx="2" cy="4"/>
              </a:xfrm>
              <a:custGeom>
                <a:avLst/>
                <a:gdLst>
                  <a:gd name="T0" fmla="*/ 0 w 3"/>
                  <a:gd name="T1" fmla="*/ 5 h 5"/>
                  <a:gd name="T2" fmla="*/ 3 w 3"/>
                  <a:gd name="T3" fmla="*/ 0 h 5"/>
                  <a:gd name="T4" fmla="*/ 0 w 3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cubicBezTo>
                      <a:pt x="1" y="3"/>
                      <a:pt x="2" y="1"/>
                      <a:pt x="3" y="0"/>
                    </a:cubicBezTo>
                    <a:cubicBezTo>
                      <a:pt x="2" y="1"/>
                      <a:pt x="1" y="3"/>
                      <a:pt x="0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6" name="Freeform 972"/>
              <p:cNvSpPr>
                <a:spLocks/>
              </p:cNvSpPr>
              <p:nvPr/>
            </p:nvSpPr>
            <p:spPr bwMode="auto">
              <a:xfrm>
                <a:off x="1476" y="3701"/>
                <a:ext cx="1" cy="1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  <a:gd name="T6" fmla="*/ 0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7" name="Freeform 973"/>
              <p:cNvSpPr>
                <a:spLocks/>
              </p:cNvSpPr>
              <p:nvPr/>
            </p:nvSpPr>
            <p:spPr bwMode="auto">
              <a:xfrm>
                <a:off x="1440" y="3405"/>
                <a:ext cx="197" cy="415"/>
              </a:xfrm>
              <a:custGeom>
                <a:avLst/>
                <a:gdLst>
                  <a:gd name="T0" fmla="*/ 204 w 301"/>
                  <a:gd name="T1" fmla="*/ 512 h 632"/>
                  <a:gd name="T2" fmla="*/ 218 w 301"/>
                  <a:gd name="T3" fmla="*/ 488 h 632"/>
                  <a:gd name="T4" fmla="*/ 195 w 301"/>
                  <a:gd name="T5" fmla="*/ 458 h 632"/>
                  <a:gd name="T6" fmla="*/ 213 w 301"/>
                  <a:gd name="T7" fmla="*/ 375 h 632"/>
                  <a:gd name="T8" fmla="*/ 179 w 301"/>
                  <a:gd name="T9" fmla="*/ 306 h 632"/>
                  <a:gd name="T10" fmla="*/ 189 w 301"/>
                  <a:gd name="T11" fmla="*/ 306 h 632"/>
                  <a:gd name="T12" fmla="*/ 200 w 301"/>
                  <a:gd name="T13" fmla="*/ 306 h 632"/>
                  <a:gd name="T14" fmla="*/ 211 w 301"/>
                  <a:gd name="T15" fmla="*/ 306 h 632"/>
                  <a:gd name="T16" fmla="*/ 222 w 301"/>
                  <a:gd name="T17" fmla="*/ 306 h 632"/>
                  <a:gd name="T18" fmla="*/ 240 w 301"/>
                  <a:gd name="T19" fmla="*/ 266 h 632"/>
                  <a:gd name="T20" fmla="*/ 247 w 301"/>
                  <a:gd name="T21" fmla="*/ 221 h 632"/>
                  <a:gd name="T22" fmla="*/ 234 w 301"/>
                  <a:gd name="T23" fmla="*/ 141 h 632"/>
                  <a:gd name="T24" fmla="*/ 261 w 301"/>
                  <a:gd name="T25" fmla="*/ 115 h 632"/>
                  <a:gd name="T26" fmla="*/ 270 w 301"/>
                  <a:gd name="T27" fmla="*/ 59 h 632"/>
                  <a:gd name="T28" fmla="*/ 252 w 301"/>
                  <a:gd name="T29" fmla="*/ 28 h 632"/>
                  <a:gd name="T30" fmla="*/ 243 w 301"/>
                  <a:gd name="T31" fmla="*/ 28 h 632"/>
                  <a:gd name="T32" fmla="*/ 210 w 301"/>
                  <a:gd name="T33" fmla="*/ 24 h 632"/>
                  <a:gd name="T34" fmla="*/ 164 w 301"/>
                  <a:gd name="T35" fmla="*/ 33 h 632"/>
                  <a:gd name="T36" fmla="*/ 148 w 301"/>
                  <a:gd name="T37" fmla="*/ 37 h 632"/>
                  <a:gd name="T38" fmla="*/ 125 w 301"/>
                  <a:gd name="T39" fmla="*/ 43 h 632"/>
                  <a:gd name="T40" fmla="*/ 121 w 301"/>
                  <a:gd name="T41" fmla="*/ 10 h 632"/>
                  <a:gd name="T42" fmla="*/ 72 w 301"/>
                  <a:gd name="T43" fmla="*/ 27 h 632"/>
                  <a:gd name="T44" fmla="*/ 76 w 301"/>
                  <a:gd name="T45" fmla="*/ 57 h 632"/>
                  <a:gd name="T46" fmla="*/ 64 w 301"/>
                  <a:gd name="T47" fmla="*/ 62 h 632"/>
                  <a:gd name="T48" fmla="*/ 73 w 301"/>
                  <a:gd name="T49" fmla="*/ 183 h 632"/>
                  <a:gd name="T50" fmla="*/ 78 w 301"/>
                  <a:gd name="T51" fmla="*/ 168 h 632"/>
                  <a:gd name="T52" fmla="*/ 79 w 301"/>
                  <a:gd name="T53" fmla="*/ 177 h 632"/>
                  <a:gd name="T54" fmla="*/ 73 w 301"/>
                  <a:gd name="T55" fmla="*/ 189 h 632"/>
                  <a:gd name="T56" fmla="*/ 58 w 301"/>
                  <a:gd name="T57" fmla="*/ 246 h 632"/>
                  <a:gd name="T58" fmla="*/ 62 w 301"/>
                  <a:gd name="T59" fmla="*/ 252 h 632"/>
                  <a:gd name="T60" fmla="*/ 28 w 301"/>
                  <a:gd name="T61" fmla="*/ 334 h 632"/>
                  <a:gd name="T62" fmla="*/ 31 w 301"/>
                  <a:gd name="T63" fmla="*/ 340 h 632"/>
                  <a:gd name="T64" fmla="*/ 13 w 301"/>
                  <a:gd name="T65" fmla="*/ 344 h 632"/>
                  <a:gd name="T66" fmla="*/ 6 w 301"/>
                  <a:gd name="T67" fmla="*/ 425 h 632"/>
                  <a:gd name="T68" fmla="*/ 49 w 301"/>
                  <a:gd name="T69" fmla="*/ 397 h 632"/>
                  <a:gd name="T70" fmla="*/ 70 w 301"/>
                  <a:gd name="T71" fmla="*/ 378 h 632"/>
                  <a:gd name="T72" fmla="*/ 52 w 301"/>
                  <a:gd name="T73" fmla="*/ 392 h 632"/>
                  <a:gd name="T74" fmla="*/ 49 w 301"/>
                  <a:gd name="T75" fmla="*/ 398 h 632"/>
                  <a:gd name="T76" fmla="*/ 47 w 301"/>
                  <a:gd name="T77" fmla="*/ 420 h 632"/>
                  <a:gd name="T78" fmla="*/ 29 w 301"/>
                  <a:gd name="T79" fmla="*/ 459 h 632"/>
                  <a:gd name="T80" fmla="*/ 55 w 301"/>
                  <a:gd name="T81" fmla="*/ 452 h 632"/>
                  <a:gd name="T82" fmla="*/ 56 w 301"/>
                  <a:gd name="T83" fmla="*/ 451 h 632"/>
                  <a:gd name="T84" fmla="*/ 70 w 301"/>
                  <a:gd name="T85" fmla="*/ 442 h 632"/>
                  <a:gd name="T86" fmla="*/ 84 w 301"/>
                  <a:gd name="T87" fmla="*/ 460 h 632"/>
                  <a:gd name="T88" fmla="*/ 55 w 301"/>
                  <a:gd name="T89" fmla="*/ 452 h 632"/>
                  <a:gd name="T90" fmla="*/ 68 w 301"/>
                  <a:gd name="T91" fmla="*/ 480 h 632"/>
                  <a:gd name="T92" fmla="*/ 62 w 301"/>
                  <a:gd name="T93" fmla="*/ 518 h 632"/>
                  <a:gd name="T94" fmla="*/ 73 w 301"/>
                  <a:gd name="T95" fmla="*/ 542 h 632"/>
                  <a:gd name="T96" fmla="*/ 61 w 301"/>
                  <a:gd name="T97" fmla="*/ 599 h 632"/>
                  <a:gd name="T98" fmla="*/ 50 w 301"/>
                  <a:gd name="T99" fmla="*/ 627 h 632"/>
                  <a:gd name="T100" fmla="*/ 154 w 301"/>
                  <a:gd name="T101" fmla="*/ 631 h 632"/>
                  <a:gd name="T102" fmla="*/ 191 w 301"/>
                  <a:gd name="T103" fmla="*/ 608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01" h="632">
                    <a:moveTo>
                      <a:pt x="198" y="532"/>
                    </a:moveTo>
                    <a:cubicBezTo>
                      <a:pt x="202" y="527"/>
                      <a:pt x="201" y="516"/>
                      <a:pt x="204" y="512"/>
                    </a:cubicBezTo>
                    <a:cubicBezTo>
                      <a:pt x="206" y="509"/>
                      <a:pt x="245" y="498"/>
                      <a:pt x="232" y="484"/>
                    </a:cubicBezTo>
                    <a:cubicBezTo>
                      <a:pt x="229" y="480"/>
                      <a:pt x="222" y="490"/>
                      <a:pt x="218" y="488"/>
                    </a:cubicBezTo>
                    <a:cubicBezTo>
                      <a:pt x="214" y="486"/>
                      <a:pt x="207" y="469"/>
                      <a:pt x="205" y="465"/>
                    </a:cubicBezTo>
                    <a:cubicBezTo>
                      <a:pt x="203" y="461"/>
                      <a:pt x="196" y="462"/>
                      <a:pt x="195" y="458"/>
                    </a:cubicBezTo>
                    <a:cubicBezTo>
                      <a:pt x="188" y="426"/>
                      <a:pt x="233" y="409"/>
                      <a:pt x="229" y="381"/>
                    </a:cubicBezTo>
                    <a:cubicBezTo>
                      <a:pt x="228" y="372"/>
                      <a:pt x="217" y="379"/>
                      <a:pt x="213" y="375"/>
                    </a:cubicBezTo>
                    <a:cubicBezTo>
                      <a:pt x="198" y="359"/>
                      <a:pt x="204" y="344"/>
                      <a:pt x="200" y="332"/>
                    </a:cubicBezTo>
                    <a:cubicBezTo>
                      <a:pt x="196" y="324"/>
                      <a:pt x="180" y="315"/>
                      <a:pt x="179" y="306"/>
                    </a:cubicBezTo>
                    <a:cubicBezTo>
                      <a:pt x="179" y="305"/>
                      <a:pt x="182" y="306"/>
                      <a:pt x="183" y="306"/>
                    </a:cubicBezTo>
                    <a:cubicBezTo>
                      <a:pt x="185" y="306"/>
                      <a:pt x="187" y="306"/>
                      <a:pt x="189" y="306"/>
                    </a:cubicBezTo>
                    <a:cubicBezTo>
                      <a:pt x="191" y="306"/>
                      <a:pt x="193" y="306"/>
                      <a:pt x="194" y="306"/>
                    </a:cubicBezTo>
                    <a:cubicBezTo>
                      <a:pt x="196" y="306"/>
                      <a:pt x="198" y="306"/>
                      <a:pt x="200" y="306"/>
                    </a:cubicBezTo>
                    <a:cubicBezTo>
                      <a:pt x="202" y="306"/>
                      <a:pt x="204" y="306"/>
                      <a:pt x="206" y="306"/>
                    </a:cubicBezTo>
                    <a:cubicBezTo>
                      <a:pt x="207" y="306"/>
                      <a:pt x="209" y="306"/>
                      <a:pt x="211" y="306"/>
                    </a:cubicBezTo>
                    <a:cubicBezTo>
                      <a:pt x="213" y="306"/>
                      <a:pt x="215" y="306"/>
                      <a:pt x="217" y="306"/>
                    </a:cubicBezTo>
                    <a:cubicBezTo>
                      <a:pt x="219" y="306"/>
                      <a:pt x="220" y="306"/>
                      <a:pt x="222" y="306"/>
                    </a:cubicBezTo>
                    <a:cubicBezTo>
                      <a:pt x="224" y="306"/>
                      <a:pt x="226" y="307"/>
                      <a:pt x="228" y="306"/>
                    </a:cubicBezTo>
                    <a:cubicBezTo>
                      <a:pt x="235" y="301"/>
                      <a:pt x="241" y="273"/>
                      <a:pt x="240" y="266"/>
                    </a:cubicBezTo>
                    <a:cubicBezTo>
                      <a:pt x="239" y="258"/>
                      <a:pt x="228" y="255"/>
                      <a:pt x="226" y="249"/>
                    </a:cubicBezTo>
                    <a:cubicBezTo>
                      <a:pt x="220" y="232"/>
                      <a:pt x="249" y="234"/>
                      <a:pt x="247" y="221"/>
                    </a:cubicBezTo>
                    <a:cubicBezTo>
                      <a:pt x="244" y="196"/>
                      <a:pt x="251" y="170"/>
                      <a:pt x="237" y="146"/>
                    </a:cubicBezTo>
                    <a:cubicBezTo>
                      <a:pt x="236" y="145"/>
                      <a:pt x="233" y="143"/>
                      <a:pt x="234" y="141"/>
                    </a:cubicBezTo>
                    <a:cubicBezTo>
                      <a:pt x="236" y="138"/>
                      <a:pt x="243" y="142"/>
                      <a:pt x="246" y="139"/>
                    </a:cubicBezTo>
                    <a:cubicBezTo>
                      <a:pt x="253" y="134"/>
                      <a:pt x="253" y="120"/>
                      <a:pt x="261" y="115"/>
                    </a:cubicBezTo>
                    <a:cubicBezTo>
                      <a:pt x="273" y="105"/>
                      <a:pt x="297" y="96"/>
                      <a:pt x="299" y="76"/>
                    </a:cubicBezTo>
                    <a:cubicBezTo>
                      <a:pt x="301" y="57"/>
                      <a:pt x="271" y="64"/>
                      <a:pt x="270" y="59"/>
                    </a:cubicBezTo>
                    <a:cubicBezTo>
                      <a:pt x="267" y="49"/>
                      <a:pt x="271" y="30"/>
                      <a:pt x="265" y="26"/>
                    </a:cubicBezTo>
                    <a:cubicBezTo>
                      <a:pt x="261" y="24"/>
                      <a:pt x="256" y="30"/>
                      <a:pt x="252" y="28"/>
                    </a:cubicBezTo>
                    <a:cubicBezTo>
                      <a:pt x="249" y="27"/>
                      <a:pt x="247" y="22"/>
                      <a:pt x="244" y="22"/>
                    </a:cubicBezTo>
                    <a:cubicBezTo>
                      <a:pt x="242" y="22"/>
                      <a:pt x="245" y="28"/>
                      <a:pt x="243" y="28"/>
                    </a:cubicBezTo>
                    <a:cubicBezTo>
                      <a:pt x="240" y="30"/>
                      <a:pt x="236" y="28"/>
                      <a:pt x="232" y="27"/>
                    </a:cubicBezTo>
                    <a:cubicBezTo>
                      <a:pt x="231" y="27"/>
                      <a:pt x="212" y="23"/>
                      <a:pt x="210" y="24"/>
                    </a:cubicBezTo>
                    <a:cubicBezTo>
                      <a:pt x="210" y="25"/>
                      <a:pt x="203" y="47"/>
                      <a:pt x="189" y="43"/>
                    </a:cubicBezTo>
                    <a:cubicBezTo>
                      <a:pt x="182" y="41"/>
                      <a:pt x="164" y="33"/>
                      <a:pt x="164" y="33"/>
                    </a:cubicBezTo>
                    <a:cubicBezTo>
                      <a:pt x="161" y="33"/>
                      <a:pt x="159" y="34"/>
                      <a:pt x="156" y="35"/>
                    </a:cubicBezTo>
                    <a:cubicBezTo>
                      <a:pt x="153" y="35"/>
                      <a:pt x="150" y="37"/>
                      <a:pt x="148" y="37"/>
                    </a:cubicBezTo>
                    <a:cubicBezTo>
                      <a:pt x="145" y="36"/>
                      <a:pt x="149" y="28"/>
                      <a:pt x="146" y="28"/>
                    </a:cubicBezTo>
                    <a:cubicBezTo>
                      <a:pt x="137" y="31"/>
                      <a:pt x="138" y="45"/>
                      <a:pt x="125" y="43"/>
                    </a:cubicBezTo>
                    <a:cubicBezTo>
                      <a:pt x="104" y="39"/>
                      <a:pt x="136" y="15"/>
                      <a:pt x="128" y="10"/>
                    </a:cubicBezTo>
                    <a:cubicBezTo>
                      <a:pt x="126" y="9"/>
                      <a:pt x="123" y="12"/>
                      <a:pt x="121" y="10"/>
                    </a:cubicBezTo>
                    <a:cubicBezTo>
                      <a:pt x="119" y="9"/>
                      <a:pt x="123" y="4"/>
                      <a:pt x="121" y="4"/>
                    </a:cubicBezTo>
                    <a:cubicBezTo>
                      <a:pt x="108" y="0"/>
                      <a:pt x="80" y="18"/>
                      <a:pt x="72" y="27"/>
                    </a:cubicBezTo>
                    <a:cubicBezTo>
                      <a:pt x="72" y="27"/>
                      <a:pt x="58" y="48"/>
                      <a:pt x="58" y="53"/>
                    </a:cubicBezTo>
                    <a:cubicBezTo>
                      <a:pt x="61" y="66"/>
                      <a:pt x="76" y="55"/>
                      <a:pt x="76" y="57"/>
                    </a:cubicBezTo>
                    <a:cubicBezTo>
                      <a:pt x="77" y="57"/>
                      <a:pt x="75" y="58"/>
                      <a:pt x="75" y="59"/>
                    </a:cubicBezTo>
                    <a:cubicBezTo>
                      <a:pt x="73" y="60"/>
                      <a:pt x="64" y="61"/>
                      <a:pt x="64" y="62"/>
                    </a:cubicBezTo>
                    <a:cubicBezTo>
                      <a:pt x="61" y="71"/>
                      <a:pt x="74" y="120"/>
                      <a:pt x="81" y="127"/>
                    </a:cubicBezTo>
                    <a:cubicBezTo>
                      <a:pt x="88" y="133"/>
                      <a:pt x="74" y="173"/>
                      <a:pt x="73" y="183"/>
                    </a:cubicBezTo>
                    <a:cubicBezTo>
                      <a:pt x="73" y="184"/>
                      <a:pt x="71" y="188"/>
                      <a:pt x="72" y="188"/>
                    </a:cubicBezTo>
                    <a:cubicBezTo>
                      <a:pt x="73" y="189"/>
                      <a:pt x="78" y="168"/>
                      <a:pt x="78" y="168"/>
                    </a:cubicBezTo>
                    <a:cubicBezTo>
                      <a:pt x="80" y="168"/>
                      <a:pt x="80" y="164"/>
                      <a:pt x="80" y="165"/>
                    </a:cubicBezTo>
                    <a:cubicBezTo>
                      <a:pt x="82" y="169"/>
                      <a:pt x="76" y="171"/>
                      <a:pt x="79" y="177"/>
                    </a:cubicBezTo>
                    <a:cubicBezTo>
                      <a:pt x="80" y="179"/>
                      <a:pt x="88" y="176"/>
                      <a:pt x="88" y="176"/>
                    </a:cubicBezTo>
                    <a:cubicBezTo>
                      <a:pt x="87" y="181"/>
                      <a:pt x="73" y="190"/>
                      <a:pt x="73" y="189"/>
                    </a:cubicBezTo>
                    <a:cubicBezTo>
                      <a:pt x="72" y="189"/>
                      <a:pt x="71" y="191"/>
                      <a:pt x="71" y="192"/>
                    </a:cubicBezTo>
                    <a:cubicBezTo>
                      <a:pt x="67" y="203"/>
                      <a:pt x="56" y="234"/>
                      <a:pt x="58" y="246"/>
                    </a:cubicBezTo>
                    <a:cubicBezTo>
                      <a:pt x="58" y="251"/>
                      <a:pt x="70" y="248"/>
                      <a:pt x="69" y="253"/>
                    </a:cubicBezTo>
                    <a:cubicBezTo>
                      <a:pt x="68" y="256"/>
                      <a:pt x="62" y="251"/>
                      <a:pt x="62" y="252"/>
                    </a:cubicBezTo>
                    <a:cubicBezTo>
                      <a:pt x="60" y="255"/>
                      <a:pt x="59" y="262"/>
                      <a:pt x="57" y="266"/>
                    </a:cubicBezTo>
                    <a:cubicBezTo>
                      <a:pt x="47" y="289"/>
                      <a:pt x="37" y="313"/>
                      <a:pt x="28" y="334"/>
                    </a:cubicBezTo>
                    <a:cubicBezTo>
                      <a:pt x="28" y="335"/>
                      <a:pt x="29" y="336"/>
                      <a:pt x="29" y="336"/>
                    </a:cubicBezTo>
                    <a:cubicBezTo>
                      <a:pt x="30" y="337"/>
                      <a:pt x="32" y="339"/>
                      <a:pt x="31" y="340"/>
                    </a:cubicBezTo>
                    <a:cubicBezTo>
                      <a:pt x="29" y="343"/>
                      <a:pt x="29" y="337"/>
                      <a:pt x="27" y="337"/>
                    </a:cubicBezTo>
                    <a:cubicBezTo>
                      <a:pt x="22" y="335"/>
                      <a:pt x="16" y="339"/>
                      <a:pt x="13" y="344"/>
                    </a:cubicBezTo>
                    <a:cubicBezTo>
                      <a:pt x="12" y="346"/>
                      <a:pt x="17" y="348"/>
                      <a:pt x="18" y="351"/>
                    </a:cubicBezTo>
                    <a:cubicBezTo>
                      <a:pt x="20" y="365"/>
                      <a:pt x="0" y="416"/>
                      <a:pt x="6" y="425"/>
                    </a:cubicBezTo>
                    <a:cubicBezTo>
                      <a:pt x="8" y="427"/>
                      <a:pt x="12" y="424"/>
                      <a:pt x="14" y="425"/>
                    </a:cubicBezTo>
                    <a:cubicBezTo>
                      <a:pt x="30" y="437"/>
                      <a:pt x="40" y="415"/>
                      <a:pt x="49" y="397"/>
                    </a:cubicBezTo>
                    <a:cubicBezTo>
                      <a:pt x="50" y="395"/>
                      <a:pt x="51" y="393"/>
                      <a:pt x="52" y="392"/>
                    </a:cubicBezTo>
                    <a:cubicBezTo>
                      <a:pt x="58" y="382"/>
                      <a:pt x="63" y="375"/>
                      <a:pt x="70" y="378"/>
                    </a:cubicBezTo>
                    <a:cubicBezTo>
                      <a:pt x="71" y="378"/>
                      <a:pt x="65" y="384"/>
                      <a:pt x="64" y="385"/>
                    </a:cubicBezTo>
                    <a:cubicBezTo>
                      <a:pt x="62" y="388"/>
                      <a:pt x="56" y="388"/>
                      <a:pt x="52" y="392"/>
                    </a:cubicBezTo>
                    <a:cubicBezTo>
                      <a:pt x="51" y="393"/>
                      <a:pt x="50" y="395"/>
                      <a:pt x="49" y="397"/>
                    </a:cubicBezTo>
                    <a:cubicBezTo>
                      <a:pt x="49" y="398"/>
                      <a:pt x="49" y="398"/>
                      <a:pt x="49" y="398"/>
                    </a:cubicBezTo>
                    <a:cubicBezTo>
                      <a:pt x="47" y="408"/>
                      <a:pt x="57" y="408"/>
                      <a:pt x="54" y="417"/>
                    </a:cubicBezTo>
                    <a:cubicBezTo>
                      <a:pt x="54" y="418"/>
                      <a:pt x="48" y="418"/>
                      <a:pt x="47" y="420"/>
                    </a:cubicBezTo>
                    <a:cubicBezTo>
                      <a:pt x="33" y="443"/>
                      <a:pt x="25" y="409"/>
                      <a:pt x="32" y="444"/>
                    </a:cubicBezTo>
                    <a:cubicBezTo>
                      <a:pt x="33" y="449"/>
                      <a:pt x="28" y="456"/>
                      <a:pt x="29" y="459"/>
                    </a:cubicBezTo>
                    <a:cubicBezTo>
                      <a:pt x="29" y="459"/>
                      <a:pt x="43" y="456"/>
                      <a:pt x="44" y="455"/>
                    </a:cubicBezTo>
                    <a:cubicBezTo>
                      <a:pt x="48" y="453"/>
                      <a:pt x="52" y="452"/>
                      <a:pt x="55" y="452"/>
                    </a:cubicBezTo>
                    <a:cubicBezTo>
                      <a:pt x="55" y="451"/>
                      <a:pt x="55" y="451"/>
                      <a:pt x="55" y="451"/>
                    </a:cubicBezTo>
                    <a:cubicBezTo>
                      <a:pt x="55" y="451"/>
                      <a:pt x="56" y="451"/>
                      <a:pt x="56" y="451"/>
                    </a:cubicBezTo>
                    <a:cubicBezTo>
                      <a:pt x="62" y="451"/>
                      <a:pt x="67" y="453"/>
                      <a:pt x="68" y="452"/>
                    </a:cubicBezTo>
                    <a:cubicBezTo>
                      <a:pt x="72" y="450"/>
                      <a:pt x="64" y="445"/>
                      <a:pt x="70" y="442"/>
                    </a:cubicBezTo>
                    <a:cubicBezTo>
                      <a:pt x="76" y="439"/>
                      <a:pt x="74" y="459"/>
                      <a:pt x="81" y="460"/>
                    </a:cubicBezTo>
                    <a:cubicBezTo>
                      <a:pt x="81" y="460"/>
                      <a:pt x="86" y="460"/>
                      <a:pt x="84" y="460"/>
                    </a:cubicBezTo>
                    <a:cubicBezTo>
                      <a:pt x="77" y="463"/>
                      <a:pt x="61" y="453"/>
                      <a:pt x="56" y="451"/>
                    </a:cubicBezTo>
                    <a:cubicBezTo>
                      <a:pt x="56" y="451"/>
                      <a:pt x="55" y="451"/>
                      <a:pt x="55" y="452"/>
                    </a:cubicBezTo>
                    <a:cubicBezTo>
                      <a:pt x="54" y="453"/>
                      <a:pt x="57" y="454"/>
                      <a:pt x="58" y="455"/>
                    </a:cubicBezTo>
                    <a:cubicBezTo>
                      <a:pt x="66" y="461"/>
                      <a:pt x="67" y="470"/>
                      <a:pt x="68" y="480"/>
                    </a:cubicBezTo>
                    <a:cubicBezTo>
                      <a:pt x="69" y="493"/>
                      <a:pt x="61" y="503"/>
                      <a:pt x="59" y="515"/>
                    </a:cubicBezTo>
                    <a:cubicBezTo>
                      <a:pt x="59" y="516"/>
                      <a:pt x="61" y="517"/>
                      <a:pt x="62" y="518"/>
                    </a:cubicBezTo>
                    <a:cubicBezTo>
                      <a:pt x="66" y="524"/>
                      <a:pt x="62" y="540"/>
                      <a:pt x="67" y="544"/>
                    </a:cubicBezTo>
                    <a:cubicBezTo>
                      <a:pt x="68" y="545"/>
                      <a:pt x="72" y="541"/>
                      <a:pt x="73" y="542"/>
                    </a:cubicBezTo>
                    <a:cubicBezTo>
                      <a:pt x="73" y="546"/>
                      <a:pt x="67" y="545"/>
                      <a:pt x="66" y="550"/>
                    </a:cubicBezTo>
                    <a:cubicBezTo>
                      <a:pt x="64" y="567"/>
                      <a:pt x="65" y="583"/>
                      <a:pt x="61" y="599"/>
                    </a:cubicBezTo>
                    <a:cubicBezTo>
                      <a:pt x="59" y="607"/>
                      <a:pt x="54" y="613"/>
                      <a:pt x="52" y="620"/>
                    </a:cubicBezTo>
                    <a:cubicBezTo>
                      <a:pt x="52" y="621"/>
                      <a:pt x="49" y="627"/>
                      <a:pt x="50" y="627"/>
                    </a:cubicBezTo>
                    <a:cubicBezTo>
                      <a:pt x="61" y="630"/>
                      <a:pt x="77" y="611"/>
                      <a:pt x="91" y="616"/>
                    </a:cubicBezTo>
                    <a:cubicBezTo>
                      <a:pt x="100" y="619"/>
                      <a:pt x="153" y="632"/>
                      <a:pt x="154" y="631"/>
                    </a:cubicBezTo>
                    <a:cubicBezTo>
                      <a:pt x="163" y="627"/>
                      <a:pt x="171" y="616"/>
                      <a:pt x="180" y="610"/>
                    </a:cubicBezTo>
                    <a:cubicBezTo>
                      <a:pt x="185" y="607"/>
                      <a:pt x="188" y="608"/>
                      <a:pt x="191" y="608"/>
                    </a:cubicBezTo>
                    <a:cubicBezTo>
                      <a:pt x="187" y="574"/>
                      <a:pt x="179" y="560"/>
                      <a:pt x="198" y="53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8" name="Freeform 974"/>
              <p:cNvSpPr>
                <a:spLocks/>
              </p:cNvSpPr>
              <p:nvPr/>
            </p:nvSpPr>
            <p:spPr bwMode="auto">
              <a:xfrm>
                <a:off x="3398" y="2684"/>
                <a:ext cx="12" cy="30"/>
              </a:xfrm>
              <a:custGeom>
                <a:avLst/>
                <a:gdLst>
                  <a:gd name="T0" fmla="*/ 18 w 19"/>
                  <a:gd name="T1" fmla="*/ 32 h 45"/>
                  <a:gd name="T2" fmla="*/ 13 w 19"/>
                  <a:gd name="T3" fmla="*/ 45 h 45"/>
                  <a:gd name="T4" fmla="*/ 18 w 19"/>
                  <a:gd name="T5" fmla="*/ 32 h 45"/>
                  <a:gd name="T6" fmla="*/ 1 w 19"/>
                  <a:gd name="T7" fmla="*/ 2 h 45"/>
                  <a:gd name="T8" fmla="*/ 2 w 19"/>
                  <a:gd name="T9" fmla="*/ 0 h 45"/>
                  <a:gd name="T10" fmla="*/ 1 w 19"/>
                  <a:gd name="T11" fmla="*/ 2 h 45"/>
                  <a:gd name="T12" fmla="*/ 18 w 19"/>
                  <a:gd name="T13" fmla="*/ 3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45">
                    <a:moveTo>
                      <a:pt x="18" y="32"/>
                    </a:moveTo>
                    <a:cubicBezTo>
                      <a:pt x="17" y="38"/>
                      <a:pt x="15" y="42"/>
                      <a:pt x="13" y="45"/>
                    </a:cubicBezTo>
                    <a:cubicBezTo>
                      <a:pt x="15" y="42"/>
                      <a:pt x="17" y="38"/>
                      <a:pt x="18" y="32"/>
                    </a:cubicBezTo>
                    <a:cubicBezTo>
                      <a:pt x="19" y="20"/>
                      <a:pt x="0" y="11"/>
                      <a:pt x="1" y="2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2" y="0"/>
                      <a:pt x="1" y="1"/>
                      <a:pt x="1" y="2"/>
                    </a:cubicBezTo>
                    <a:cubicBezTo>
                      <a:pt x="0" y="11"/>
                      <a:pt x="19" y="20"/>
                      <a:pt x="18" y="3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49" name="Freeform 975"/>
              <p:cNvSpPr>
                <a:spLocks/>
              </p:cNvSpPr>
              <p:nvPr/>
            </p:nvSpPr>
            <p:spPr bwMode="auto">
              <a:xfrm>
                <a:off x="3379" y="2621"/>
                <a:ext cx="32" cy="59"/>
              </a:xfrm>
              <a:custGeom>
                <a:avLst/>
                <a:gdLst>
                  <a:gd name="T0" fmla="*/ 5 w 49"/>
                  <a:gd name="T1" fmla="*/ 13 h 91"/>
                  <a:gd name="T2" fmla="*/ 2 w 49"/>
                  <a:gd name="T3" fmla="*/ 30 h 91"/>
                  <a:gd name="T4" fmla="*/ 48 w 49"/>
                  <a:gd name="T5" fmla="*/ 90 h 91"/>
                  <a:gd name="T6" fmla="*/ 48 w 49"/>
                  <a:gd name="T7" fmla="*/ 91 h 91"/>
                  <a:gd name="T8" fmla="*/ 48 w 49"/>
                  <a:gd name="T9" fmla="*/ 90 h 91"/>
                  <a:gd name="T10" fmla="*/ 2 w 49"/>
                  <a:gd name="T11" fmla="*/ 30 h 91"/>
                  <a:gd name="T12" fmla="*/ 5 w 49"/>
                  <a:gd name="T13" fmla="*/ 13 h 91"/>
                  <a:gd name="T14" fmla="*/ 0 w 49"/>
                  <a:gd name="T15" fmla="*/ 0 h 91"/>
                  <a:gd name="T16" fmla="*/ 0 w 49"/>
                  <a:gd name="T17" fmla="*/ 0 h 91"/>
                  <a:gd name="T18" fmla="*/ 5 w 49"/>
                  <a:gd name="T19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91">
                    <a:moveTo>
                      <a:pt x="5" y="13"/>
                    </a:moveTo>
                    <a:cubicBezTo>
                      <a:pt x="6" y="19"/>
                      <a:pt x="1" y="25"/>
                      <a:pt x="2" y="30"/>
                    </a:cubicBezTo>
                    <a:cubicBezTo>
                      <a:pt x="7" y="53"/>
                      <a:pt x="35" y="73"/>
                      <a:pt x="48" y="90"/>
                    </a:cubicBezTo>
                    <a:cubicBezTo>
                      <a:pt x="49" y="91"/>
                      <a:pt x="49" y="91"/>
                      <a:pt x="48" y="91"/>
                    </a:cubicBezTo>
                    <a:cubicBezTo>
                      <a:pt x="49" y="91"/>
                      <a:pt x="49" y="90"/>
                      <a:pt x="48" y="90"/>
                    </a:cubicBezTo>
                    <a:cubicBezTo>
                      <a:pt x="35" y="73"/>
                      <a:pt x="7" y="52"/>
                      <a:pt x="2" y="30"/>
                    </a:cubicBezTo>
                    <a:cubicBezTo>
                      <a:pt x="1" y="25"/>
                      <a:pt x="6" y="19"/>
                      <a:pt x="5" y="13"/>
                    </a:cubicBezTo>
                    <a:cubicBezTo>
                      <a:pt x="4" y="7"/>
                      <a:pt x="2" y="4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4"/>
                      <a:pt x="4" y="7"/>
                      <a:pt x="5" y="1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0" name="Freeform 976"/>
              <p:cNvSpPr>
                <a:spLocks/>
              </p:cNvSpPr>
              <p:nvPr/>
            </p:nvSpPr>
            <p:spPr bwMode="auto">
              <a:xfrm>
                <a:off x="3313" y="2749"/>
                <a:ext cx="43" cy="90"/>
              </a:xfrm>
              <a:custGeom>
                <a:avLst/>
                <a:gdLst>
                  <a:gd name="T0" fmla="*/ 25 w 65"/>
                  <a:gd name="T1" fmla="*/ 100 h 137"/>
                  <a:gd name="T2" fmla="*/ 19 w 65"/>
                  <a:gd name="T3" fmla="*/ 115 h 137"/>
                  <a:gd name="T4" fmla="*/ 35 w 65"/>
                  <a:gd name="T5" fmla="*/ 137 h 137"/>
                  <a:gd name="T6" fmla="*/ 35 w 65"/>
                  <a:gd name="T7" fmla="*/ 137 h 137"/>
                  <a:gd name="T8" fmla="*/ 19 w 65"/>
                  <a:gd name="T9" fmla="*/ 115 h 137"/>
                  <a:gd name="T10" fmla="*/ 25 w 65"/>
                  <a:gd name="T11" fmla="*/ 100 h 137"/>
                  <a:gd name="T12" fmla="*/ 43 w 65"/>
                  <a:gd name="T13" fmla="*/ 28 h 137"/>
                  <a:gd name="T14" fmla="*/ 65 w 65"/>
                  <a:gd name="T15" fmla="*/ 0 h 137"/>
                  <a:gd name="T16" fmla="*/ 43 w 65"/>
                  <a:gd name="T17" fmla="*/ 28 h 137"/>
                  <a:gd name="T18" fmla="*/ 25 w 65"/>
                  <a:gd name="T19" fmla="*/ 10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137">
                    <a:moveTo>
                      <a:pt x="25" y="100"/>
                    </a:moveTo>
                    <a:cubicBezTo>
                      <a:pt x="25" y="106"/>
                      <a:pt x="18" y="110"/>
                      <a:pt x="19" y="115"/>
                    </a:cubicBezTo>
                    <a:cubicBezTo>
                      <a:pt x="20" y="121"/>
                      <a:pt x="40" y="126"/>
                      <a:pt x="35" y="137"/>
                    </a:cubicBezTo>
                    <a:cubicBezTo>
                      <a:pt x="35" y="137"/>
                      <a:pt x="35" y="137"/>
                      <a:pt x="35" y="137"/>
                    </a:cubicBezTo>
                    <a:cubicBezTo>
                      <a:pt x="40" y="126"/>
                      <a:pt x="20" y="120"/>
                      <a:pt x="19" y="115"/>
                    </a:cubicBezTo>
                    <a:cubicBezTo>
                      <a:pt x="18" y="110"/>
                      <a:pt x="25" y="106"/>
                      <a:pt x="25" y="100"/>
                    </a:cubicBezTo>
                    <a:cubicBezTo>
                      <a:pt x="26" y="55"/>
                      <a:pt x="0" y="83"/>
                      <a:pt x="43" y="28"/>
                    </a:cubicBezTo>
                    <a:cubicBezTo>
                      <a:pt x="49" y="20"/>
                      <a:pt x="57" y="10"/>
                      <a:pt x="65" y="0"/>
                    </a:cubicBezTo>
                    <a:cubicBezTo>
                      <a:pt x="57" y="10"/>
                      <a:pt x="49" y="20"/>
                      <a:pt x="43" y="28"/>
                    </a:cubicBezTo>
                    <a:cubicBezTo>
                      <a:pt x="0" y="83"/>
                      <a:pt x="26" y="55"/>
                      <a:pt x="25" y="10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1" name="Freeform 977"/>
              <p:cNvSpPr>
                <a:spLocks/>
              </p:cNvSpPr>
              <p:nvPr/>
            </p:nvSpPr>
            <p:spPr bwMode="auto">
              <a:xfrm>
                <a:off x="2821" y="2325"/>
                <a:ext cx="590" cy="515"/>
              </a:xfrm>
              <a:custGeom>
                <a:avLst/>
                <a:gdLst>
                  <a:gd name="T0" fmla="*/ 155 w 899"/>
                  <a:gd name="T1" fmla="*/ 554 h 785"/>
                  <a:gd name="T2" fmla="*/ 171 w 899"/>
                  <a:gd name="T3" fmla="*/ 563 h 785"/>
                  <a:gd name="T4" fmla="*/ 210 w 899"/>
                  <a:gd name="T5" fmla="*/ 581 h 785"/>
                  <a:gd name="T6" fmla="*/ 213 w 899"/>
                  <a:gd name="T7" fmla="*/ 613 h 785"/>
                  <a:gd name="T8" fmla="*/ 250 w 899"/>
                  <a:gd name="T9" fmla="*/ 596 h 785"/>
                  <a:gd name="T10" fmla="*/ 320 w 899"/>
                  <a:gd name="T11" fmla="*/ 618 h 785"/>
                  <a:gd name="T12" fmla="*/ 326 w 899"/>
                  <a:gd name="T13" fmla="*/ 611 h 785"/>
                  <a:gd name="T14" fmla="*/ 314 w 899"/>
                  <a:gd name="T15" fmla="*/ 631 h 785"/>
                  <a:gd name="T16" fmla="*/ 347 w 899"/>
                  <a:gd name="T17" fmla="*/ 651 h 785"/>
                  <a:gd name="T18" fmla="*/ 365 w 899"/>
                  <a:gd name="T19" fmla="*/ 653 h 785"/>
                  <a:gd name="T20" fmla="*/ 423 w 899"/>
                  <a:gd name="T21" fmla="*/ 696 h 785"/>
                  <a:gd name="T22" fmla="*/ 437 w 899"/>
                  <a:gd name="T23" fmla="*/ 724 h 785"/>
                  <a:gd name="T24" fmla="*/ 466 w 899"/>
                  <a:gd name="T25" fmla="*/ 715 h 785"/>
                  <a:gd name="T26" fmla="*/ 503 w 899"/>
                  <a:gd name="T27" fmla="*/ 731 h 785"/>
                  <a:gd name="T28" fmla="*/ 516 w 899"/>
                  <a:gd name="T29" fmla="*/ 755 h 785"/>
                  <a:gd name="T30" fmla="*/ 539 w 899"/>
                  <a:gd name="T31" fmla="*/ 756 h 785"/>
                  <a:gd name="T32" fmla="*/ 590 w 899"/>
                  <a:gd name="T33" fmla="*/ 729 h 785"/>
                  <a:gd name="T34" fmla="*/ 622 w 899"/>
                  <a:gd name="T35" fmla="*/ 731 h 785"/>
                  <a:gd name="T36" fmla="*/ 638 w 899"/>
                  <a:gd name="T37" fmla="*/ 729 h 785"/>
                  <a:gd name="T38" fmla="*/ 697 w 899"/>
                  <a:gd name="T39" fmla="*/ 738 h 785"/>
                  <a:gd name="T40" fmla="*/ 755 w 899"/>
                  <a:gd name="T41" fmla="*/ 772 h 785"/>
                  <a:gd name="T42" fmla="*/ 769 w 899"/>
                  <a:gd name="T43" fmla="*/ 761 h 785"/>
                  <a:gd name="T44" fmla="*/ 815 w 899"/>
                  <a:gd name="T45" fmla="*/ 646 h 785"/>
                  <a:gd name="T46" fmla="*/ 897 w 899"/>
                  <a:gd name="T47" fmla="*/ 580 h 785"/>
                  <a:gd name="T48" fmla="*/ 898 w 899"/>
                  <a:gd name="T49" fmla="*/ 542 h 785"/>
                  <a:gd name="T50" fmla="*/ 855 w 899"/>
                  <a:gd name="T51" fmla="*/ 464 h 785"/>
                  <a:gd name="T52" fmla="*/ 844 w 899"/>
                  <a:gd name="T53" fmla="*/ 432 h 785"/>
                  <a:gd name="T54" fmla="*/ 818 w 899"/>
                  <a:gd name="T55" fmla="*/ 332 h 785"/>
                  <a:gd name="T56" fmla="*/ 840 w 899"/>
                  <a:gd name="T57" fmla="*/ 126 h 785"/>
                  <a:gd name="T58" fmla="*/ 780 w 899"/>
                  <a:gd name="T59" fmla="*/ 65 h 785"/>
                  <a:gd name="T60" fmla="*/ 515 w 899"/>
                  <a:gd name="T61" fmla="*/ 60 h 785"/>
                  <a:gd name="T62" fmla="*/ 467 w 899"/>
                  <a:gd name="T63" fmla="*/ 79 h 785"/>
                  <a:gd name="T64" fmla="*/ 501 w 899"/>
                  <a:gd name="T65" fmla="*/ 56 h 785"/>
                  <a:gd name="T66" fmla="*/ 497 w 899"/>
                  <a:gd name="T67" fmla="*/ 55 h 785"/>
                  <a:gd name="T68" fmla="*/ 402 w 899"/>
                  <a:gd name="T69" fmla="*/ 61 h 785"/>
                  <a:gd name="T70" fmla="*/ 394 w 899"/>
                  <a:gd name="T71" fmla="*/ 18 h 785"/>
                  <a:gd name="T72" fmla="*/ 381 w 899"/>
                  <a:gd name="T73" fmla="*/ 6 h 785"/>
                  <a:gd name="T74" fmla="*/ 214 w 899"/>
                  <a:gd name="T75" fmla="*/ 50 h 785"/>
                  <a:gd name="T76" fmla="*/ 183 w 899"/>
                  <a:gd name="T77" fmla="*/ 81 h 785"/>
                  <a:gd name="T78" fmla="*/ 13 w 899"/>
                  <a:gd name="T79" fmla="*/ 128 h 785"/>
                  <a:gd name="T80" fmla="*/ 12 w 899"/>
                  <a:gd name="T81" fmla="*/ 137 h 785"/>
                  <a:gd name="T82" fmla="*/ 33 w 899"/>
                  <a:gd name="T83" fmla="*/ 136 h 785"/>
                  <a:gd name="T84" fmla="*/ 47 w 899"/>
                  <a:gd name="T85" fmla="*/ 149 h 785"/>
                  <a:gd name="T86" fmla="*/ 48 w 899"/>
                  <a:gd name="T87" fmla="*/ 169 h 785"/>
                  <a:gd name="T88" fmla="*/ 33 w 899"/>
                  <a:gd name="T89" fmla="*/ 219 h 785"/>
                  <a:gd name="T90" fmla="*/ 41 w 899"/>
                  <a:gd name="T91" fmla="*/ 335 h 785"/>
                  <a:gd name="T92" fmla="*/ 47 w 899"/>
                  <a:gd name="T93" fmla="*/ 413 h 785"/>
                  <a:gd name="T94" fmla="*/ 85 w 899"/>
                  <a:gd name="T95" fmla="*/ 486 h 785"/>
                  <a:gd name="T96" fmla="*/ 85 w 899"/>
                  <a:gd name="T97" fmla="*/ 521 h 7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99" h="785">
                    <a:moveTo>
                      <a:pt x="97" y="519"/>
                    </a:moveTo>
                    <a:cubicBezTo>
                      <a:pt x="110" y="520"/>
                      <a:pt x="104" y="532"/>
                      <a:pt x="111" y="539"/>
                    </a:cubicBezTo>
                    <a:cubicBezTo>
                      <a:pt x="125" y="552"/>
                      <a:pt x="142" y="545"/>
                      <a:pt x="155" y="554"/>
                    </a:cubicBezTo>
                    <a:cubicBezTo>
                      <a:pt x="158" y="556"/>
                      <a:pt x="156" y="563"/>
                      <a:pt x="160" y="565"/>
                    </a:cubicBezTo>
                    <a:cubicBezTo>
                      <a:pt x="161" y="566"/>
                      <a:pt x="162" y="563"/>
                      <a:pt x="164" y="563"/>
                    </a:cubicBezTo>
                    <a:cubicBezTo>
                      <a:pt x="166" y="562"/>
                      <a:pt x="169" y="561"/>
                      <a:pt x="171" y="563"/>
                    </a:cubicBezTo>
                    <a:cubicBezTo>
                      <a:pt x="175" y="565"/>
                      <a:pt x="170" y="572"/>
                      <a:pt x="173" y="574"/>
                    </a:cubicBezTo>
                    <a:cubicBezTo>
                      <a:pt x="178" y="577"/>
                      <a:pt x="212" y="553"/>
                      <a:pt x="212" y="576"/>
                    </a:cubicBezTo>
                    <a:cubicBezTo>
                      <a:pt x="212" y="578"/>
                      <a:pt x="211" y="580"/>
                      <a:pt x="210" y="581"/>
                    </a:cubicBezTo>
                    <a:cubicBezTo>
                      <a:pt x="205" y="586"/>
                      <a:pt x="196" y="588"/>
                      <a:pt x="192" y="593"/>
                    </a:cubicBezTo>
                    <a:cubicBezTo>
                      <a:pt x="191" y="594"/>
                      <a:pt x="191" y="596"/>
                      <a:pt x="191" y="598"/>
                    </a:cubicBezTo>
                    <a:cubicBezTo>
                      <a:pt x="191" y="602"/>
                      <a:pt x="210" y="610"/>
                      <a:pt x="213" y="613"/>
                    </a:cubicBezTo>
                    <a:cubicBezTo>
                      <a:pt x="218" y="619"/>
                      <a:pt x="218" y="631"/>
                      <a:pt x="223" y="635"/>
                    </a:cubicBezTo>
                    <a:cubicBezTo>
                      <a:pt x="230" y="640"/>
                      <a:pt x="260" y="627"/>
                      <a:pt x="264" y="622"/>
                    </a:cubicBezTo>
                    <a:cubicBezTo>
                      <a:pt x="264" y="621"/>
                      <a:pt x="248" y="599"/>
                      <a:pt x="250" y="596"/>
                    </a:cubicBezTo>
                    <a:cubicBezTo>
                      <a:pt x="250" y="596"/>
                      <a:pt x="250" y="596"/>
                      <a:pt x="250" y="596"/>
                    </a:cubicBezTo>
                    <a:cubicBezTo>
                      <a:pt x="265" y="596"/>
                      <a:pt x="284" y="610"/>
                      <a:pt x="292" y="615"/>
                    </a:cubicBezTo>
                    <a:cubicBezTo>
                      <a:pt x="294" y="617"/>
                      <a:pt x="318" y="619"/>
                      <a:pt x="320" y="618"/>
                    </a:cubicBezTo>
                    <a:cubicBezTo>
                      <a:pt x="320" y="617"/>
                      <a:pt x="321" y="617"/>
                      <a:pt x="321" y="616"/>
                    </a:cubicBezTo>
                    <a:cubicBezTo>
                      <a:pt x="323" y="615"/>
                      <a:pt x="324" y="612"/>
                      <a:pt x="324" y="611"/>
                    </a:cubicBezTo>
                    <a:cubicBezTo>
                      <a:pt x="325" y="610"/>
                      <a:pt x="325" y="610"/>
                      <a:pt x="326" y="611"/>
                    </a:cubicBezTo>
                    <a:cubicBezTo>
                      <a:pt x="330" y="618"/>
                      <a:pt x="330" y="622"/>
                      <a:pt x="329" y="623"/>
                    </a:cubicBezTo>
                    <a:cubicBezTo>
                      <a:pt x="326" y="626"/>
                      <a:pt x="319" y="626"/>
                      <a:pt x="315" y="629"/>
                    </a:cubicBezTo>
                    <a:cubicBezTo>
                      <a:pt x="315" y="630"/>
                      <a:pt x="314" y="630"/>
                      <a:pt x="314" y="631"/>
                    </a:cubicBezTo>
                    <a:cubicBezTo>
                      <a:pt x="311" y="635"/>
                      <a:pt x="327" y="638"/>
                      <a:pt x="327" y="639"/>
                    </a:cubicBezTo>
                    <a:cubicBezTo>
                      <a:pt x="333" y="645"/>
                      <a:pt x="328" y="653"/>
                      <a:pt x="339" y="655"/>
                    </a:cubicBezTo>
                    <a:cubicBezTo>
                      <a:pt x="343" y="655"/>
                      <a:pt x="345" y="654"/>
                      <a:pt x="347" y="651"/>
                    </a:cubicBezTo>
                    <a:cubicBezTo>
                      <a:pt x="349" y="649"/>
                      <a:pt x="350" y="647"/>
                      <a:pt x="352" y="645"/>
                    </a:cubicBezTo>
                    <a:cubicBezTo>
                      <a:pt x="353" y="645"/>
                      <a:pt x="353" y="644"/>
                      <a:pt x="354" y="644"/>
                    </a:cubicBezTo>
                    <a:cubicBezTo>
                      <a:pt x="359" y="643"/>
                      <a:pt x="361" y="650"/>
                      <a:pt x="365" y="653"/>
                    </a:cubicBezTo>
                    <a:cubicBezTo>
                      <a:pt x="374" y="658"/>
                      <a:pt x="391" y="659"/>
                      <a:pt x="399" y="663"/>
                    </a:cubicBezTo>
                    <a:cubicBezTo>
                      <a:pt x="404" y="667"/>
                      <a:pt x="401" y="685"/>
                      <a:pt x="406" y="690"/>
                    </a:cubicBezTo>
                    <a:cubicBezTo>
                      <a:pt x="410" y="694"/>
                      <a:pt x="419" y="691"/>
                      <a:pt x="423" y="696"/>
                    </a:cubicBezTo>
                    <a:cubicBezTo>
                      <a:pt x="423" y="696"/>
                      <a:pt x="426" y="716"/>
                      <a:pt x="426" y="716"/>
                    </a:cubicBezTo>
                    <a:cubicBezTo>
                      <a:pt x="437" y="718"/>
                      <a:pt x="437" y="718"/>
                      <a:pt x="437" y="718"/>
                    </a:cubicBezTo>
                    <a:cubicBezTo>
                      <a:pt x="439" y="720"/>
                      <a:pt x="437" y="722"/>
                      <a:pt x="437" y="724"/>
                    </a:cubicBezTo>
                    <a:cubicBezTo>
                      <a:pt x="437" y="727"/>
                      <a:pt x="436" y="729"/>
                      <a:pt x="437" y="731"/>
                    </a:cubicBezTo>
                    <a:cubicBezTo>
                      <a:pt x="445" y="738"/>
                      <a:pt x="452" y="731"/>
                      <a:pt x="459" y="723"/>
                    </a:cubicBezTo>
                    <a:cubicBezTo>
                      <a:pt x="461" y="720"/>
                      <a:pt x="463" y="717"/>
                      <a:pt x="466" y="715"/>
                    </a:cubicBezTo>
                    <a:cubicBezTo>
                      <a:pt x="471" y="708"/>
                      <a:pt x="477" y="703"/>
                      <a:pt x="482" y="705"/>
                    </a:cubicBezTo>
                    <a:cubicBezTo>
                      <a:pt x="488" y="707"/>
                      <a:pt x="494" y="730"/>
                      <a:pt x="495" y="731"/>
                    </a:cubicBezTo>
                    <a:cubicBezTo>
                      <a:pt x="497" y="733"/>
                      <a:pt x="500" y="731"/>
                      <a:pt x="503" y="731"/>
                    </a:cubicBezTo>
                    <a:cubicBezTo>
                      <a:pt x="505" y="731"/>
                      <a:pt x="508" y="730"/>
                      <a:pt x="510" y="731"/>
                    </a:cubicBezTo>
                    <a:cubicBezTo>
                      <a:pt x="517" y="735"/>
                      <a:pt x="503" y="757"/>
                      <a:pt x="510" y="757"/>
                    </a:cubicBezTo>
                    <a:cubicBezTo>
                      <a:pt x="512" y="757"/>
                      <a:pt x="514" y="756"/>
                      <a:pt x="516" y="755"/>
                    </a:cubicBezTo>
                    <a:cubicBezTo>
                      <a:pt x="518" y="754"/>
                      <a:pt x="520" y="753"/>
                      <a:pt x="522" y="753"/>
                    </a:cubicBezTo>
                    <a:cubicBezTo>
                      <a:pt x="527" y="753"/>
                      <a:pt x="530" y="760"/>
                      <a:pt x="534" y="759"/>
                    </a:cubicBezTo>
                    <a:cubicBezTo>
                      <a:pt x="536" y="759"/>
                      <a:pt x="537" y="758"/>
                      <a:pt x="539" y="756"/>
                    </a:cubicBezTo>
                    <a:cubicBezTo>
                      <a:pt x="543" y="751"/>
                      <a:pt x="548" y="742"/>
                      <a:pt x="554" y="736"/>
                    </a:cubicBezTo>
                    <a:cubicBezTo>
                      <a:pt x="557" y="732"/>
                      <a:pt x="562" y="729"/>
                      <a:pt x="567" y="729"/>
                    </a:cubicBezTo>
                    <a:cubicBezTo>
                      <a:pt x="570" y="729"/>
                      <a:pt x="587" y="728"/>
                      <a:pt x="590" y="729"/>
                    </a:cubicBezTo>
                    <a:cubicBezTo>
                      <a:pt x="597" y="730"/>
                      <a:pt x="604" y="744"/>
                      <a:pt x="610" y="744"/>
                    </a:cubicBezTo>
                    <a:cubicBezTo>
                      <a:pt x="615" y="744"/>
                      <a:pt x="618" y="742"/>
                      <a:pt x="619" y="740"/>
                    </a:cubicBezTo>
                    <a:cubicBezTo>
                      <a:pt x="622" y="737"/>
                      <a:pt x="621" y="732"/>
                      <a:pt x="622" y="731"/>
                    </a:cubicBezTo>
                    <a:cubicBezTo>
                      <a:pt x="622" y="728"/>
                      <a:pt x="623" y="727"/>
                      <a:pt x="624" y="726"/>
                    </a:cubicBezTo>
                    <a:cubicBezTo>
                      <a:pt x="628" y="722"/>
                      <a:pt x="632" y="732"/>
                      <a:pt x="635" y="731"/>
                    </a:cubicBezTo>
                    <a:cubicBezTo>
                      <a:pt x="636" y="731"/>
                      <a:pt x="637" y="730"/>
                      <a:pt x="638" y="729"/>
                    </a:cubicBezTo>
                    <a:cubicBezTo>
                      <a:pt x="639" y="728"/>
                      <a:pt x="639" y="727"/>
                      <a:pt x="640" y="726"/>
                    </a:cubicBezTo>
                    <a:cubicBezTo>
                      <a:pt x="641" y="725"/>
                      <a:pt x="642" y="725"/>
                      <a:pt x="642" y="724"/>
                    </a:cubicBezTo>
                    <a:cubicBezTo>
                      <a:pt x="659" y="721"/>
                      <a:pt x="682" y="731"/>
                      <a:pt x="697" y="738"/>
                    </a:cubicBezTo>
                    <a:cubicBezTo>
                      <a:pt x="699" y="739"/>
                      <a:pt x="703" y="740"/>
                      <a:pt x="705" y="742"/>
                    </a:cubicBezTo>
                    <a:cubicBezTo>
                      <a:pt x="705" y="742"/>
                      <a:pt x="709" y="755"/>
                      <a:pt x="709" y="755"/>
                    </a:cubicBezTo>
                    <a:cubicBezTo>
                      <a:pt x="723" y="767"/>
                      <a:pt x="741" y="766"/>
                      <a:pt x="755" y="772"/>
                    </a:cubicBezTo>
                    <a:cubicBezTo>
                      <a:pt x="762" y="775"/>
                      <a:pt x="774" y="776"/>
                      <a:pt x="781" y="779"/>
                    </a:cubicBezTo>
                    <a:cubicBezTo>
                      <a:pt x="783" y="780"/>
                      <a:pt x="784" y="785"/>
                      <a:pt x="785" y="783"/>
                    </a:cubicBezTo>
                    <a:cubicBezTo>
                      <a:pt x="790" y="772"/>
                      <a:pt x="770" y="767"/>
                      <a:pt x="769" y="761"/>
                    </a:cubicBezTo>
                    <a:cubicBezTo>
                      <a:pt x="768" y="756"/>
                      <a:pt x="775" y="752"/>
                      <a:pt x="775" y="746"/>
                    </a:cubicBezTo>
                    <a:cubicBezTo>
                      <a:pt x="776" y="701"/>
                      <a:pt x="750" y="729"/>
                      <a:pt x="793" y="674"/>
                    </a:cubicBezTo>
                    <a:cubicBezTo>
                      <a:pt x="799" y="666"/>
                      <a:pt x="807" y="656"/>
                      <a:pt x="815" y="646"/>
                    </a:cubicBezTo>
                    <a:cubicBezTo>
                      <a:pt x="828" y="629"/>
                      <a:pt x="844" y="613"/>
                      <a:pt x="858" y="602"/>
                    </a:cubicBezTo>
                    <a:cubicBezTo>
                      <a:pt x="868" y="595"/>
                      <a:pt x="884" y="602"/>
                      <a:pt x="892" y="593"/>
                    </a:cubicBezTo>
                    <a:cubicBezTo>
                      <a:pt x="894" y="590"/>
                      <a:pt x="896" y="586"/>
                      <a:pt x="897" y="580"/>
                    </a:cubicBezTo>
                    <a:cubicBezTo>
                      <a:pt x="898" y="568"/>
                      <a:pt x="879" y="559"/>
                      <a:pt x="880" y="550"/>
                    </a:cubicBezTo>
                    <a:cubicBezTo>
                      <a:pt x="880" y="549"/>
                      <a:pt x="881" y="548"/>
                      <a:pt x="881" y="548"/>
                    </a:cubicBezTo>
                    <a:cubicBezTo>
                      <a:pt x="885" y="544"/>
                      <a:pt x="897" y="545"/>
                      <a:pt x="898" y="542"/>
                    </a:cubicBezTo>
                    <a:cubicBezTo>
                      <a:pt x="899" y="542"/>
                      <a:pt x="899" y="542"/>
                      <a:pt x="898" y="541"/>
                    </a:cubicBezTo>
                    <a:cubicBezTo>
                      <a:pt x="885" y="524"/>
                      <a:pt x="857" y="504"/>
                      <a:pt x="852" y="481"/>
                    </a:cubicBezTo>
                    <a:cubicBezTo>
                      <a:pt x="851" y="476"/>
                      <a:pt x="856" y="470"/>
                      <a:pt x="855" y="464"/>
                    </a:cubicBezTo>
                    <a:cubicBezTo>
                      <a:pt x="854" y="458"/>
                      <a:pt x="852" y="455"/>
                      <a:pt x="850" y="451"/>
                    </a:cubicBezTo>
                    <a:cubicBezTo>
                      <a:pt x="850" y="451"/>
                      <a:pt x="850" y="451"/>
                      <a:pt x="850" y="451"/>
                    </a:cubicBezTo>
                    <a:cubicBezTo>
                      <a:pt x="847" y="445"/>
                      <a:pt x="843" y="440"/>
                      <a:pt x="844" y="432"/>
                    </a:cubicBezTo>
                    <a:cubicBezTo>
                      <a:pt x="845" y="416"/>
                      <a:pt x="854" y="403"/>
                      <a:pt x="853" y="384"/>
                    </a:cubicBezTo>
                    <a:cubicBezTo>
                      <a:pt x="852" y="362"/>
                      <a:pt x="810" y="365"/>
                      <a:pt x="810" y="351"/>
                    </a:cubicBezTo>
                    <a:cubicBezTo>
                      <a:pt x="811" y="343"/>
                      <a:pt x="814" y="337"/>
                      <a:pt x="818" y="332"/>
                    </a:cubicBezTo>
                    <a:cubicBezTo>
                      <a:pt x="834" y="315"/>
                      <a:pt x="867" y="307"/>
                      <a:pt x="877" y="296"/>
                    </a:cubicBezTo>
                    <a:cubicBezTo>
                      <a:pt x="878" y="295"/>
                      <a:pt x="878" y="294"/>
                      <a:pt x="879" y="293"/>
                    </a:cubicBezTo>
                    <a:cubicBezTo>
                      <a:pt x="893" y="260"/>
                      <a:pt x="846" y="164"/>
                      <a:pt x="840" y="126"/>
                    </a:cubicBezTo>
                    <a:cubicBezTo>
                      <a:pt x="834" y="121"/>
                      <a:pt x="843" y="111"/>
                      <a:pt x="839" y="102"/>
                    </a:cubicBezTo>
                    <a:cubicBezTo>
                      <a:pt x="836" y="96"/>
                      <a:pt x="786" y="63"/>
                      <a:pt x="784" y="63"/>
                    </a:cubicBezTo>
                    <a:cubicBezTo>
                      <a:pt x="782" y="63"/>
                      <a:pt x="781" y="64"/>
                      <a:pt x="780" y="65"/>
                    </a:cubicBezTo>
                    <a:cubicBezTo>
                      <a:pt x="779" y="66"/>
                      <a:pt x="779" y="67"/>
                      <a:pt x="778" y="68"/>
                    </a:cubicBezTo>
                    <a:cubicBezTo>
                      <a:pt x="777" y="69"/>
                      <a:pt x="776" y="69"/>
                      <a:pt x="775" y="70"/>
                    </a:cubicBezTo>
                    <a:cubicBezTo>
                      <a:pt x="719" y="88"/>
                      <a:pt x="586" y="75"/>
                      <a:pt x="515" y="60"/>
                    </a:cubicBezTo>
                    <a:cubicBezTo>
                      <a:pt x="507" y="65"/>
                      <a:pt x="500" y="70"/>
                      <a:pt x="495" y="70"/>
                    </a:cubicBezTo>
                    <a:cubicBezTo>
                      <a:pt x="487" y="71"/>
                      <a:pt x="475" y="92"/>
                      <a:pt x="479" y="81"/>
                    </a:cubicBezTo>
                    <a:cubicBezTo>
                      <a:pt x="479" y="80"/>
                      <a:pt x="467" y="80"/>
                      <a:pt x="467" y="79"/>
                    </a:cubicBezTo>
                    <a:cubicBezTo>
                      <a:pt x="467" y="79"/>
                      <a:pt x="467" y="79"/>
                      <a:pt x="467" y="79"/>
                    </a:cubicBezTo>
                    <a:cubicBezTo>
                      <a:pt x="469" y="71"/>
                      <a:pt x="487" y="65"/>
                      <a:pt x="501" y="56"/>
                    </a:cubicBezTo>
                    <a:cubicBezTo>
                      <a:pt x="501" y="56"/>
                      <a:pt x="501" y="56"/>
                      <a:pt x="501" y="56"/>
                    </a:cubicBezTo>
                    <a:cubicBezTo>
                      <a:pt x="501" y="56"/>
                      <a:pt x="501" y="56"/>
                      <a:pt x="501" y="56"/>
                    </a:cubicBezTo>
                    <a:cubicBezTo>
                      <a:pt x="500" y="56"/>
                      <a:pt x="498" y="56"/>
                      <a:pt x="497" y="55"/>
                    </a:cubicBezTo>
                    <a:cubicBezTo>
                      <a:pt x="497" y="55"/>
                      <a:pt x="497" y="55"/>
                      <a:pt x="497" y="55"/>
                    </a:cubicBezTo>
                    <a:cubicBezTo>
                      <a:pt x="497" y="55"/>
                      <a:pt x="497" y="55"/>
                      <a:pt x="497" y="55"/>
                    </a:cubicBezTo>
                    <a:cubicBezTo>
                      <a:pt x="483" y="65"/>
                      <a:pt x="467" y="70"/>
                      <a:pt x="451" y="73"/>
                    </a:cubicBezTo>
                    <a:cubicBezTo>
                      <a:pt x="436" y="75"/>
                      <a:pt x="413" y="72"/>
                      <a:pt x="402" y="61"/>
                    </a:cubicBezTo>
                    <a:cubicBezTo>
                      <a:pt x="401" y="60"/>
                      <a:pt x="396" y="34"/>
                      <a:pt x="396" y="32"/>
                    </a:cubicBezTo>
                    <a:cubicBezTo>
                      <a:pt x="397" y="30"/>
                      <a:pt x="383" y="21"/>
                      <a:pt x="387" y="16"/>
                    </a:cubicBezTo>
                    <a:cubicBezTo>
                      <a:pt x="388" y="15"/>
                      <a:pt x="393" y="18"/>
                      <a:pt x="394" y="18"/>
                    </a:cubicBezTo>
                    <a:cubicBezTo>
                      <a:pt x="403" y="23"/>
                      <a:pt x="420" y="40"/>
                      <a:pt x="423" y="39"/>
                    </a:cubicBezTo>
                    <a:cubicBezTo>
                      <a:pt x="426" y="39"/>
                      <a:pt x="423" y="34"/>
                      <a:pt x="422" y="33"/>
                    </a:cubicBezTo>
                    <a:cubicBezTo>
                      <a:pt x="410" y="22"/>
                      <a:pt x="395" y="15"/>
                      <a:pt x="381" y="6"/>
                    </a:cubicBezTo>
                    <a:cubicBezTo>
                      <a:pt x="371" y="0"/>
                      <a:pt x="296" y="15"/>
                      <a:pt x="283" y="20"/>
                    </a:cubicBezTo>
                    <a:cubicBezTo>
                      <a:pt x="271" y="25"/>
                      <a:pt x="262" y="36"/>
                      <a:pt x="250" y="39"/>
                    </a:cubicBezTo>
                    <a:cubicBezTo>
                      <a:pt x="238" y="43"/>
                      <a:pt x="223" y="41"/>
                      <a:pt x="214" y="50"/>
                    </a:cubicBezTo>
                    <a:cubicBezTo>
                      <a:pt x="203" y="62"/>
                      <a:pt x="189" y="84"/>
                      <a:pt x="184" y="85"/>
                    </a:cubicBezTo>
                    <a:cubicBezTo>
                      <a:pt x="182" y="86"/>
                      <a:pt x="176" y="85"/>
                      <a:pt x="178" y="84"/>
                    </a:cubicBezTo>
                    <a:cubicBezTo>
                      <a:pt x="178" y="84"/>
                      <a:pt x="184" y="82"/>
                      <a:pt x="183" y="81"/>
                    </a:cubicBezTo>
                    <a:cubicBezTo>
                      <a:pt x="177" y="80"/>
                      <a:pt x="118" y="97"/>
                      <a:pt x="109" y="100"/>
                    </a:cubicBezTo>
                    <a:cubicBezTo>
                      <a:pt x="88" y="106"/>
                      <a:pt x="42" y="131"/>
                      <a:pt x="25" y="132"/>
                    </a:cubicBezTo>
                    <a:cubicBezTo>
                      <a:pt x="22" y="132"/>
                      <a:pt x="18" y="131"/>
                      <a:pt x="13" y="128"/>
                    </a:cubicBezTo>
                    <a:cubicBezTo>
                      <a:pt x="13" y="128"/>
                      <a:pt x="13" y="128"/>
                      <a:pt x="13" y="128"/>
                    </a:cubicBezTo>
                    <a:cubicBezTo>
                      <a:pt x="12" y="137"/>
                      <a:pt x="12" y="137"/>
                      <a:pt x="12" y="137"/>
                    </a:cubicBezTo>
                    <a:cubicBezTo>
                      <a:pt x="12" y="137"/>
                      <a:pt x="12" y="137"/>
                      <a:pt x="12" y="137"/>
                    </a:cubicBezTo>
                    <a:cubicBezTo>
                      <a:pt x="21" y="141"/>
                      <a:pt x="22" y="149"/>
                      <a:pt x="28" y="142"/>
                    </a:cubicBezTo>
                    <a:cubicBezTo>
                      <a:pt x="32" y="138"/>
                      <a:pt x="29" y="138"/>
                      <a:pt x="26" y="137"/>
                    </a:cubicBezTo>
                    <a:cubicBezTo>
                      <a:pt x="24" y="136"/>
                      <a:pt x="34" y="134"/>
                      <a:pt x="33" y="136"/>
                    </a:cubicBezTo>
                    <a:cubicBezTo>
                      <a:pt x="32" y="138"/>
                      <a:pt x="34" y="137"/>
                      <a:pt x="35" y="138"/>
                    </a:cubicBezTo>
                    <a:cubicBezTo>
                      <a:pt x="47" y="138"/>
                      <a:pt x="41" y="142"/>
                      <a:pt x="45" y="146"/>
                    </a:cubicBezTo>
                    <a:cubicBezTo>
                      <a:pt x="47" y="147"/>
                      <a:pt x="47" y="148"/>
                      <a:pt x="47" y="149"/>
                    </a:cubicBezTo>
                    <a:cubicBezTo>
                      <a:pt x="44" y="150"/>
                      <a:pt x="44" y="152"/>
                      <a:pt x="43" y="157"/>
                    </a:cubicBezTo>
                    <a:cubicBezTo>
                      <a:pt x="42" y="157"/>
                      <a:pt x="41" y="159"/>
                      <a:pt x="41" y="160"/>
                    </a:cubicBezTo>
                    <a:cubicBezTo>
                      <a:pt x="42" y="165"/>
                      <a:pt x="49" y="166"/>
                      <a:pt x="48" y="169"/>
                    </a:cubicBezTo>
                    <a:cubicBezTo>
                      <a:pt x="46" y="179"/>
                      <a:pt x="28" y="156"/>
                      <a:pt x="19" y="155"/>
                    </a:cubicBezTo>
                    <a:cubicBezTo>
                      <a:pt x="19" y="155"/>
                      <a:pt x="23" y="160"/>
                      <a:pt x="18" y="161"/>
                    </a:cubicBezTo>
                    <a:cubicBezTo>
                      <a:pt x="24" y="183"/>
                      <a:pt x="33" y="211"/>
                      <a:pt x="33" y="219"/>
                    </a:cubicBezTo>
                    <a:cubicBezTo>
                      <a:pt x="33" y="242"/>
                      <a:pt x="0" y="260"/>
                      <a:pt x="5" y="277"/>
                    </a:cubicBezTo>
                    <a:cubicBezTo>
                      <a:pt x="9" y="291"/>
                      <a:pt x="47" y="295"/>
                      <a:pt x="50" y="313"/>
                    </a:cubicBezTo>
                    <a:cubicBezTo>
                      <a:pt x="51" y="320"/>
                      <a:pt x="40" y="328"/>
                      <a:pt x="41" y="335"/>
                    </a:cubicBezTo>
                    <a:cubicBezTo>
                      <a:pt x="41" y="347"/>
                      <a:pt x="53" y="348"/>
                      <a:pt x="57" y="357"/>
                    </a:cubicBezTo>
                    <a:cubicBezTo>
                      <a:pt x="61" y="368"/>
                      <a:pt x="55" y="370"/>
                      <a:pt x="61" y="379"/>
                    </a:cubicBezTo>
                    <a:cubicBezTo>
                      <a:pt x="68" y="389"/>
                      <a:pt x="45" y="405"/>
                      <a:pt x="47" y="413"/>
                    </a:cubicBezTo>
                    <a:cubicBezTo>
                      <a:pt x="49" y="425"/>
                      <a:pt x="61" y="426"/>
                      <a:pt x="59" y="440"/>
                    </a:cubicBezTo>
                    <a:cubicBezTo>
                      <a:pt x="58" y="443"/>
                      <a:pt x="56" y="446"/>
                      <a:pt x="57" y="448"/>
                    </a:cubicBezTo>
                    <a:cubicBezTo>
                      <a:pt x="65" y="461"/>
                      <a:pt x="82" y="457"/>
                      <a:pt x="85" y="486"/>
                    </a:cubicBezTo>
                    <a:cubicBezTo>
                      <a:pt x="86" y="492"/>
                      <a:pt x="75" y="525"/>
                      <a:pt x="68" y="539"/>
                    </a:cubicBezTo>
                    <a:cubicBezTo>
                      <a:pt x="75" y="539"/>
                      <a:pt x="79" y="538"/>
                      <a:pt x="81" y="536"/>
                    </a:cubicBezTo>
                    <a:cubicBezTo>
                      <a:pt x="85" y="532"/>
                      <a:pt x="81" y="525"/>
                      <a:pt x="85" y="521"/>
                    </a:cubicBezTo>
                    <a:cubicBezTo>
                      <a:pt x="87" y="519"/>
                      <a:pt x="90" y="518"/>
                      <a:pt x="97" y="51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2" name="Freeform 978"/>
              <p:cNvSpPr>
                <a:spLocks/>
              </p:cNvSpPr>
              <p:nvPr/>
            </p:nvSpPr>
            <p:spPr bwMode="auto">
              <a:xfrm>
                <a:off x="3240" y="2801"/>
                <a:ext cx="1" cy="2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0 h 3"/>
                  <a:gd name="T4" fmla="*/ 0 w 2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cubicBezTo>
                      <a:pt x="1" y="2"/>
                      <a:pt x="1" y="1"/>
                      <a:pt x="2" y="0"/>
                    </a:cubicBezTo>
                    <a:cubicBezTo>
                      <a:pt x="1" y="1"/>
                      <a:pt x="1" y="2"/>
                      <a:pt x="0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3" name="Freeform 979"/>
              <p:cNvSpPr>
                <a:spLocks/>
              </p:cNvSpPr>
              <p:nvPr/>
            </p:nvSpPr>
            <p:spPr bwMode="auto">
              <a:xfrm>
                <a:off x="3175" y="2808"/>
                <a:ext cx="10" cy="13"/>
              </a:xfrm>
              <a:custGeom>
                <a:avLst/>
                <a:gdLst>
                  <a:gd name="T0" fmla="*/ 0 w 15"/>
                  <a:gd name="T1" fmla="*/ 20 h 20"/>
                  <a:gd name="T2" fmla="*/ 15 w 15"/>
                  <a:gd name="T3" fmla="*/ 0 h 20"/>
                  <a:gd name="T4" fmla="*/ 0 w 15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0">
                    <a:moveTo>
                      <a:pt x="0" y="20"/>
                    </a:moveTo>
                    <a:cubicBezTo>
                      <a:pt x="4" y="15"/>
                      <a:pt x="9" y="6"/>
                      <a:pt x="15" y="0"/>
                    </a:cubicBezTo>
                    <a:cubicBezTo>
                      <a:pt x="9" y="6"/>
                      <a:pt x="4" y="15"/>
                      <a:pt x="0" y="2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4" name="Freeform 980"/>
              <p:cNvSpPr>
                <a:spLocks/>
              </p:cNvSpPr>
              <p:nvPr/>
            </p:nvSpPr>
            <p:spPr bwMode="auto">
              <a:xfrm>
                <a:off x="3122" y="2794"/>
                <a:ext cx="5" cy="5"/>
              </a:xfrm>
              <a:custGeom>
                <a:avLst/>
                <a:gdLst>
                  <a:gd name="T0" fmla="*/ 0 w 7"/>
                  <a:gd name="T1" fmla="*/ 8 h 8"/>
                  <a:gd name="T2" fmla="*/ 7 w 7"/>
                  <a:gd name="T3" fmla="*/ 0 h 8"/>
                  <a:gd name="T4" fmla="*/ 0 w 7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0" y="8"/>
                    </a:moveTo>
                    <a:cubicBezTo>
                      <a:pt x="2" y="5"/>
                      <a:pt x="4" y="2"/>
                      <a:pt x="7" y="0"/>
                    </a:cubicBezTo>
                    <a:cubicBezTo>
                      <a:pt x="4" y="2"/>
                      <a:pt x="2" y="5"/>
                      <a:pt x="0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5" name="Freeform 981"/>
              <p:cNvSpPr>
                <a:spLocks/>
              </p:cNvSpPr>
              <p:nvPr/>
            </p:nvSpPr>
            <p:spPr bwMode="auto">
              <a:xfrm>
                <a:off x="3227" y="2801"/>
                <a:ext cx="4" cy="9"/>
              </a:xfrm>
              <a:custGeom>
                <a:avLst/>
                <a:gdLst>
                  <a:gd name="T0" fmla="*/ 5 w 5"/>
                  <a:gd name="T1" fmla="*/ 0 h 14"/>
                  <a:gd name="T2" fmla="*/ 3 w 5"/>
                  <a:gd name="T3" fmla="*/ 5 h 14"/>
                  <a:gd name="T4" fmla="*/ 0 w 5"/>
                  <a:gd name="T5" fmla="*/ 14 h 14"/>
                  <a:gd name="T6" fmla="*/ 3 w 5"/>
                  <a:gd name="T7" fmla="*/ 5 h 14"/>
                  <a:gd name="T8" fmla="*/ 5 w 5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4">
                    <a:moveTo>
                      <a:pt x="5" y="0"/>
                    </a:moveTo>
                    <a:cubicBezTo>
                      <a:pt x="4" y="1"/>
                      <a:pt x="3" y="2"/>
                      <a:pt x="3" y="5"/>
                    </a:cubicBezTo>
                    <a:cubicBezTo>
                      <a:pt x="2" y="6"/>
                      <a:pt x="3" y="11"/>
                      <a:pt x="0" y="14"/>
                    </a:cubicBezTo>
                    <a:cubicBezTo>
                      <a:pt x="3" y="11"/>
                      <a:pt x="2" y="6"/>
                      <a:pt x="3" y="5"/>
                    </a:cubicBezTo>
                    <a:cubicBezTo>
                      <a:pt x="4" y="2"/>
                      <a:pt x="4" y="1"/>
                      <a:pt x="5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6" name="Freeform 982"/>
              <p:cNvSpPr>
                <a:spLocks/>
              </p:cNvSpPr>
              <p:nvPr/>
            </p:nvSpPr>
            <p:spPr bwMode="auto">
              <a:xfrm>
                <a:off x="3147" y="2361"/>
                <a:ext cx="3" cy="1"/>
              </a:xfrm>
              <a:custGeom>
                <a:avLst/>
                <a:gdLst>
                  <a:gd name="T0" fmla="*/ 4 w 4"/>
                  <a:gd name="T1" fmla="*/ 1 h 1"/>
                  <a:gd name="T2" fmla="*/ 4 w 4"/>
                  <a:gd name="T3" fmla="*/ 1 h 1"/>
                  <a:gd name="T4" fmla="*/ 0 w 4"/>
                  <a:gd name="T5" fmla="*/ 0 h 1"/>
                  <a:gd name="T6" fmla="*/ 0 w 4"/>
                  <a:gd name="T7" fmla="*/ 0 h 1"/>
                  <a:gd name="T8" fmla="*/ 4 w 4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1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3" y="1"/>
                      <a:pt x="4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7" name="Freeform 983"/>
              <p:cNvSpPr>
                <a:spLocks/>
              </p:cNvSpPr>
              <p:nvPr/>
            </p:nvSpPr>
            <p:spPr bwMode="auto">
              <a:xfrm>
                <a:off x="3159" y="2364"/>
                <a:ext cx="171" cy="19"/>
              </a:xfrm>
              <a:custGeom>
                <a:avLst/>
                <a:gdLst>
                  <a:gd name="T0" fmla="*/ 0 w 260"/>
                  <a:gd name="T1" fmla="*/ 0 h 28"/>
                  <a:gd name="T2" fmla="*/ 0 w 260"/>
                  <a:gd name="T3" fmla="*/ 0 h 28"/>
                  <a:gd name="T4" fmla="*/ 260 w 260"/>
                  <a:gd name="T5" fmla="*/ 10 h 28"/>
                  <a:gd name="T6" fmla="*/ 260 w 260"/>
                  <a:gd name="T7" fmla="*/ 10 h 28"/>
                  <a:gd name="T8" fmla="*/ 0 w 260"/>
                  <a:gd name="T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0" h="28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71" y="15"/>
                      <a:pt x="204" y="28"/>
                      <a:pt x="260" y="10"/>
                    </a:cubicBezTo>
                    <a:cubicBezTo>
                      <a:pt x="260" y="10"/>
                      <a:pt x="260" y="10"/>
                      <a:pt x="260" y="10"/>
                    </a:cubicBezTo>
                    <a:cubicBezTo>
                      <a:pt x="204" y="28"/>
                      <a:pt x="71" y="15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8" name="Freeform 984"/>
              <p:cNvSpPr>
                <a:spLocks/>
              </p:cNvSpPr>
              <p:nvPr/>
            </p:nvSpPr>
            <p:spPr bwMode="auto">
              <a:xfrm>
                <a:off x="2349" y="1621"/>
                <a:ext cx="20" cy="7"/>
              </a:xfrm>
              <a:custGeom>
                <a:avLst/>
                <a:gdLst>
                  <a:gd name="T0" fmla="*/ 29 w 31"/>
                  <a:gd name="T1" fmla="*/ 8 h 11"/>
                  <a:gd name="T2" fmla="*/ 30 w 31"/>
                  <a:gd name="T3" fmla="*/ 8 h 11"/>
                  <a:gd name="T4" fmla="*/ 3 w 31"/>
                  <a:gd name="T5" fmla="*/ 3 h 11"/>
                  <a:gd name="T6" fmla="*/ 29 w 31"/>
                  <a:gd name="T7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11">
                    <a:moveTo>
                      <a:pt x="29" y="8"/>
                    </a:moveTo>
                    <a:cubicBezTo>
                      <a:pt x="30" y="8"/>
                      <a:pt x="30" y="8"/>
                      <a:pt x="30" y="8"/>
                    </a:cubicBezTo>
                    <a:cubicBezTo>
                      <a:pt x="31" y="7"/>
                      <a:pt x="8" y="0"/>
                      <a:pt x="3" y="3"/>
                    </a:cubicBezTo>
                    <a:cubicBezTo>
                      <a:pt x="0" y="5"/>
                      <a:pt x="24" y="11"/>
                      <a:pt x="29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59" name="Freeform 985"/>
              <p:cNvSpPr>
                <a:spLocks/>
              </p:cNvSpPr>
              <p:nvPr/>
            </p:nvSpPr>
            <p:spPr bwMode="auto">
              <a:xfrm>
                <a:off x="2349" y="1608"/>
                <a:ext cx="7" cy="10"/>
              </a:xfrm>
              <a:custGeom>
                <a:avLst/>
                <a:gdLst>
                  <a:gd name="T0" fmla="*/ 7 w 12"/>
                  <a:gd name="T1" fmla="*/ 2 h 15"/>
                  <a:gd name="T2" fmla="*/ 1 w 12"/>
                  <a:gd name="T3" fmla="*/ 8 h 15"/>
                  <a:gd name="T4" fmla="*/ 2 w 12"/>
                  <a:gd name="T5" fmla="*/ 8 h 15"/>
                  <a:gd name="T6" fmla="*/ 7 w 12"/>
                  <a:gd name="T7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5">
                    <a:moveTo>
                      <a:pt x="7" y="2"/>
                    </a:moveTo>
                    <a:cubicBezTo>
                      <a:pt x="5" y="2"/>
                      <a:pt x="0" y="5"/>
                      <a:pt x="1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7" y="15"/>
                      <a:pt x="12" y="0"/>
                      <a:pt x="7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0" name="Freeform 986"/>
              <p:cNvSpPr>
                <a:spLocks/>
              </p:cNvSpPr>
              <p:nvPr/>
            </p:nvSpPr>
            <p:spPr bwMode="auto">
              <a:xfrm>
                <a:off x="2286" y="1661"/>
                <a:ext cx="13" cy="14"/>
              </a:xfrm>
              <a:custGeom>
                <a:avLst/>
                <a:gdLst>
                  <a:gd name="T0" fmla="*/ 10 w 19"/>
                  <a:gd name="T1" fmla="*/ 10 h 21"/>
                  <a:gd name="T2" fmla="*/ 17 w 19"/>
                  <a:gd name="T3" fmla="*/ 8 h 21"/>
                  <a:gd name="T4" fmla="*/ 17 w 19"/>
                  <a:gd name="T5" fmla="*/ 8 h 21"/>
                  <a:gd name="T6" fmla="*/ 3 w 19"/>
                  <a:gd name="T7" fmla="*/ 1 h 21"/>
                  <a:gd name="T8" fmla="*/ 10 w 19"/>
                  <a:gd name="T9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1">
                    <a:moveTo>
                      <a:pt x="10" y="10"/>
                    </a:moveTo>
                    <a:cubicBezTo>
                      <a:pt x="12" y="12"/>
                      <a:pt x="5" y="21"/>
                      <a:pt x="17" y="8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9" y="6"/>
                      <a:pt x="7" y="0"/>
                      <a:pt x="3" y="1"/>
                    </a:cubicBezTo>
                    <a:cubicBezTo>
                      <a:pt x="0" y="2"/>
                      <a:pt x="7" y="7"/>
                      <a:pt x="10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1" name="Freeform 987"/>
              <p:cNvSpPr>
                <a:spLocks/>
              </p:cNvSpPr>
              <p:nvPr/>
            </p:nvSpPr>
            <p:spPr bwMode="auto">
              <a:xfrm>
                <a:off x="2278" y="1674"/>
                <a:ext cx="26" cy="15"/>
              </a:xfrm>
              <a:custGeom>
                <a:avLst/>
                <a:gdLst>
                  <a:gd name="T0" fmla="*/ 8 w 39"/>
                  <a:gd name="T1" fmla="*/ 10 h 22"/>
                  <a:gd name="T2" fmla="*/ 18 w 39"/>
                  <a:gd name="T3" fmla="*/ 17 h 22"/>
                  <a:gd name="T4" fmla="*/ 30 w 39"/>
                  <a:gd name="T5" fmla="*/ 11 h 22"/>
                  <a:gd name="T6" fmla="*/ 39 w 39"/>
                  <a:gd name="T7" fmla="*/ 8 h 22"/>
                  <a:gd name="T8" fmla="*/ 38 w 39"/>
                  <a:gd name="T9" fmla="*/ 8 h 22"/>
                  <a:gd name="T10" fmla="*/ 6 w 39"/>
                  <a:gd name="T11" fmla="*/ 5 h 22"/>
                  <a:gd name="T12" fmla="*/ 2 w 39"/>
                  <a:gd name="T13" fmla="*/ 9 h 22"/>
                  <a:gd name="T14" fmla="*/ 8 w 39"/>
                  <a:gd name="T15" fmla="*/ 1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22">
                    <a:moveTo>
                      <a:pt x="8" y="10"/>
                    </a:moveTo>
                    <a:cubicBezTo>
                      <a:pt x="11" y="12"/>
                      <a:pt x="5" y="22"/>
                      <a:pt x="18" y="17"/>
                    </a:cubicBezTo>
                    <a:cubicBezTo>
                      <a:pt x="21" y="16"/>
                      <a:pt x="35" y="6"/>
                      <a:pt x="30" y="11"/>
                    </a:cubicBezTo>
                    <a:cubicBezTo>
                      <a:pt x="28" y="14"/>
                      <a:pt x="39" y="11"/>
                      <a:pt x="39" y="8"/>
                    </a:cubicBezTo>
                    <a:cubicBezTo>
                      <a:pt x="38" y="8"/>
                      <a:pt x="38" y="8"/>
                      <a:pt x="38" y="8"/>
                    </a:cubicBezTo>
                    <a:cubicBezTo>
                      <a:pt x="29" y="0"/>
                      <a:pt x="12" y="1"/>
                      <a:pt x="6" y="5"/>
                    </a:cubicBezTo>
                    <a:cubicBezTo>
                      <a:pt x="5" y="6"/>
                      <a:pt x="0" y="8"/>
                      <a:pt x="2" y="9"/>
                    </a:cubicBezTo>
                    <a:cubicBezTo>
                      <a:pt x="3" y="11"/>
                      <a:pt x="6" y="10"/>
                      <a:pt x="8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2" name="Freeform 988"/>
              <p:cNvSpPr>
                <a:spLocks/>
              </p:cNvSpPr>
              <p:nvPr/>
            </p:nvSpPr>
            <p:spPr bwMode="auto">
              <a:xfrm>
                <a:off x="2334" y="1621"/>
                <a:ext cx="21" cy="30"/>
              </a:xfrm>
              <a:custGeom>
                <a:avLst/>
                <a:gdLst>
                  <a:gd name="T0" fmla="*/ 23 w 31"/>
                  <a:gd name="T1" fmla="*/ 21 h 46"/>
                  <a:gd name="T2" fmla="*/ 23 w 31"/>
                  <a:gd name="T3" fmla="*/ 21 h 46"/>
                  <a:gd name="T4" fmla="*/ 9 w 31"/>
                  <a:gd name="T5" fmla="*/ 7 h 46"/>
                  <a:gd name="T6" fmla="*/ 23 w 31"/>
                  <a:gd name="T7" fmla="*/ 2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6">
                    <a:moveTo>
                      <a:pt x="23" y="21"/>
                    </a:moveTo>
                    <a:cubicBezTo>
                      <a:pt x="23" y="21"/>
                      <a:pt x="23" y="21"/>
                      <a:pt x="23" y="21"/>
                    </a:cubicBezTo>
                    <a:cubicBezTo>
                      <a:pt x="31" y="15"/>
                      <a:pt x="18" y="0"/>
                      <a:pt x="9" y="7"/>
                    </a:cubicBezTo>
                    <a:cubicBezTo>
                      <a:pt x="5" y="11"/>
                      <a:pt x="0" y="46"/>
                      <a:pt x="23" y="2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3" name="Freeform 989"/>
              <p:cNvSpPr>
                <a:spLocks/>
              </p:cNvSpPr>
              <p:nvPr/>
            </p:nvSpPr>
            <p:spPr bwMode="auto">
              <a:xfrm>
                <a:off x="2319" y="1636"/>
                <a:ext cx="19" cy="19"/>
              </a:xfrm>
              <a:custGeom>
                <a:avLst/>
                <a:gdLst>
                  <a:gd name="T0" fmla="*/ 28 w 29"/>
                  <a:gd name="T1" fmla="*/ 5 h 29"/>
                  <a:gd name="T2" fmla="*/ 28 w 29"/>
                  <a:gd name="T3" fmla="*/ 5 h 29"/>
                  <a:gd name="T4" fmla="*/ 17 w 29"/>
                  <a:gd name="T5" fmla="*/ 0 h 29"/>
                  <a:gd name="T6" fmla="*/ 3 w 29"/>
                  <a:gd name="T7" fmla="*/ 8 h 29"/>
                  <a:gd name="T8" fmla="*/ 11 w 29"/>
                  <a:gd name="T9" fmla="*/ 11 h 29"/>
                  <a:gd name="T10" fmla="*/ 2 w 29"/>
                  <a:gd name="T11" fmla="*/ 11 h 29"/>
                  <a:gd name="T12" fmla="*/ 28 w 29"/>
                  <a:gd name="T13" fmla="*/ 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29">
                    <a:moveTo>
                      <a:pt x="28" y="5"/>
                    </a:moveTo>
                    <a:cubicBezTo>
                      <a:pt x="28" y="5"/>
                      <a:pt x="28" y="5"/>
                      <a:pt x="28" y="5"/>
                    </a:cubicBezTo>
                    <a:cubicBezTo>
                      <a:pt x="29" y="4"/>
                      <a:pt x="19" y="0"/>
                      <a:pt x="17" y="0"/>
                    </a:cubicBezTo>
                    <a:cubicBezTo>
                      <a:pt x="13" y="2"/>
                      <a:pt x="0" y="3"/>
                      <a:pt x="3" y="8"/>
                    </a:cubicBezTo>
                    <a:cubicBezTo>
                      <a:pt x="4" y="10"/>
                      <a:pt x="11" y="9"/>
                      <a:pt x="11" y="11"/>
                    </a:cubicBezTo>
                    <a:cubicBezTo>
                      <a:pt x="10" y="13"/>
                      <a:pt x="1" y="10"/>
                      <a:pt x="2" y="11"/>
                    </a:cubicBezTo>
                    <a:cubicBezTo>
                      <a:pt x="10" y="29"/>
                      <a:pt x="25" y="8"/>
                      <a:pt x="28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4" name="Freeform 990"/>
              <p:cNvSpPr>
                <a:spLocks/>
              </p:cNvSpPr>
              <p:nvPr/>
            </p:nvSpPr>
            <p:spPr bwMode="auto">
              <a:xfrm>
                <a:off x="2312" y="1840"/>
                <a:ext cx="18" cy="29"/>
              </a:xfrm>
              <a:custGeom>
                <a:avLst/>
                <a:gdLst>
                  <a:gd name="T0" fmla="*/ 0 w 28"/>
                  <a:gd name="T1" fmla="*/ 24 h 43"/>
                  <a:gd name="T2" fmla="*/ 11 w 28"/>
                  <a:gd name="T3" fmla="*/ 29 h 43"/>
                  <a:gd name="T4" fmla="*/ 27 w 28"/>
                  <a:gd name="T5" fmla="*/ 22 h 43"/>
                  <a:gd name="T6" fmla="*/ 27 w 28"/>
                  <a:gd name="T7" fmla="*/ 21 h 43"/>
                  <a:gd name="T8" fmla="*/ 4 w 28"/>
                  <a:gd name="T9" fmla="*/ 22 h 43"/>
                  <a:gd name="T10" fmla="*/ 0 w 28"/>
                  <a:gd name="T11" fmla="*/ 2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43">
                    <a:moveTo>
                      <a:pt x="0" y="24"/>
                    </a:moveTo>
                    <a:cubicBezTo>
                      <a:pt x="0" y="30"/>
                      <a:pt x="10" y="29"/>
                      <a:pt x="11" y="29"/>
                    </a:cubicBezTo>
                    <a:cubicBezTo>
                      <a:pt x="19" y="43"/>
                      <a:pt x="23" y="33"/>
                      <a:pt x="27" y="22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8" y="0"/>
                      <a:pt x="7" y="22"/>
                      <a:pt x="4" y="22"/>
                    </a:cubicBezTo>
                    <a:cubicBezTo>
                      <a:pt x="2" y="22"/>
                      <a:pt x="0" y="22"/>
                      <a:pt x="0" y="2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5" name="Freeform 991"/>
              <p:cNvSpPr>
                <a:spLocks/>
              </p:cNvSpPr>
              <p:nvPr/>
            </p:nvSpPr>
            <p:spPr bwMode="auto">
              <a:xfrm>
                <a:off x="2283" y="1797"/>
                <a:ext cx="22" cy="12"/>
              </a:xfrm>
              <a:custGeom>
                <a:avLst/>
                <a:gdLst>
                  <a:gd name="T0" fmla="*/ 4 w 33"/>
                  <a:gd name="T1" fmla="*/ 1 h 18"/>
                  <a:gd name="T2" fmla="*/ 4 w 33"/>
                  <a:gd name="T3" fmla="*/ 1 h 18"/>
                  <a:gd name="T4" fmla="*/ 25 w 33"/>
                  <a:gd name="T5" fmla="*/ 14 h 18"/>
                  <a:gd name="T6" fmla="*/ 4 w 33"/>
                  <a:gd name="T7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" h="18">
                    <a:moveTo>
                      <a:pt x="4" y="1"/>
                    </a:moveTo>
                    <a:cubicBezTo>
                      <a:pt x="4" y="1"/>
                      <a:pt x="4" y="1"/>
                      <a:pt x="4" y="1"/>
                    </a:cubicBezTo>
                    <a:cubicBezTo>
                      <a:pt x="0" y="0"/>
                      <a:pt x="21" y="18"/>
                      <a:pt x="25" y="14"/>
                    </a:cubicBezTo>
                    <a:cubicBezTo>
                      <a:pt x="33" y="7"/>
                      <a:pt x="5" y="1"/>
                      <a:pt x="4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6" name="Freeform 992"/>
              <p:cNvSpPr>
                <a:spLocks/>
              </p:cNvSpPr>
              <p:nvPr/>
            </p:nvSpPr>
            <p:spPr bwMode="auto">
              <a:xfrm>
                <a:off x="2384" y="1592"/>
                <a:ext cx="22" cy="11"/>
              </a:xfrm>
              <a:custGeom>
                <a:avLst/>
                <a:gdLst>
                  <a:gd name="T0" fmla="*/ 28 w 33"/>
                  <a:gd name="T1" fmla="*/ 9 h 17"/>
                  <a:gd name="T2" fmla="*/ 28 w 33"/>
                  <a:gd name="T3" fmla="*/ 9 h 17"/>
                  <a:gd name="T4" fmla="*/ 5 w 33"/>
                  <a:gd name="T5" fmla="*/ 12 h 17"/>
                  <a:gd name="T6" fmla="*/ 28 w 33"/>
                  <a:gd name="T7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" h="17">
                    <a:moveTo>
                      <a:pt x="28" y="9"/>
                    </a:moveTo>
                    <a:cubicBezTo>
                      <a:pt x="28" y="9"/>
                      <a:pt x="28" y="9"/>
                      <a:pt x="28" y="9"/>
                    </a:cubicBezTo>
                    <a:cubicBezTo>
                      <a:pt x="33" y="0"/>
                      <a:pt x="0" y="2"/>
                      <a:pt x="5" y="12"/>
                    </a:cubicBezTo>
                    <a:cubicBezTo>
                      <a:pt x="7" y="17"/>
                      <a:pt x="23" y="12"/>
                      <a:pt x="28" y="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7" name="Freeform 993"/>
              <p:cNvSpPr>
                <a:spLocks/>
              </p:cNvSpPr>
              <p:nvPr/>
            </p:nvSpPr>
            <p:spPr bwMode="auto">
              <a:xfrm>
                <a:off x="2309" y="1926"/>
                <a:ext cx="8" cy="11"/>
              </a:xfrm>
              <a:custGeom>
                <a:avLst/>
                <a:gdLst>
                  <a:gd name="T0" fmla="*/ 8 w 12"/>
                  <a:gd name="T1" fmla="*/ 11 h 17"/>
                  <a:gd name="T2" fmla="*/ 5 w 12"/>
                  <a:gd name="T3" fmla="*/ 1 h 17"/>
                  <a:gd name="T4" fmla="*/ 5 w 12"/>
                  <a:gd name="T5" fmla="*/ 1 h 17"/>
                  <a:gd name="T6" fmla="*/ 8 w 12"/>
                  <a:gd name="T7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7">
                    <a:moveTo>
                      <a:pt x="8" y="11"/>
                    </a:moveTo>
                    <a:cubicBezTo>
                      <a:pt x="12" y="9"/>
                      <a:pt x="7" y="2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0" y="17"/>
                      <a:pt x="8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8" name="Freeform 994"/>
              <p:cNvSpPr>
                <a:spLocks/>
              </p:cNvSpPr>
              <p:nvPr/>
            </p:nvSpPr>
            <p:spPr bwMode="auto">
              <a:xfrm>
                <a:off x="2286" y="1811"/>
                <a:ext cx="12" cy="27"/>
              </a:xfrm>
              <a:custGeom>
                <a:avLst/>
                <a:gdLst>
                  <a:gd name="T0" fmla="*/ 4 w 19"/>
                  <a:gd name="T1" fmla="*/ 25 h 41"/>
                  <a:gd name="T2" fmla="*/ 3 w 19"/>
                  <a:gd name="T3" fmla="*/ 32 h 41"/>
                  <a:gd name="T4" fmla="*/ 17 w 19"/>
                  <a:gd name="T5" fmla="*/ 41 h 41"/>
                  <a:gd name="T6" fmla="*/ 17 w 19"/>
                  <a:gd name="T7" fmla="*/ 33 h 41"/>
                  <a:gd name="T8" fmla="*/ 6 w 19"/>
                  <a:gd name="T9" fmla="*/ 6 h 41"/>
                  <a:gd name="T10" fmla="*/ 5 w 19"/>
                  <a:gd name="T11" fmla="*/ 19 h 41"/>
                  <a:gd name="T12" fmla="*/ 5 w 19"/>
                  <a:gd name="T13" fmla="*/ 20 h 41"/>
                  <a:gd name="T14" fmla="*/ 6 w 19"/>
                  <a:gd name="T15" fmla="*/ 20 h 41"/>
                  <a:gd name="T16" fmla="*/ 7 w 19"/>
                  <a:gd name="T17" fmla="*/ 22 h 41"/>
                  <a:gd name="T18" fmla="*/ 4 w 19"/>
                  <a:gd name="T19" fmla="*/ 2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41">
                    <a:moveTo>
                      <a:pt x="4" y="25"/>
                    </a:moveTo>
                    <a:cubicBezTo>
                      <a:pt x="0" y="23"/>
                      <a:pt x="3" y="31"/>
                      <a:pt x="3" y="32"/>
                    </a:cubicBezTo>
                    <a:cubicBezTo>
                      <a:pt x="4" y="33"/>
                      <a:pt x="15" y="41"/>
                      <a:pt x="17" y="41"/>
                    </a:cubicBezTo>
                    <a:cubicBezTo>
                      <a:pt x="19" y="41"/>
                      <a:pt x="17" y="34"/>
                      <a:pt x="17" y="33"/>
                    </a:cubicBezTo>
                    <a:cubicBezTo>
                      <a:pt x="15" y="27"/>
                      <a:pt x="14" y="16"/>
                      <a:pt x="6" y="6"/>
                    </a:cubicBezTo>
                    <a:cubicBezTo>
                      <a:pt x="2" y="0"/>
                      <a:pt x="5" y="14"/>
                      <a:pt x="5" y="19"/>
                    </a:cubicBezTo>
                    <a:cubicBezTo>
                      <a:pt x="5" y="19"/>
                      <a:pt x="5" y="19"/>
                      <a:pt x="5" y="20"/>
                    </a:cubicBezTo>
                    <a:cubicBezTo>
                      <a:pt x="5" y="20"/>
                      <a:pt x="5" y="20"/>
                      <a:pt x="6" y="20"/>
                    </a:cubicBezTo>
                    <a:cubicBezTo>
                      <a:pt x="6" y="21"/>
                      <a:pt x="7" y="21"/>
                      <a:pt x="7" y="22"/>
                    </a:cubicBezTo>
                    <a:cubicBezTo>
                      <a:pt x="10" y="25"/>
                      <a:pt x="10" y="29"/>
                      <a:pt x="4" y="2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69" name="Freeform 995"/>
              <p:cNvSpPr>
                <a:spLocks/>
              </p:cNvSpPr>
              <p:nvPr/>
            </p:nvSpPr>
            <p:spPr bwMode="auto">
              <a:xfrm>
                <a:off x="2299" y="1910"/>
                <a:ext cx="12" cy="29"/>
              </a:xfrm>
              <a:custGeom>
                <a:avLst/>
                <a:gdLst>
                  <a:gd name="T0" fmla="*/ 3 w 18"/>
                  <a:gd name="T1" fmla="*/ 3 h 45"/>
                  <a:gd name="T2" fmla="*/ 0 w 18"/>
                  <a:gd name="T3" fmla="*/ 36 h 45"/>
                  <a:gd name="T4" fmla="*/ 1 w 18"/>
                  <a:gd name="T5" fmla="*/ 39 h 45"/>
                  <a:gd name="T6" fmla="*/ 5 w 18"/>
                  <a:gd name="T7" fmla="*/ 1 h 45"/>
                  <a:gd name="T8" fmla="*/ 5 w 18"/>
                  <a:gd name="T9" fmla="*/ 1 h 45"/>
                  <a:gd name="T10" fmla="*/ 3 w 18"/>
                  <a:gd name="T11" fmla="*/ 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45">
                    <a:moveTo>
                      <a:pt x="3" y="3"/>
                    </a:moveTo>
                    <a:cubicBezTo>
                      <a:pt x="4" y="18"/>
                      <a:pt x="2" y="17"/>
                      <a:pt x="0" y="36"/>
                    </a:cubicBezTo>
                    <a:cubicBezTo>
                      <a:pt x="0" y="37"/>
                      <a:pt x="0" y="38"/>
                      <a:pt x="1" y="39"/>
                    </a:cubicBezTo>
                    <a:cubicBezTo>
                      <a:pt x="18" y="45"/>
                      <a:pt x="13" y="8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3" y="0"/>
                      <a:pt x="2" y="1"/>
                      <a:pt x="3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0" name="Freeform 996"/>
              <p:cNvSpPr>
                <a:spLocks/>
              </p:cNvSpPr>
              <p:nvPr/>
            </p:nvSpPr>
            <p:spPr bwMode="auto">
              <a:xfrm>
                <a:off x="2285" y="1802"/>
                <a:ext cx="22" cy="18"/>
              </a:xfrm>
              <a:custGeom>
                <a:avLst/>
                <a:gdLst>
                  <a:gd name="T0" fmla="*/ 5 w 34"/>
                  <a:gd name="T1" fmla="*/ 2 h 27"/>
                  <a:gd name="T2" fmla="*/ 4 w 34"/>
                  <a:gd name="T3" fmla="*/ 2 h 27"/>
                  <a:gd name="T4" fmla="*/ 9 w 34"/>
                  <a:gd name="T5" fmla="*/ 10 h 27"/>
                  <a:gd name="T6" fmla="*/ 24 w 34"/>
                  <a:gd name="T7" fmla="*/ 22 h 27"/>
                  <a:gd name="T8" fmla="*/ 5 w 34"/>
                  <a:gd name="T9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7">
                    <a:moveTo>
                      <a:pt x="5" y="2"/>
                    </a:moveTo>
                    <a:cubicBezTo>
                      <a:pt x="4" y="2"/>
                      <a:pt x="4" y="2"/>
                      <a:pt x="4" y="2"/>
                    </a:cubicBezTo>
                    <a:cubicBezTo>
                      <a:pt x="0" y="0"/>
                      <a:pt x="6" y="12"/>
                      <a:pt x="9" y="10"/>
                    </a:cubicBezTo>
                    <a:cubicBezTo>
                      <a:pt x="11" y="7"/>
                      <a:pt x="16" y="27"/>
                      <a:pt x="24" y="22"/>
                    </a:cubicBezTo>
                    <a:cubicBezTo>
                      <a:pt x="34" y="16"/>
                      <a:pt x="6" y="4"/>
                      <a:pt x="5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1" name="Freeform 997"/>
              <p:cNvSpPr>
                <a:spLocks/>
              </p:cNvSpPr>
              <p:nvPr/>
            </p:nvSpPr>
            <p:spPr bwMode="auto">
              <a:xfrm>
                <a:off x="2294" y="1844"/>
                <a:ext cx="11" cy="24"/>
              </a:xfrm>
              <a:custGeom>
                <a:avLst/>
                <a:gdLst>
                  <a:gd name="T0" fmla="*/ 1 w 17"/>
                  <a:gd name="T1" fmla="*/ 17 h 37"/>
                  <a:gd name="T2" fmla="*/ 1 w 17"/>
                  <a:gd name="T3" fmla="*/ 18 h 37"/>
                  <a:gd name="T4" fmla="*/ 1 w 17"/>
                  <a:gd name="T5" fmla="*/ 1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37">
                    <a:moveTo>
                      <a:pt x="1" y="17"/>
                    </a:moveTo>
                    <a:cubicBezTo>
                      <a:pt x="1" y="18"/>
                      <a:pt x="1" y="18"/>
                      <a:pt x="1" y="18"/>
                    </a:cubicBezTo>
                    <a:cubicBezTo>
                      <a:pt x="0" y="37"/>
                      <a:pt x="17" y="0"/>
                      <a:pt x="1" y="1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2" name="Freeform 998"/>
              <p:cNvSpPr>
                <a:spLocks/>
              </p:cNvSpPr>
              <p:nvPr/>
            </p:nvSpPr>
            <p:spPr bwMode="auto">
              <a:xfrm>
                <a:off x="2296" y="1843"/>
                <a:ext cx="11" cy="12"/>
              </a:xfrm>
              <a:custGeom>
                <a:avLst/>
                <a:gdLst>
                  <a:gd name="T0" fmla="*/ 7 w 16"/>
                  <a:gd name="T1" fmla="*/ 14 h 19"/>
                  <a:gd name="T2" fmla="*/ 15 w 16"/>
                  <a:gd name="T3" fmla="*/ 15 h 19"/>
                  <a:gd name="T4" fmla="*/ 9 w 16"/>
                  <a:gd name="T5" fmla="*/ 2 h 19"/>
                  <a:gd name="T6" fmla="*/ 9 w 16"/>
                  <a:gd name="T7" fmla="*/ 2 h 19"/>
                  <a:gd name="T8" fmla="*/ 9 w 16"/>
                  <a:gd name="T9" fmla="*/ 10 h 19"/>
                  <a:gd name="T10" fmla="*/ 7 w 16"/>
                  <a:gd name="T11" fmla="*/ 14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19">
                    <a:moveTo>
                      <a:pt x="7" y="14"/>
                    </a:moveTo>
                    <a:cubicBezTo>
                      <a:pt x="9" y="17"/>
                      <a:pt x="16" y="19"/>
                      <a:pt x="15" y="15"/>
                    </a:cubicBezTo>
                    <a:cubicBezTo>
                      <a:pt x="13" y="10"/>
                      <a:pt x="14" y="7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5" y="0"/>
                      <a:pt x="8" y="8"/>
                      <a:pt x="9" y="10"/>
                    </a:cubicBezTo>
                    <a:cubicBezTo>
                      <a:pt x="12" y="14"/>
                      <a:pt x="0" y="5"/>
                      <a:pt x="7" y="1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3" name="Freeform 999"/>
              <p:cNvSpPr>
                <a:spLocks/>
              </p:cNvSpPr>
              <p:nvPr/>
            </p:nvSpPr>
            <p:spPr bwMode="auto">
              <a:xfrm>
                <a:off x="2275" y="1782"/>
                <a:ext cx="22" cy="20"/>
              </a:xfrm>
              <a:custGeom>
                <a:avLst/>
                <a:gdLst>
                  <a:gd name="T0" fmla="*/ 31 w 34"/>
                  <a:gd name="T1" fmla="*/ 25 h 30"/>
                  <a:gd name="T2" fmla="*/ 6 w 34"/>
                  <a:gd name="T3" fmla="*/ 3 h 30"/>
                  <a:gd name="T4" fmla="*/ 6 w 34"/>
                  <a:gd name="T5" fmla="*/ 2 h 30"/>
                  <a:gd name="T6" fmla="*/ 31 w 34"/>
                  <a:gd name="T7" fmla="*/ 2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4" h="30">
                    <a:moveTo>
                      <a:pt x="31" y="25"/>
                    </a:moveTo>
                    <a:cubicBezTo>
                      <a:pt x="34" y="23"/>
                      <a:pt x="9" y="3"/>
                      <a:pt x="6" y="3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0" y="0"/>
                      <a:pt x="23" y="30"/>
                      <a:pt x="31" y="2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4" name="Freeform 1000"/>
              <p:cNvSpPr>
                <a:spLocks/>
              </p:cNvSpPr>
              <p:nvPr/>
            </p:nvSpPr>
            <p:spPr bwMode="auto">
              <a:xfrm>
                <a:off x="2277" y="1739"/>
                <a:ext cx="13" cy="21"/>
              </a:xfrm>
              <a:custGeom>
                <a:avLst/>
                <a:gdLst>
                  <a:gd name="T0" fmla="*/ 4 w 20"/>
                  <a:gd name="T1" fmla="*/ 23 h 33"/>
                  <a:gd name="T2" fmla="*/ 9 w 20"/>
                  <a:gd name="T3" fmla="*/ 25 h 33"/>
                  <a:gd name="T4" fmla="*/ 8 w 20"/>
                  <a:gd name="T5" fmla="*/ 24 h 33"/>
                  <a:gd name="T6" fmla="*/ 8 w 20"/>
                  <a:gd name="T7" fmla="*/ 24 h 33"/>
                  <a:gd name="T8" fmla="*/ 9 w 20"/>
                  <a:gd name="T9" fmla="*/ 25 h 33"/>
                  <a:gd name="T10" fmla="*/ 12 w 20"/>
                  <a:gd name="T11" fmla="*/ 26 h 33"/>
                  <a:gd name="T12" fmla="*/ 17 w 20"/>
                  <a:gd name="T13" fmla="*/ 7 h 33"/>
                  <a:gd name="T14" fmla="*/ 17 w 20"/>
                  <a:gd name="T15" fmla="*/ 7 h 33"/>
                  <a:gd name="T16" fmla="*/ 12 w 20"/>
                  <a:gd name="T17" fmla="*/ 9 h 33"/>
                  <a:gd name="T18" fmla="*/ 12 w 20"/>
                  <a:gd name="T19" fmla="*/ 13 h 33"/>
                  <a:gd name="T20" fmla="*/ 12 w 20"/>
                  <a:gd name="T21" fmla="*/ 14 h 33"/>
                  <a:gd name="T22" fmla="*/ 10 w 20"/>
                  <a:gd name="T23" fmla="*/ 6 h 33"/>
                  <a:gd name="T24" fmla="*/ 9 w 20"/>
                  <a:gd name="T25" fmla="*/ 12 h 33"/>
                  <a:gd name="T26" fmla="*/ 7 w 20"/>
                  <a:gd name="T27" fmla="*/ 13 h 33"/>
                  <a:gd name="T28" fmla="*/ 4 w 20"/>
                  <a:gd name="T29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33">
                    <a:moveTo>
                      <a:pt x="4" y="23"/>
                    </a:moveTo>
                    <a:cubicBezTo>
                      <a:pt x="4" y="22"/>
                      <a:pt x="7" y="24"/>
                      <a:pt x="9" y="25"/>
                    </a:cubicBezTo>
                    <a:cubicBezTo>
                      <a:pt x="9" y="25"/>
                      <a:pt x="9" y="25"/>
                      <a:pt x="8" y="24"/>
                    </a:cubicBezTo>
                    <a:cubicBezTo>
                      <a:pt x="8" y="24"/>
                      <a:pt x="8" y="24"/>
                      <a:pt x="8" y="24"/>
                    </a:cubicBezTo>
                    <a:cubicBezTo>
                      <a:pt x="8" y="23"/>
                      <a:pt x="9" y="25"/>
                      <a:pt x="9" y="25"/>
                    </a:cubicBezTo>
                    <a:cubicBezTo>
                      <a:pt x="10" y="26"/>
                      <a:pt x="11" y="27"/>
                      <a:pt x="12" y="26"/>
                    </a:cubicBezTo>
                    <a:cubicBezTo>
                      <a:pt x="19" y="20"/>
                      <a:pt x="20" y="17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5" y="6"/>
                      <a:pt x="13" y="7"/>
                      <a:pt x="12" y="9"/>
                    </a:cubicBezTo>
                    <a:cubicBezTo>
                      <a:pt x="12" y="10"/>
                      <a:pt x="12" y="12"/>
                      <a:pt x="12" y="13"/>
                    </a:cubicBezTo>
                    <a:cubicBezTo>
                      <a:pt x="12" y="13"/>
                      <a:pt x="12" y="14"/>
                      <a:pt x="12" y="14"/>
                    </a:cubicBezTo>
                    <a:cubicBezTo>
                      <a:pt x="11" y="14"/>
                      <a:pt x="10" y="7"/>
                      <a:pt x="10" y="6"/>
                    </a:cubicBezTo>
                    <a:cubicBezTo>
                      <a:pt x="10" y="2"/>
                      <a:pt x="8" y="7"/>
                      <a:pt x="9" y="12"/>
                    </a:cubicBezTo>
                    <a:cubicBezTo>
                      <a:pt x="11" y="16"/>
                      <a:pt x="8" y="17"/>
                      <a:pt x="7" y="13"/>
                    </a:cubicBezTo>
                    <a:cubicBezTo>
                      <a:pt x="0" y="0"/>
                      <a:pt x="3" y="33"/>
                      <a:pt x="4" y="2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5" name="Freeform 1001"/>
              <p:cNvSpPr>
                <a:spLocks/>
              </p:cNvSpPr>
              <p:nvPr/>
            </p:nvSpPr>
            <p:spPr bwMode="auto">
              <a:xfrm>
                <a:off x="2290" y="1867"/>
                <a:ext cx="23" cy="28"/>
              </a:xfrm>
              <a:custGeom>
                <a:avLst/>
                <a:gdLst>
                  <a:gd name="T0" fmla="*/ 15 w 35"/>
                  <a:gd name="T1" fmla="*/ 1 h 43"/>
                  <a:gd name="T2" fmla="*/ 15 w 35"/>
                  <a:gd name="T3" fmla="*/ 1 h 43"/>
                  <a:gd name="T4" fmla="*/ 15 w 35"/>
                  <a:gd name="T5" fmla="*/ 7 h 43"/>
                  <a:gd name="T6" fmla="*/ 12 w 35"/>
                  <a:gd name="T7" fmla="*/ 27 h 43"/>
                  <a:gd name="T8" fmla="*/ 15 w 35"/>
                  <a:gd name="T9" fmla="*/ 42 h 43"/>
                  <a:gd name="T10" fmla="*/ 20 w 35"/>
                  <a:gd name="T11" fmla="*/ 38 h 43"/>
                  <a:gd name="T12" fmla="*/ 21 w 35"/>
                  <a:gd name="T13" fmla="*/ 18 h 43"/>
                  <a:gd name="T14" fmla="*/ 26 w 35"/>
                  <a:gd name="T15" fmla="*/ 28 h 43"/>
                  <a:gd name="T16" fmla="*/ 31 w 35"/>
                  <a:gd name="T17" fmla="*/ 26 h 43"/>
                  <a:gd name="T18" fmla="*/ 26 w 35"/>
                  <a:gd name="T19" fmla="*/ 13 h 43"/>
                  <a:gd name="T20" fmla="*/ 15 w 35"/>
                  <a:gd name="T21" fmla="*/ 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" h="43">
                    <a:moveTo>
                      <a:pt x="15" y="1"/>
                    </a:moveTo>
                    <a:cubicBezTo>
                      <a:pt x="15" y="1"/>
                      <a:pt x="15" y="1"/>
                      <a:pt x="15" y="1"/>
                    </a:cubicBezTo>
                    <a:cubicBezTo>
                      <a:pt x="14" y="0"/>
                      <a:pt x="16" y="6"/>
                      <a:pt x="15" y="7"/>
                    </a:cubicBezTo>
                    <a:cubicBezTo>
                      <a:pt x="0" y="18"/>
                      <a:pt x="22" y="11"/>
                      <a:pt x="12" y="27"/>
                    </a:cubicBezTo>
                    <a:cubicBezTo>
                      <a:pt x="10" y="30"/>
                      <a:pt x="13" y="39"/>
                      <a:pt x="15" y="42"/>
                    </a:cubicBezTo>
                    <a:cubicBezTo>
                      <a:pt x="16" y="43"/>
                      <a:pt x="19" y="39"/>
                      <a:pt x="20" y="38"/>
                    </a:cubicBezTo>
                    <a:cubicBezTo>
                      <a:pt x="23" y="32"/>
                      <a:pt x="9" y="24"/>
                      <a:pt x="21" y="18"/>
                    </a:cubicBezTo>
                    <a:cubicBezTo>
                      <a:pt x="30" y="14"/>
                      <a:pt x="25" y="25"/>
                      <a:pt x="26" y="28"/>
                    </a:cubicBezTo>
                    <a:cubicBezTo>
                      <a:pt x="26" y="30"/>
                      <a:pt x="31" y="26"/>
                      <a:pt x="31" y="26"/>
                    </a:cubicBezTo>
                    <a:cubicBezTo>
                      <a:pt x="35" y="24"/>
                      <a:pt x="26" y="15"/>
                      <a:pt x="26" y="13"/>
                    </a:cubicBezTo>
                    <a:cubicBezTo>
                      <a:pt x="25" y="9"/>
                      <a:pt x="17" y="7"/>
                      <a:pt x="15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6" name="Freeform 1002"/>
              <p:cNvSpPr>
                <a:spLocks/>
              </p:cNvSpPr>
              <p:nvPr/>
            </p:nvSpPr>
            <p:spPr bwMode="auto">
              <a:xfrm>
                <a:off x="2282" y="1754"/>
                <a:ext cx="1" cy="1"/>
              </a:xfrm>
              <a:custGeom>
                <a:avLst/>
                <a:gdLst>
                  <a:gd name="T0" fmla="*/ 0 w 1"/>
                  <a:gd name="T1" fmla="*/ 1 h 2"/>
                  <a:gd name="T2" fmla="*/ 0 w 1"/>
                  <a:gd name="T3" fmla="*/ 1 h 2"/>
                  <a:gd name="T4" fmla="*/ 1 w 1"/>
                  <a:gd name="T5" fmla="*/ 2 h 2"/>
                  <a:gd name="T6" fmla="*/ 1 w 1"/>
                  <a:gd name="T7" fmla="*/ 2 h 2"/>
                  <a:gd name="T8" fmla="*/ 0 w 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7" name="Freeform 1003"/>
              <p:cNvSpPr>
                <a:spLocks/>
              </p:cNvSpPr>
              <p:nvPr/>
            </p:nvSpPr>
            <p:spPr bwMode="auto">
              <a:xfrm>
                <a:off x="2302" y="1857"/>
                <a:ext cx="23" cy="21"/>
              </a:xfrm>
              <a:custGeom>
                <a:avLst/>
                <a:gdLst>
                  <a:gd name="T0" fmla="*/ 9 w 35"/>
                  <a:gd name="T1" fmla="*/ 7 h 33"/>
                  <a:gd name="T2" fmla="*/ 21 w 35"/>
                  <a:gd name="T3" fmla="*/ 33 h 33"/>
                  <a:gd name="T4" fmla="*/ 14 w 35"/>
                  <a:gd name="T5" fmla="*/ 3 h 33"/>
                  <a:gd name="T6" fmla="*/ 14 w 35"/>
                  <a:gd name="T7" fmla="*/ 3 h 33"/>
                  <a:gd name="T8" fmla="*/ 9 w 35"/>
                  <a:gd name="T9" fmla="*/ 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33">
                    <a:moveTo>
                      <a:pt x="9" y="7"/>
                    </a:moveTo>
                    <a:cubicBezTo>
                      <a:pt x="0" y="22"/>
                      <a:pt x="19" y="33"/>
                      <a:pt x="21" y="33"/>
                    </a:cubicBezTo>
                    <a:cubicBezTo>
                      <a:pt x="35" y="28"/>
                      <a:pt x="23" y="6"/>
                      <a:pt x="14" y="3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0"/>
                      <a:pt x="10" y="5"/>
                      <a:pt x="9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8" name="Freeform 1004"/>
              <p:cNvSpPr>
                <a:spLocks/>
              </p:cNvSpPr>
              <p:nvPr/>
            </p:nvSpPr>
            <p:spPr bwMode="auto">
              <a:xfrm>
                <a:off x="2307" y="1846"/>
                <a:ext cx="8" cy="13"/>
              </a:xfrm>
              <a:custGeom>
                <a:avLst/>
                <a:gdLst>
                  <a:gd name="T0" fmla="*/ 11 w 12"/>
                  <a:gd name="T1" fmla="*/ 10 h 20"/>
                  <a:gd name="T2" fmla="*/ 8 w 12"/>
                  <a:gd name="T3" fmla="*/ 1 h 20"/>
                  <a:gd name="T4" fmla="*/ 8 w 12"/>
                  <a:gd name="T5" fmla="*/ 1 h 20"/>
                  <a:gd name="T6" fmla="*/ 11 w 12"/>
                  <a:gd name="T7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20">
                    <a:moveTo>
                      <a:pt x="11" y="10"/>
                    </a:moveTo>
                    <a:cubicBezTo>
                      <a:pt x="12" y="7"/>
                      <a:pt x="10" y="3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0" y="0"/>
                      <a:pt x="7" y="20"/>
                      <a:pt x="11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79" name="Freeform 1005"/>
              <p:cNvSpPr>
                <a:spLocks/>
              </p:cNvSpPr>
              <p:nvPr/>
            </p:nvSpPr>
            <p:spPr bwMode="auto">
              <a:xfrm>
                <a:off x="2280" y="1724"/>
                <a:ext cx="9" cy="10"/>
              </a:xfrm>
              <a:custGeom>
                <a:avLst/>
                <a:gdLst>
                  <a:gd name="T0" fmla="*/ 13 w 13"/>
                  <a:gd name="T1" fmla="*/ 4 h 15"/>
                  <a:gd name="T2" fmla="*/ 12 w 13"/>
                  <a:gd name="T3" fmla="*/ 3 h 15"/>
                  <a:gd name="T4" fmla="*/ 4 w 13"/>
                  <a:gd name="T5" fmla="*/ 2 h 15"/>
                  <a:gd name="T6" fmla="*/ 13 w 13"/>
                  <a:gd name="T7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5">
                    <a:moveTo>
                      <a:pt x="13" y="4"/>
                    </a:moveTo>
                    <a:cubicBezTo>
                      <a:pt x="12" y="3"/>
                      <a:pt x="12" y="3"/>
                      <a:pt x="12" y="3"/>
                    </a:cubicBezTo>
                    <a:cubicBezTo>
                      <a:pt x="11" y="1"/>
                      <a:pt x="6" y="0"/>
                      <a:pt x="4" y="2"/>
                    </a:cubicBezTo>
                    <a:cubicBezTo>
                      <a:pt x="0" y="8"/>
                      <a:pt x="13" y="15"/>
                      <a:pt x="13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0" name="Freeform 1006"/>
              <p:cNvSpPr>
                <a:spLocks/>
              </p:cNvSpPr>
              <p:nvPr/>
            </p:nvSpPr>
            <p:spPr bwMode="auto">
              <a:xfrm>
                <a:off x="3134" y="831"/>
                <a:ext cx="48" cy="26"/>
              </a:xfrm>
              <a:custGeom>
                <a:avLst/>
                <a:gdLst>
                  <a:gd name="T0" fmla="*/ 42 w 73"/>
                  <a:gd name="T1" fmla="*/ 38 h 40"/>
                  <a:gd name="T2" fmla="*/ 43 w 73"/>
                  <a:gd name="T3" fmla="*/ 37 h 40"/>
                  <a:gd name="T4" fmla="*/ 57 w 73"/>
                  <a:gd name="T5" fmla="*/ 30 h 40"/>
                  <a:gd name="T6" fmla="*/ 47 w 73"/>
                  <a:gd name="T7" fmla="*/ 22 h 40"/>
                  <a:gd name="T8" fmla="*/ 39 w 73"/>
                  <a:gd name="T9" fmla="*/ 12 h 40"/>
                  <a:gd name="T10" fmla="*/ 34 w 73"/>
                  <a:gd name="T11" fmla="*/ 19 h 40"/>
                  <a:gd name="T12" fmla="*/ 28 w 73"/>
                  <a:gd name="T13" fmla="*/ 10 h 40"/>
                  <a:gd name="T14" fmla="*/ 22 w 73"/>
                  <a:gd name="T15" fmla="*/ 0 h 40"/>
                  <a:gd name="T16" fmla="*/ 42 w 73"/>
                  <a:gd name="T17" fmla="*/ 3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3" h="40">
                    <a:moveTo>
                      <a:pt x="42" y="38"/>
                    </a:moveTo>
                    <a:cubicBezTo>
                      <a:pt x="43" y="37"/>
                      <a:pt x="43" y="37"/>
                      <a:pt x="43" y="37"/>
                    </a:cubicBezTo>
                    <a:cubicBezTo>
                      <a:pt x="53" y="40"/>
                      <a:pt x="52" y="31"/>
                      <a:pt x="57" y="30"/>
                    </a:cubicBezTo>
                    <a:cubicBezTo>
                      <a:pt x="73" y="27"/>
                      <a:pt x="53" y="27"/>
                      <a:pt x="47" y="22"/>
                    </a:cubicBezTo>
                    <a:cubicBezTo>
                      <a:pt x="46" y="21"/>
                      <a:pt x="43" y="9"/>
                      <a:pt x="39" y="12"/>
                    </a:cubicBezTo>
                    <a:cubicBezTo>
                      <a:pt x="38" y="14"/>
                      <a:pt x="39" y="22"/>
                      <a:pt x="34" y="19"/>
                    </a:cubicBezTo>
                    <a:cubicBezTo>
                      <a:pt x="31" y="17"/>
                      <a:pt x="33" y="12"/>
                      <a:pt x="28" y="10"/>
                    </a:cubicBezTo>
                    <a:cubicBezTo>
                      <a:pt x="24" y="9"/>
                      <a:pt x="24" y="0"/>
                      <a:pt x="22" y="0"/>
                    </a:cubicBezTo>
                    <a:cubicBezTo>
                      <a:pt x="0" y="0"/>
                      <a:pt x="30" y="35"/>
                      <a:pt x="42" y="3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1" name="Freeform 1007"/>
              <p:cNvSpPr>
                <a:spLocks/>
              </p:cNvSpPr>
              <p:nvPr/>
            </p:nvSpPr>
            <p:spPr bwMode="auto">
              <a:xfrm>
                <a:off x="3137" y="849"/>
                <a:ext cx="35" cy="30"/>
              </a:xfrm>
              <a:custGeom>
                <a:avLst/>
                <a:gdLst>
                  <a:gd name="T0" fmla="*/ 0 w 53"/>
                  <a:gd name="T1" fmla="*/ 43 h 46"/>
                  <a:gd name="T2" fmla="*/ 0 w 53"/>
                  <a:gd name="T3" fmla="*/ 45 h 46"/>
                  <a:gd name="T4" fmla="*/ 10 w 53"/>
                  <a:gd name="T5" fmla="*/ 43 h 46"/>
                  <a:gd name="T6" fmla="*/ 0 w 53"/>
                  <a:gd name="T7" fmla="*/ 4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" h="46">
                    <a:moveTo>
                      <a:pt x="0" y="43"/>
                    </a:moveTo>
                    <a:cubicBezTo>
                      <a:pt x="0" y="45"/>
                      <a:pt x="0" y="45"/>
                      <a:pt x="0" y="45"/>
                    </a:cubicBezTo>
                    <a:cubicBezTo>
                      <a:pt x="3" y="46"/>
                      <a:pt x="6" y="43"/>
                      <a:pt x="10" y="43"/>
                    </a:cubicBezTo>
                    <a:cubicBezTo>
                      <a:pt x="39" y="40"/>
                      <a:pt x="53" y="0"/>
                      <a:pt x="0" y="4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2" name="Freeform 1008"/>
              <p:cNvSpPr>
                <a:spLocks/>
              </p:cNvSpPr>
              <p:nvPr/>
            </p:nvSpPr>
            <p:spPr bwMode="auto">
              <a:xfrm>
                <a:off x="3198" y="866"/>
                <a:ext cx="16" cy="18"/>
              </a:xfrm>
              <a:custGeom>
                <a:avLst/>
                <a:gdLst>
                  <a:gd name="T0" fmla="*/ 20 w 25"/>
                  <a:gd name="T1" fmla="*/ 8 h 27"/>
                  <a:gd name="T2" fmla="*/ 5 w 25"/>
                  <a:gd name="T3" fmla="*/ 25 h 27"/>
                  <a:gd name="T4" fmla="*/ 5 w 25"/>
                  <a:gd name="T5" fmla="*/ 25 h 27"/>
                  <a:gd name="T6" fmla="*/ 20 w 25"/>
                  <a:gd name="T7" fmla="*/ 8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27">
                    <a:moveTo>
                      <a:pt x="20" y="8"/>
                    </a:moveTo>
                    <a:cubicBezTo>
                      <a:pt x="14" y="0"/>
                      <a:pt x="0" y="16"/>
                      <a:pt x="5" y="25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15" y="27"/>
                      <a:pt x="25" y="15"/>
                      <a:pt x="20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3" name="Freeform 1009"/>
              <p:cNvSpPr>
                <a:spLocks/>
              </p:cNvSpPr>
              <p:nvPr/>
            </p:nvSpPr>
            <p:spPr bwMode="auto">
              <a:xfrm>
                <a:off x="3121" y="842"/>
                <a:ext cx="31" cy="9"/>
              </a:xfrm>
              <a:custGeom>
                <a:avLst/>
                <a:gdLst>
                  <a:gd name="T0" fmla="*/ 29 w 47"/>
                  <a:gd name="T1" fmla="*/ 14 h 14"/>
                  <a:gd name="T2" fmla="*/ 29 w 47"/>
                  <a:gd name="T3" fmla="*/ 14 h 14"/>
                  <a:gd name="T4" fmla="*/ 23 w 47"/>
                  <a:gd name="T5" fmla="*/ 3 h 14"/>
                  <a:gd name="T6" fmla="*/ 29 w 47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14">
                    <a:moveTo>
                      <a:pt x="29" y="14"/>
                    </a:moveTo>
                    <a:cubicBezTo>
                      <a:pt x="29" y="14"/>
                      <a:pt x="29" y="14"/>
                      <a:pt x="29" y="14"/>
                    </a:cubicBezTo>
                    <a:cubicBezTo>
                      <a:pt x="47" y="13"/>
                      <a:pt x="27" y="8"/>
                      <a:pt x="23" y="3"/>
                    </a:cubicBezTo>
                    <a:cubicBezTo>
                      <a:pt x="20" y="0"/>
                      <a:pt x="0" y="8"/>
                      <a:pt x="29" y="1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4" name="Freeform 1010"/>
              <p:cNvSpPr>
                <a:spLocks/>
              </p:cNvSpPr>
              <p:nvPr/>
            </p:nvSpPr>
            <p:spPr bwMode="auto">
              <a:xfrm>
                <a:off x="3093" y="848"/>
                <a:ext cx="57" cy="36"/>
              </a:xfrm>
              <a:custGeom>
                <a:avLst/>
                <a:gdLst>
                  <a:gd name="T0" fmla="*/ 41 w 86"/>
                  <a:gd name="T1" fmla="*/ 7 h 55"/>
                  <a:gd name="T2" fmla="*/ 30 w 86"/>
                  <a:gd name="T3" fmla="*/ 11 h 55"/>
                  <a:gd name="T4" fmla="*/ 31 w 86"/>
                  <a:gd name="T5" fmla="*/ 18 h 55"/>
                  <a:gd name="T6" fmla="*/ 9 w 86"/>
                  <a:gd name="T7" fmla="*/ 20 h 55"/>
                  <a:gd name="T8" fmla="*/ 18 w 86"/>
                  <a:gd name="T9" fmla="*/ 26 h 55"/>
                  <a:gd name="T10" fmla="*/ 0 w 86"/>
                  <a:gd name="T11" fmla="*/ 30 h 55"/>
                  <a:gd name="T12" fmla="*/ 32 w 86"/>
                  <a:gd name="T13" fmla="*/ 51 h 55"/>
                  <a:gd name="T14" fmla="*/ 32 w 86"/>
                  <a:gd name="T15" fmla="*/ 52 h 55"/>
                  <a:gd name="T16" fmla="*/ 42 w 86"/>
                  <a:gd name="T17" fmla="*/ 53 h 55"/>
                  <a:gd name="T18" fmla="*/ 84 w 86"/>
                  <a:gd name="T19" fmla="*/ 25 h 55"/>
                  <a:gd name="T20" fmla="*/ 85 w 86"/>
                  <a:gd name="T21" fmla="*/ 20 h 55"/>
                  <a:gd name="T22" fmla="*/ 75 w 86"/>
                  <a:gd name="T23" fmla="*/ 21 h 55"/>
                  <a:gd name="T24" fmla="*/ 62 w 86"/>
                  <a:gd name="T25" fmla="*/ 17 h 55"/>
                  <a:gd name="T26" fmla="*/ 61 w 86"/>
                  <a:gd name="T27" fmla="*/ 19 h 55"/>
                  <a:gd name="T28" fmla="*/ 60 w 86"/>
                  <a:gd name="T29" fmla="*/ 22 h 55"/>
                  <a:gd name="T30" fmla="*/ 46 w 86"/>
                  <a:gd name="T31" fmla="*/ 9 h 55"/>
                  <a:gd name="T32" fmla="*/ 41 w 86"/>
                  <a:gd name="T33" fmla="*/ 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" h="55">
                    <a:moveTo>
                      <a:pt x="41" y="7"/>
                    </a:moveTo>
                    <a:cubicBezTo>
                      <a:pt x="39" y="9"/>
                      <a:pt x="28" y="9"/>
                      <a:pt x="30" y="11"/>
                    </a:cubicBezTo>
                    <a:cubicBezTo>
                      <a:pt x="32" y="14"/>
                      <a:pt x="38" y="15"/>
                      <a:pt x="31" y="18"/>
                    </a:cubicBezTo>
                    <a:cubicBezTo>
                      <a:pt x="31" y="18"/>
                      <a:pt x="11" y="11"/>
                      <a:pt x="9" y="20"/>
                    </a:cubicBezTo>
                    <a:cubicBezTo>
                      <a:pt x="9" y="24"/>
                      <a:pt x="20" y="24"/>
                      <a:pt x="18" y="26"/>
                    </a:cubicBezTo>
                    <a:cubicBezTo>
                      <a:pt x="15" y="29"/>
                      <a:pt x="0" y="27"/>
                      <a:pt x="0" y="30"/>
                    </a:cubicBezTo>
                    <a:cubicBezTo>
                      <a:pt x="3" y="39"/>
                      <a:pt x="26" y="41"/>
                      <a:pt x="32" y="51"/>
                    </a:cubicBezTo>
                    <a:cubicBezTo>
                      <a:pt x="32" y="52"/>
                      <a:pt x="32" y="52"/>
                      <a:pt x="32" y="52"/>
                    </a:cubicBezTo>
                    <a:cubicBezTo>
                      <a:pt x="34" y="55"/>
                      <a:pt x="39" y="54"/>
                      <a:pt x="42" y="53"/>
                    </a:cubicBezTo>
                    <a:cubicBezTo>
                      <a:pt x="62" y="49"/>
                      <a:pt x="68" y="33"/>
                      <a:pt x="84" y="25"/>
                    </a:cubicBezTo>
                    <a:cubicBezTo>
                      <a:pt x="85" y="24"/>
                      <a:pt x="86" y="22"/>
                      <a:pt x="85" y="20"/>
                    </a:cubicBezTo>
                    <a:cubicBezTo>
                      <a:pt x="81" y="12"/>
                      <a:pt x="78" y="24"/>
                      <a:pt x="75" y="21"/>
                    </a:cubicBezTo>
                    <a:cubicBezTo>
                      <a:pt x="70" y="17"/>
                      <a:pt x="76" y="6"/>
                      <a:pt x="62" y="17"/>
                    </a:cubicBezTo>
                    <a:cubicBezTo>
                      <a:pt x="61" y="17"/>
                      <a:pt x="61" y="18"/>
                      <a:pt x="61" y="19"/>
                    </a:cubicBezTo>
                    <a:cubicBezTo>
                      <a:pt x="60" y="20"/>
                      <a:pt x="63" y="23"/>
                      <a:pt x="60" y="22"/>
                    </a:cubicBezTo>
                    <a:cubicBezTo>
                      <a:pt x="46" y="21"/>
                      <a:pt x="56" y="3"/>
                      <a:pt x="46" y="9"/>
                    </a:cubicBezTo>
                    <a:cubicBezTo>
                      <a:pt x="42" y="12"/>
                      <a:pt x="46" y="0"/>
                      <a:pt x="41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5" name="Freeform 1011"/>
              <p:cNvSpPr>
                <a:spLocks/>
              </p:cNvSpPr>
              <p:nvPr/>
            </p:nvSpPr>
            <p:spPr bwMode="auto">
              <a:xfrm>
                <a:off x="3180" y="834"/>
                <a:ext cx="40" cy="24"/>
              </a:xfrm>
              <a:custGeom>
                <a:avLst/>
                <a:gdLst>
                  <a:gd name="T0" fmla="*/ 23 w 61"/>
                  <a:gd name="T1" fmla="*/ 32 h 36"/>
                  <a:gd name="T2" fmla="*/ 24 w 61"/>
                  <a:gd name="T3" fmla="*/ 32 h 36"/>
                  <a:gd name="T4" fmla="*/ 32 w 61"/>
                  <a:gd name="T5" fmla="*/ 24 h 36"/>
                  <a:gd name="T6" fmla="*/ 51 w 61"/>
                  <a:gd name="T7" fmla="*/ 32 h 36"/>
                  <a:gd name="T8" fmla="*/ 50 w 61"/>
                  <a:gd name="T9" fmla="*/ 23 h 36"/>
                  <a:gd name="T10" fmla="*/ 48 w 61"/>
                  <a:gd name="T11" fmla="*/ 4 h 36"/>
                  <a:gd name="T12" fmla="*/ 23 w 61"/>
                  <a:gd name="T13" fmla="*/ 3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36">
                    <a:moveTo>
                      <a:pt x="23" y="32"/>
                    </a:moveTo>
                    <a:cubicBezTo>
                      <a:pt x="24" y="32"/>
                      <a:pt x="24" y="32"/>
                      <a:pt x="24" y="32"/>
                    </a:cubicBezTo>
                    <a:cubicBezTo>
                      <a:pt x="29" y="32"/>
                      <a:pt x="30" y="24"/>
                      <a:pt x="32" y="24"/>
                    </a:cubicBezTo>
                    <a:cubicBezTo>
                      <a:pt x="35" y="24"/>
                      <a:pt x="30" y="36"/>
                      <a:pt x="51" y="32"/>
                    </a:cubicBezTo>
                    <a:cubicBezTo>
                      <a:pt x="54" y="32"/>
                      <a:pt x="50" y="24"/>
                      <a:pt x="50" y="23"/>
                    </a:cubicBezTo>
                    <a:cubicBezTo>
                      <a:pt x="50" y="16"/>
                      <a:pt x="61" y="6"/>
                      <a:pt x="48" y="4"/>
                    </a:cubicBezTo>
                    <a:cubicBezTo>
                      <a:pt x="30" y="0"/>
                      <a:pt x="0" y="26"/>
                      <a:pt x="23" y="3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6" name="Freeform 1012"/>
              <p:cNvSpPr>
                <a:spLocks/>
              </p:cNvSpPr>
              <p:nvPr/>
            </p:nvSpPr>
            <p:spPr bwMode="auto">
              <a:xfrm>
                <a:off x="3267" y="820"/>
                <a:ext cx="14" cy="15"/>
              </a:xfrm>
              <a:custGeom>
                <a:avLst/>
                <a:gdLst>
                  <a:gd name="T0" fmla="*/ 6 w 21"/>
                  <a:gd name="T1" fmla="*/ 18 h 23"/>
                  <a:gd name="T2" fmla="*/ 16 w 21"/>
                  <a:gd name="T3" fmla="*/ 4 h 23"/>
                  <a:gd name="T4" fmla="*/ 6 w 21"/>
                  <a:gd name="T5" fmla="*/ 1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23">
                    <a:moveTo>
                      <a:pt x="6" y="18"/>
                    </a:moveTo>
                    <a:cubicBezTo>
                      <a:pt x="12" y="23"/>
                      <a:pt x="21" y="6"/>
                      <a:pt x="16" y="4"/>
                    </a:cubicBezTo>
                    <a:cubicBezTo>
                      <a:pt x="4" y="0"/>
                      <a:pt x="0" y="4"/>
                      <a:pt x="6" y="1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7" name="Freeform 1013"/>
              <p:cNvSpPr>
                <a:spLocks/>
              </p:cNvSpPr>
              <p:nvPr/>
            </p:nvSpPr>
            <p:spPr bwMode="auto">
              <a:xfrm>
                <a:off x="3111" y="831"/>
                <a:ext cx="18" cy="22"/>
              </a:xfrm>
              <a:custGeom>
                <a:avLst/>
                <a:gdLst>
                  <a:gd name="T0" fmla="*/ 8 w 27"/>
                  <a:gd name="T1" fmla="*/ 26 h 34"/>
                  <a:gd name="T2" fmla="*/ 8 w 27"/>
                  <a:gd name="T3" fmla="*/ 26 h 34"/>
                  <a:gd name="T4" fmla="*/ 18 w 27"/>
                  <a:gd name="T5" fmla="*/ 5 h 34"/>
                  <a:gd name="T6" fmla="*/ 10 w 27"/>
                  <a:gd name="T7" fmla="*/ 19 h 34"/>
                  <a:gd name="T8" fmla="*/ 0 w 27"/>
                  <a:gd name="T9" fmla="*/ 20 h 34"/>
                  <a:gd name="T10" fmla="*/ 8 w 27"/>
                  <a:gd name="T11" fmla="*/ 2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34">
                    <a:moveTo>
                      <a:pt x="8" y="26"/>
                    </a:moveTo>
                    <a:cubicBezTo>
                      <a:pt x="8" y="26"/>
                      <a:pt x="8" y="26"/>
                      <a:pt x="8" y="26"/>
                    </a:cubicBezTo>
                    <a:cubicBezTo>
                      <a:pt x="12" y="34"/>
                      <a:pt x="27" y="11"/>
                      <a:pt x="18" y="5"/>
                    </a:cubicBezTo>
                    <a:cubicBezTo>
                      <a:pt x="8" y="0"/>
                      <a:pt x="10" y="16"/>
                      <a:pt x="10" y="19"/>
                    </a:cubicBezTo>
                    <a:cubicBezTo>
                      <a:pt x="9" y="19"/>
                      <a:pt x="0" y="15"/>
                      <a:pt x="0" y="20"/>
                    </a:cubicBezTo>
                    <a:cubicBezTo>
                      <a:pt x="0" y="21"/>
                      <a:pt x="7" y="24"/>
                      <a:pt x="8" y="2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8" name="Freeform 1014"/>
              <p:cNvSpPr>
                <a:spLocks/>
              </p:cNvSpPr>
              <p:nvPr/>
            </p:nvSpPr>
            <p:spPr bwMode="auto">
              <a:xfrm>
                <a:off x="3210" y="854"/>
                <a:ext cx="28" cy="16"/>
              </a:xfrm>
              <a:custGeom>
                <a:avLst/>
                <a:gdLst>
                  <a:gd name="T0" fmla="*/ 8 w 44"/>
                  <a:gd name="T1" fmla="*/ 21 h 25"/>
                  <a:gd name="T2" fmla="*/ 26 w 44"/>
                  <a:gd name="T3" fmla="*/ 12 h 25"/>
                  <a:gd name="T4" fmla="*/ 25 w 44"/>
                  <a:gd name="T5" fmla="*/ 12 h 25"/>
                  <a:gd name="T6" fmla="*/ 14 w 44"/>
                  <a:gd name="T7" fmla="*/ 6 h 25"/>
                  <a:gd name="T8" fmla="*/ 8 w 44"/>
                  <a:gd name="T9" fmla="*/ 2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25">
                    <a:moveTo>
                      <a:pt x="8" y="21"/>
                    </a:moveTo>
                    <a:cubicBezTo>
                      <a:pt x="15" y="25"/>
                      <a:pt x="44" y="6"/>
                      <a:pt x="26" y="12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0" y="13"/>
                      <a:pt x="18" y="7"/>
                      <a:pt x="14" y="6"/>
                    </a:cubicBezTo>
                    <a:cubicBezTo>
                      <a:pt x="4" y="0"/>
                      <a:pt x="0" y="16"/>
                      <a:pt x="8" y="2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89" name="Freeform 1015"/>
              <p:cNvSpPr>
                <a:spLocks/>
              </p:cNvSpPr>
              <p:nvPr/>
            </p:nvSpPr>
            <p:spPr bwMode="auto">
              <a:xfrm>
                <a:off x="3274" y="764"/>
                <a:ext cx="98" cy="50"/>
              </a:xfrm>
              <a:custGeom>
                <a:avLst/>
                <a:gdLst>
                  <a:gd name="T0" fmla="*/ 15 w 148"/>
                  <a:gd name="T1" fmla="*/ 46 h 76"/>
                  <a:gd name="T2" fmla="*/ 16 w 148"/>
                  <a:gd name="T3" fmla="*/ 47 h 76"/>
                  <a:gd name="T4" fmla="*/ 19 w 148"/>
                  <a:gd name="T5" fmla="*/ 54 h 76"/>
                  <a:gd name="T6" fmla="*/ 43 w 148"/>
                  <a:gd name="T7" fmla="*/ 50 h 76"/>
                  <a:gd name="T8" fmla="*/ 45 w 148"/>
                  <a:gd name="T9" fmla="*/ 50 h 76"/>
                  <a:gd name="T10" fmla="*/ 40 w 148"/>
                  <a:gd name="T11" fmla="*/ 54 h 76"/>
                  <a:gd name="T12" fmla="*/ 29 w 148"/>
                  <a:gd name="T13" fmla="*/ 73 h 76"/>
                  <a:gd name="T14" fmla="*/ 41 w 148"/>
                  <a:gd name="T15" fmla="*/ 62 h 76"/>
                  <a:gd name="T16" fmla="*/ 46 w 148"/>
                  <a:gd name="T17" fmla="*/ 69 h 76"/>
                  <a:gd name="T18" fmla="*/ 72 w 148"/>
                  <a:gd name="T19" fmla="*/ 60 h 76"/>
                  <a:gd name="T20" fmla="*/ 72 w 148"/>
                  <a:gd name="T21" fmla="*/ 57 h 76"/>
                  <a:gd name="T22" fmla="*/ 84 w 148"/>
                  <a:gd name="T23" fmla="*/ 65 h 76"/>
                  <a:gd name="T24" fmla="*/ 97 w 148"/>
                  <a:gd name="T25" fmla="*/ 61 h 76"/>
                  <a:gd name="T26" fmla="*/ 95 w 148"/>
                  <a:gd name="T27" fmla="*/ 55 h 76"/>
                  <a:gd name="T28" fmla="*/ 112 w 148"/>
                  <a:gd name="T29" fmla="*/ 55 h 76"/>
                  <a:gd name="T30" fmla="*/ 116 w 148"/>
                  <a:gd name="T31" fmla="*/ 42 h 76"/>
                  <a:gd name="T32" fmla="*/ 129 w 148"/>
                  <a:gd name="T33" fmla="*/ 39 h 76"/>
                  <a:gd name="T34" fmla="*/ 140 w 148"/>
                  <a:gd name="T35" fmla="*/ 30 h 76"/>
                  <a:gd name="T36" fmla="*/ 141 w 148"/>
                  <a:gd name="T37" fmla="*/ 21 h 76"/>
                  <a:gd name="T38" fmla="*/ 147 w 148"/>
                  <a:gd name="T39" fmla="*/ 21 h 76"/>
                  <a:gd name="T40" fmla="*/ 139 w 148"/>
                  <a:gd name="T41" fmla="*/ 13 h 76"/>
                  <a:gd name="T42" fmla="*/ 131 w 148"/>
                  <a:gd name="T43" fmla="*/ 24 h 76"/>
                  <a:gd name="T44" fmla="*/ 122 w 148"/>
                  <a:gd name="T45" fmla="*/ 16 h 76"/>
                  <a:gd name="T46" fmla="*/ 118 w 148"/>
                  <a:gd name="T47" fmla="*/ 21 h 76"/>
                  <a:gd name="T48" fmla="*/ 110 w 148"/>
                  <a:gd name="T49" fmla="*/ 18 h 76"/>
                  <a:gd name="T50" fmla="*/ 115 w 148"/>
                  <a:gd name="T51" fmla="*/ 26 h 76"/>
                  <a:gd name="T52" fmla="*/ 120 w 148"/>
                  <a:gd name="T53" fmla="*/ 31 h 76"/>
                  <a:gd name="T54" fmla="*/ 107 w 148"/>
                  <a:gd name="T55" fmla="*/ 33 h 76"/>
                  <a:gd name="T56" fmla="*/ 88 w 148"/>
                  <a:gd name="T57" fmla="*/ 30 h 76"/>
                  <a:gd name="T58" fmla="*/ 86 w 148"/>
                  <a:gd name="T59" fmla="*/ 26 h 76"/>
                  <a:gd name="T60" fmla="*/ 89 w 148"/>
                  <a:gd name="T61" fmla="*/ 44 h 76"/>
                  <a:gd name="T62" fmla="*/ 82 w 148"/>
                  <a:gd name="T63" fmla="*/ 45 h 76"/>
                  <a:gd name="T64" fmla="*/ 77 w 148"/>
                  <a:gd name="T65" fmla="*/ 43 h 76"/>
                  <a:gd name="T66" fmla="*/ 74 w 148"/>
                  <a:gd name="T67" fmla="*/ 46 h 76"/>
                  <a:gd name="T68" fmla="*/ 73 w 148"/>
                  <a:gd name="T69" fmla="*/ 39 h 76"/>
                  <a:gd name="T70" fmla="*/ 72 w 148"/>
                  <a:gd name="T71" fmla="*/ 37 h 76"/>
                  <a:gd name="T72" fmla="*/ 58 w 148"/>
                  <a:gd name="T73" fmla="*/ 40 h 76"/>
                  <a:gd name="T74" fmla="*/ 52 w 148"/>
                  <a:gd name="T75" fmla="*/ 46 h 76"/>
                  <a:gd name="T76" fmla="*/ 52 w 148"/>
                  <a:gd name="T77" fmla="*/ 48 h 76"/>
                  <a:gd name="T78" fmla="*/ 38 w 148"/>
                  <a:gd name="T79" fmla="*/ 44 h 76"/>
                  <a:gd name="T80" fmla="*/ 37 w 148"/>
                  <a:gd name="T81" fmla="*/ 46 h 76"/>
                  <a:gd name="T82" fmla="*/ 15 w 148"/>
                  <a:gd name="T83" fmla="*/ 4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8" h="76">
                    <a:moveTo>
                      <a:pt x="15" y="46"/>
                    </a:moveTo>
                    <a:cubicBezTo>
                      <a:pt x="16" y="47"/>
                      <a:pt x="16" y="47"/>
                      <a:pt x="16" y="47"/>
                    </a:cubicBezTo>
                    <a:cubicBezTo>
                      <a:pt x="26" y="48"/>
                      <a:pt x="8" y="52"/>
                      <a:pt x="19" y="54"/>
                    </a:cubicBezTo>
                    <a:cubicBezTo>
                      <a:pt x="22" y="55"/>
                      <a:pt x="38" y="50"/>
                      <a:pt x="43" y="50"/>
                    </a:cubicBezTo>
                    <a:cubicBezTo>
                      <a:pt x="44" y="50"/>
                      <a:pt x="44" y="50"/>
                      <a:pt x="45" y="50"/>
                    </a:cubicBezTo>
                    <a:cubicBezTo>
                      <a:pt x="46" y="51"/>
                      <a:pt x="40" y="54"/>
                      <a:pt x="40" y="54"/>
                    </a:cubicBezTo>
                    <a:cubicBezTo>
                      <a:pt x="33" y="56"/>
                      <a:pt x="27" y="73"/>
                      <a:pt x="29" y="73"/>
                    </a:cubicBezTo>
                    <a:cubicBezTo>
                      <a:pt x="37" y="76"/>
                      <a:pt x="36" y="63"/>
                      <a:pt x="41" y="62"/>
                    </a:cubicBezTo>
                    <a:cubicBezTo>
                      <a:pt x="45" y="62"/>
                      <a:pt x="37" y="71"/>
                      <a:pt x="46" y="69"/>
                    </a:cubicBezTo>
                    <a:cubicBezTo>
                      <a:pt x="53" y="68"/>
                      <a:pt x="72" y="67"/>
                      <a:pt x="72" y="60"/>
                    </a:cubicBezTo>
                    <a:cubicBezTo>
                      <a:pt x="72" y="59"/>
                      <a:pt x="71" y="57"/>
                      <a:pt x="72" y="57"/>
                    </a:cubicBezTo>
                    <a:cubicBezTo>
                      <a:pt x="82" y="56"/>
                      <a:pt x="81" y="64"/>
                      <a:pt x="84" y="65"/>
                    </a:cubicBezTo>
                    <a:cubicBezTo>
                      <a:pt x="88" y="66"/>
                      <a:pt x="93" y="63"/>
                      <a:pt x="97" y="61"/>
                    </a:cubicBezTo>
                    <a:cubicBezTo>
                      <a:pt x="101" y="59"/>
                      <a:pt x="91" y="56"/>
                      <a:pt x="95" y="55"/>
                    </a:cubicBezTo>
                    <a:cubicBezTo>
                      <a:pt x="110" y="53"/>
                      <a:pt x="112" y="55"/>
                      <a:pt x="112" y="55"/>
                    </a:cubicBezTo>
                    <a:cubicBezTo>
                      <a:pt x="113" y="54"/>
                      <a:pt x="116" y="43"/>
                      <a:pt x="116" y="42"/>
                    </a:cubicBezTo>
                    <a:cubicBezTo>
                      <a:pt x="119" y="34"/>
                      <a:pt x="128" y="42"/>
                      <a:pt x="129" y="39"/>
                    </a:cubicBezTo>
                    <a:cubicBezTo>
                      <a:pt x="130" y="31"/>
                      <a:pt x="136" y="33"/>
                      <a:pt x="140" y="30"/>
                    </a:cubicBezTo>
                    <a:cubicBezTo>
                      <a:pt x="146" y="25"/>
                      <a:pt x="140" y="21"/>
                      <a:pt x="141" y="21"/>
                    </a:cubicBezTo>
                    <a:cubicBezTo>
                      <a:pt x="142" y="21"/>
                      <a:pt x="148" y="22"/>
                      <a:pt x="147" y="21"/>
                    </a:cubicBezTo>
                    <a:cubicBezTo>
                      <a:pt x="146" y="17"/>
                      <a:pt x="140" y="15"/>
                      <a:pt x="139" y="13"/>
                    </a:cubicBezTo>
                    <a:cubicBezTo>
                      <a:pt x="135" y="0"/>
                      <a:pt x="133" y="24"/>
                      <a:pt x="131" y="24"/>
                    </a:cubicBezTo>
                    <a:cubicBezTo>
                      <a:pt x="127" y="25"/>
                      <a:pt x="125" y="18"/>
                      <a:pt x="122" y="16"/>
                    </a:cubicBezTo>
                    <a:cubicBezTo>
                      <a:pt x="119" y="14"/>
                      <a:pt x="125" y="25"/>
                      <a:pt x="118" y="21"/>
                    </a:cubicBezTo>
                    <a:cubicBezTo>
                      <a:pt x="117" y="20"/>
                      <a:pt x="111" y="16"/>
                      <a:pt x="110" y="18"/>
                    </a:cubicBezTo>
                    <a:cubicBezTo>
                      <a:pt x="110" y="20"/>
                      <a:pt x="105" y="22"/>
                      <a:pt x="115" y="26"/>
                    </a:cubicBezTo>
                    <a:cubicBezTo>
                      <a:pt x="117" y="27"/>
                      <a:pt x="122" y="30"/>
                      <a:pt x="120" y="31"/>
                    </a:cubicBezTo>
                    <a:cubicBezTo>
                      <a:pt x="116" y="32"/>
                      <a:pt x="108" y="31"/>
                      <a:pt x="107" y="33"/>
                    </a:cubicBezTo>
                    <a:cubicBezTo>
                      <a:pt x="93" y="49"/>
                      <a:pt x="104" y="29"/>
                      <a:pt x="88" y="30"/>
                    </a:cubicBezTo>
                    <a:cubicBezTo>
                      <a:pt x="84" y="30"/>
                      <a:pt x="89" y="25"/>
                      <a:pt x="86" y="26"/>
                    </a:cubicBezTo>
                    <a:cubicBezTo>
                      <a:pt x="71" y="32"/>
                      <a:pt x="92" y="36"/>
                      <a:pt x="89" y="44"/>
                    </a:cubicBezTo>
                    <a:cubicBezTo>
                      <a:pt x="88" y="47"/>
                      <a:pt x="83" y="42"/>
                      <a:pt x="82" y="45"/>
                    </a:cubicBezTo>
                    <a:cubicBezTo>
                      <a:pt x="81" y="58"/>
                      <a:pt x="79" y="43"/>
                      <a:pt x="77" y="43"/>
                    </a:cubicBezTo>
                    <a:cubicBezTo>
                      <a:pt x="73" y="42"/>
                      <a:pt x="75" y="45"/>
                      <a:pt x="74" y="46"/>
                    </a:cubicBezTo>
                    <a:cubicBezTo>
                      <a:pt x="72" y="47"/>
                      <a:pt x="73" y="41"/>
                      <a:pt x="73" y="39"/>
                    </a:cubicBezTo>
                    <a:cubicBezTo>
                      <a:pt x="74" y="38"/>
                      <a:pt x="72" y="37"/>
                      <a:pt x="72" y="37"/>
                    </a:cubicBezTo>
                    <a:cubicBezTo>
                      <a:pt x="60" y="32"/>
                      <a:pt x="60" y="40"/>
                      <a:pt x="58" y="40"/>
                    </a:cubicBezTo>
                    <a:cubicBezTo>
                      <a:pt x="50" y="39"/>
                      <a:pt x="47" y="30"/>
                      <a:pt x="52" y="46"/>
                    </a:cubicBezTo>
                    <a:cubicBezTo>
                      <a:pt x="52" y="46"/>
                      <a:pt x="52" y="48"/>
                      <a:pt x="52" y="48"/>
                    </a:cubicBezTo>
                    <a:cubicBezTo>
                      <a:pt x="43" y="47"/>
                      <a:pt x="38" y="33"/>
                      <a:pt x="38" y="44"/>
                    </a:cubicBezTo>
                    <a:cubicBezTo>
                      <a:pt x="38" y="45"/>
                      <a:pt x="38" y="46"/>
                      <a:pt x="37" y="46"/>
                    </a:cubicBezTo>
                    <a:cubicBezTo>
                      <a:pt x="35" y="47"/>
                      <a:pt x="0" y="42"/>
                      <a:pt x="15" y="4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90" name="Freeform 1016"/>
              <p:cNvSpPr>
                <a:spLocks/>
              </p:cNvSpPr>
              <p:nvPr/>
            </p:nvSpPr>
            <p:spPr bwMode="auto">
              <a:xfrm>
                <a:off x="3207" y="842"/>
                <a:ext cx="29" cy="10"/>
              </a:xfrm>
              <a:custGeom>
                <a:avLst/>
                <a:gdLst>
                  <a:gd name="T0" fmla="*/ 23 w 45"/>
                  <a:gd name="T1" fmla="*/ 16 h 16"/>
                  <a:gd name="T2" fmla="*/ 25 w 45"/>
                  <a:gd name="T3" fmla="*/ 16 h 16"/>
                  <a:gd name="T4" fmla="*/ 23 w 45"/>
                  <a:gd name="T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5" h="16">
                    <a:moveTo>
                      <a:pt x="23" y="16"/>
                    </a:moveTo>
                    <a:cubicBezTo>
                      <a:pt x="25" y="16"/>
                      <a:pt x="25" y="16"/>
                      <a:pt x="25" y="16"/>
                    </a:cubicBezTo>
                    <a:cubicBezTo>
                      <a:pt x="45" y="12"/>
                      <a:pt x="0" y="0"/>
                      <a:pt x="23" y="1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91" name="Freeform 1017"/>
              <p:cNvSpPr>
                <a:spLocks/>
              </p:cNvSpPr>
              <p:nvPr/>
            </p:nvSpPr>
            <p:spPr bwMode="auto">
              <a:xfrm>
                <a:off x="3225" y="849"/>
                <a:ext cx="15" cy="10"/>
              </a:xfrm>
              <a:custGeom>
                <a:avLst/>
                <a:gdLst>
                  <a:gd name="T0" fmla="*/ 4 w 24"/>
                  <a:gd name="T1" fmla="*/ 12 h 15"/>
                  <a:gd name="T2" fmla="*/ 5 w 24"/>
                  <a:gd name="T3" fmla="*/ 13 h 15"/>
                  <a:gd name="T4" fmla="*/ 4 w 24"/>
                  <a:gd name="T5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4" h="15">
                    <a:moveTo>
                      <a:pt x="4" y="12"/>
                    </a:moveTo>
                    <a:cubicBezTo>
                      <a:pt x="5" y="13"/>
                      <a:pt x="5" y="13"/>
                      <a:pt x="5" y="13"/>
                    </a:cubicBezTo>
                    <a:cubicBezTo>
                      <a:pt x="24" y="15"/>
                      <a:pt x="0" y="0"/>
                      <a:pt x="4" y="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92" name="Freeform 1018"/>
              <p:cNvSpPr>
                <a:spLocks/>
              </p:cNvSpPr>
              <p:nvPr/>
            </p:nvSpPr>
            <p:spPr bwMode="auto">
              <a:xfrm>
                <a:off x="2981" y="977"/>
                <a:ext cx="20" cy="19"/>
              </a:xfrm>
              <a:custGeom>
                <a:avLst/>
                <a:gdLst>
                  <a:gd name="T0" fmla="*/ 21 w 30"/>
                  <a:gd name="T1" fmla="*/ 12 h 29"/>
                  <a:gd name="T2" fmla="*/ 0 w 30"/>
                  <a:gd name="T3" fmla="*/ 27 h 29"/>
                  <a:gd name="T4" fmla="*/ 0 w 30"/>
                  <a:gd name="T5" fmla="*/ 27 h 29"/>
                  <a:gd name="T6" fmla="*/ 30 w 30"/>
                  <a:gd name="T7" fmla="*/ 20 h 29"/>
                  <a:gd name="T8" fmla="*/ 21 w 30"/>
                  <a:gd name="T9" fmla="*/ 1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9">
                    <a:moveTo>
                      <a:pt x="21" y="12"/>
                    </a:moveTo>
                    <a:cubicBezTo>
                      <a:pt x="15" y="0"/>
                      <a:pt x="4" y="21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3" y="29"/>
                      <a:pt x="29" y="23"/>
                      <a:pt x="30" y="20"/>
                    </a:cubicBezTo>
                    <a:cubicBezTo>
                      <a:pt x="30" y="18"/>
                      <a:pt x="22" y="14"/>
                      <a:pt x="21" y="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93" name="Freeform 1019"/>
              <p:cNvSpPr>
                <a:spLocks/>
              </p:cNvSpPr>
              <p:nvPr/>
            </p:nvSpPr>
            <p:spPr bwMode="auto">
              <a:xfrm>
                <a:off x="2867" y="1036"/>
                <a:ext cx="9" cy="12"/>
              </a:xfrm>
              <a:custGeom>
                <a:avLst/>
                <a:gdLst>
                  <a:gd name="T0" fmla="*/ 14 w 14"/>
                  <a:gd name="T1" fmla="*/ 6 h 18"/>
                  <a:gd name="T2" fmla="*/ 3 w 14"/>
                  <a:gd name="T3" fmla="*/ 14 h 18"/>
                  <a:gd name="T4" fmla="*/ 12 w 14"/>
                  <a:gd name="T5" fmla="*/ 10 h 18"/>
                  <a:gd name="T6" fmla="*/ 12 w 14"/>
                  <a:gd name="T7" fmla="*/ 9 h 18"/>
                  <a:gd name="T8" fmla="*/ 14 w 14"/>
                  <a:gd name="T9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8">
                    <a:moveTo>
                      <a:pt x="14" y="6"/>
                    </a:moveTo>
                    <a:cubicBezTo>
                      <a:pt x="11" y="0"/>
                      <a:pt x="0" y="9"/>
                      <a:pt x="3" y="14"/>
                    </a:cubicBezTo>
                    <a:cubicBezTo>
                      <a:pt x="6" y="18"/>
                      <a:pt x="10" y="13"/>
                      <a:pt x="12" y="10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2" y="8"/>
                      <a:pt x="13" y="7"/>
                      <a:pt x="14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94" name="Freeform 1020"/>
              <p:cNvSpPr>
                <a:spLocks/>
              </p:cNvSpPr>
              <p:nvPr/>
            </p:nvSpPr>
            <p:spPr bwMode="auto">
              <a:xfrm>
                <a:off x="2947" y="962"/>
                <a:ext cx="25" cy="17"/>
              </a:xfrm>
              <a:custGeom>
                <a:avLst/>
                <a:gdLst>
                  <a:gd name="T0" fmla="*/ 26 w 38"/>
                  <a:gd name="T1" fmla="*/ 25 h 25"/>
                  <a:gd name="T2" fmla="*/ 26 w 38"/>
                  <a:gd name="T3" fmla="*/ 25 h 25"/>
                  <a:gd name="T4" fmla="*/ 33 w 38"/>
                  <a:gd name="T5" fmla="*/ 18 h 25"/>
                  <a:gd name="T6" fmla="*/ 12 w 38"/>
                  <a:gd name="T7" fmla="*/ 8 h 25"/>
                  <a:gd name="T8" fmla="*/ 26 w 38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5">
                    <a:moveTo>
                      <a:pt x="26" y="25"/>
                    </a:moveTo>
                    <a:cubicBezTo>
                      <a:pt x="26" y="25"/>
                      <a:pt x="26" y="25"/>
                      <a:pt x="26" y="25"/>
                    </a:cubicBezTo>
                    <a:cubicBezTo>
                      <a:pt x="34" y="25"/>
                      <a:pt x="31" y="22"/>
                      <a:pt x="33" y="18"/>
                    </a:cubicBezTo>
                    <a:cubicBezTo>
                      <a:pt x="38" y="11"/>
                      <a:pt x="18" y="12"/>
                      <a:pt x="12" y="8"/>
                    </a:cubicBezTo>
                    <a:cubicBezTo>
                      <a:pt x="0" y="0"/>
                      <a:pt x="9" y="21"/>
                      <a:pt x="26" y="2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95" name="Freeform 1021"/>
              <p:cNvSpPr>
                <a:spLocks/>
              </p:cNvSpPr>
              <p:nvPr/>
            </p:nvSpPr>
            <p:spPr bwMode="auto">
              <a:xfrm>
                <a:off x="2874" y="1040"/>
                <a:ext cx="2" cy="3"/>
              </a:xfrm>
              <a:custGeom>
                <a:avLst/>
                <a:gdLst>
                  <a:gd name="T0" fmla="*/ 2 w 2"/>
                  <a:gd name="T1" fmla="*/ 1 h 4"/>
                  <a:gd name="T2" fmla="*/ 2 w 2"/>
                  <a:gd name="T3" fmla="*/ 0 h 4"/>
                  <a:gd name="T4" fmla="*/ 0 w 2"/>
                  <a:gd name="T5" fmla="*/ 3 h 4"/>
                  <a:gd name="T6" fmla="*/ 0 w 2"/>
                  <a:gd name="T7" fmla="*/ 4 h 4"/>
                  <a:gd name="T8" fmla="*/ 2 w 2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1"/>
                    </a:moveTo>
                    <a:cubicBezTo>
                      <a:pt x="2" y="1"/>
                      <a:pt x="2" y="1"/>
                      <a:pt x="2" y="0"/>
                    </a:cubicBezTo>
                    <a:cubicBezTo>
                      <a:pt x="1" y="1"/>
                      <a:pt x="0" y="2"/>
                      <a:pt x="0" y="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1" y="2"/>
                      <a:pt x="2" y="1"/>
                      <a:pt x="2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696" name="Freeform 1022"/>
              <p:cNvSpPr>
                <a:spLocks/>
              </p:cNvSpPr>
              <p:nvPr/>
            </p:nvSpPr>
            <p:spPr bwMode="auto">
              <a:xfrm>
                <a:off x="2874" y="968"/>
                <a:ext cx="93" cy="76"/>
              </a:xfrm>
              <a:custGeom>
                <a:avLst/>
                <a:gdLst>
                  <a:gd name="T0" fmla="*/ 114 w 141"/>
                  <a:gd name="T1" fmla="*/ 22 h 116"/>
                  <a:gd name="T2" fmla="*/ 109 w 141"/>
                  <a:gd name="T3" fmla="*/ 20 h 116"/>
                  <a:gd name="T4" fmla="*/ 109 w 141"/>
                  <a:gd name="T5" fmla="*/ 35 h 116"/>
                  <a:gd name="T6" fmla="*/ 94 w 141"/>
                  <a:gd name="T7" fmla="*/ 44 h 116"/>
                  <a:gd name="T8" fmla="*/ 95 w 141"/>
                  <a:gd name="T9" fmla="*/ 54 h 116"/>
                  <a:gd name="T10" fmla="*/ 91 w 141"/>
                  <a:gd name="T11" fmla="*/ 50 h 116"/>
                  <a:gd name="T12" fmla="*/ 74 w 141"/>
                  <a:gd name="T13" fmla="*/ 66 h 116"/>
                  <a:gd name="T14" fmla="*/ 67 w 141"/>
                  <a:gd name="T15" fmla="*/ 71 h 116"/>
                  <a:gd name="T16" fmla="*/ 89 w 141"/>
                  <a:gd name="T17" fmla="*/ 36 h 116"/>
                  <a:gd name="T18" fmla="*/ 69 w 141"/>
                  <a:gd name="T19" fmla="*/ 39 h 116"/>
                  <a:gd name="T20" fmla="*/ 82 w 141"/>
                  <a:gd name="T21" fmla="*/ 3 h 116"/>
                  <a:gd name="T22" fmla="*/ 80 w 141"/>
                  <a:gd name="T23" fmla="*/ 2 h 116"/>
                  <a:gd name="T24" fmla="*/ 51 w 141"/>
                  <a:gd name="T25" fmla="*/ 21 h 116"/>
                  <a:gd name="T26" fmla="*/ 58 w 141"/>
                  <a:gd name="T27" fmla="*/ 25 h 116"/>
                  <a:gd name="T28" fmla="*/ 42 w 141"/>
                  <a:gd name="T29" fmla="*/ 30 h 116"/>
                  <a:gd name="T30" fmla="*/ 42 w 141"/>
                  <a:gd name="T31" fmla="*/ 34 h 116"/>
                  <a:gd name="T32" fmla="*/ 65 w 141"/>
                  <a:gd name="T33" fmla="*/ 44 h 116"/>
                  <a:gd name="T34" fmla="*/ 43 w 141"/>
                  <a:gd name="T35" fmla="*/ 41 h 116"/>
                  <a:gd name="T36" fmla="*/ 54 w 141"/>
                  <a:gd name="T37" fmla="*/ 56 h 116"/>
                  <a:gd name="T38" fmla="*/ 58 w 141"/>
                  <a:gd name="T39" fmla="*/ 59 h 116"/>
                  <a:gd name="T40" fmla="*/ 56 w 141"/>
                  <a:gd name="T41" fmla="*/ 59 h 116"/>
                  <a:gd name="T42" fmla="*/ 55 w 141"/>
                  <a:gd name="T43" fmla="*/ 59 h 116"/>
                  <a:gd name="T44" fmla="*/ 39 w 141"/>
                  <a:gd name="T45" fmla="*/ 62 h 116"/>
                  <a:gd name="T46" fmla="*/ 42 w 141"/>
                  <a:gd name="T47" fmla="*/ 67 h 116"/>
                  <a:gd name="T48" fmla="*/ 20 w 141"/>
                  <a:gd name="T49" fmla="*/ 67 h 116"/>
                  <a:gd name="T50" fmla="*/ 26 w 141"/>
                  <a:gd name="T51" fmla="*/ 78 h 116"/>
                  <a:gd name="T52" fmla="*/ 31 w 141"/>
                  <a:gd name="T53" fmla="*/ 82 h 116"/>
                  <a:gd name="T54" fmla="*/ 33 w 141"/>
                  <a:gd name="T55" fmla="*/ 82 h 116"/>
                  <a:gd name="T56" fmla="*/ 25 w 141"/>
                  <a:gd name="T57" fmla="*/ 84 h 116"/>
                  <a:gd name="T58" fmla="*/ 2 w 141"/>
                  <a:gd name="T59" fmla="*/ 110 h 116"/>
                  <a:gd name="T60" fmla="*/ 2 w 141"/>
                  <a:gd name="T61" fmla="*/ 111 h 116"/>
                  <a:gd name="T62" fmla="*/ 2 w 141"/>
                  <a:gd name="T63" fmla="*/ 111 h 116"/>
                  <a:gd name="T64" fmla="*/ 0 w 141"/>
                  <a:gd name="T65" fmla="*/ 114 h 116"/>
                  <a:gd name="T66" fmla="*/ 0 w 141"/>
                  <a:gd name="T67" fmla="*/ 114 h 116"/>
                  <a:gd name="T68" fmla="*/ 22 w 141"/>
                  <a:gd name="T69" fmla="*/ 101 h 116"/>
                  <a:gd name="T70" fmla="*/ 44 w 141"/>
                  <a:gd name="T71" fmla="*/ 85 h 116"/>
                  <a:gd name="T72" fmla="*/ 51 w 141"/>
                  <a:gd name="T73" fmla="*/ 75 h 116"/>
                  <a:gd name="T74" fmla="*/ 30 w 141"/>
                  <a:gd name="T75" fmla="*/ 102 h 116"/>
                  <a:gd name="T76" fmla="*/ 45 w 141"/>
                  <a:gd name="T77" fmla="*/ 102 h 116"/>
                  <a:gd name="T78" fmla="*/ 58 w 141"/>
                  <a:gd name="T79" fmla="*/ 107 h 116"/>
                  <a:gd name="T80" fmla="*/ 69 w 141"/>
                  <a:gd name="T81" fmla="*/ 88 h 116"/>
                  <a:gd name="T82" fmla="*/ 73 w 141"/>
                  <a:gd name="T83" fmla="*/ 93 h 116"/>
                  <a:gd name="T84" fmla="*/ 80 w 141"/>
                  <a:gd name="T85" fmla="*/ 84 h 116"/>
                  <a:gd name="T86" fmla="*/ 79 w 141"/>
                  <a:gd name="T87" fmla="*/ 97 h 116"/>
                  <a:gd name="T88" fmla="*/ 99 w 141"/>
                  <a:gd name="T89" fmla="*/ 70 h 116"/>
                  <a:gd name="T90" fmla="*/ 141 w 141"/>
                  <a:gd name="T91" fmla="*/ 52 h 116"/>
                  <a:gd name="T92" fmla="*/ 135 w 141"/>
                  <a:gd name="T93" fmla="*/ 32 h 116"/>
                  <a:gd name="T94" fmla="*/ 140 w 141"/>
                  <a:gd name="T95" fmla="*/ 25 h 116"/>
                  <a:gd name="T96" fmla="*/ 130 w 141"/>
                  <a:gd name="T97" fmla="*/ 26 h 116"/>
                  <a:gd name="T98" fmla="*/ 113 w 141"/>
                  <a:gd name="T99" fmla="*/ 12 h 116"/>
                  <a:gd name="T100" fmla="*/ 114 w 141"/>
                  <a:gd name="T101" fmla="*/ 22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41" h="116">
                    <a:moveTo>
                      <a:pt x="114" y="22"/>
                    </a:moveTo>
                    <a:cubicBezTo>
                      <a:pt x="112" y="21"/>
                      <a:pt x="112" y="19"/>
                      <a:pt x="109" y="20"/>
                    </a:cubicBezTo>
                    <a:cubicBezTo>
                      <a:pt x="87" y="21"/>
                      <a:pt x="108" y="33"/>
                      <a:pt x="109" y="35"/>
                    </a:cubicBezTo>
                    <a:cubicBezTo>
                      <a:pt x="111" y="45"/>
                      <a:pt x="94" y="33"/>
                      <a:pt x="94" y="44"/>
                    </a:cubicBezTo>
                    <a:cubicBezTo>
                      <a:pt x="94" y="47"/>
                      <a:pt x="97" y="56"/>
                      <a:pt x="95" y="54"/>
                    </a:cubicBezTo>
                    <a:cubicBezTo>
                      <a:pt x="93" y="53"/>
                      <a:pt x="94" y="50"/>
                      <a:pt x="91" y="50"/>
                    </a:cubicBezTo>
                    <a:cubicBezTo>
                      <a:pt x="84" y="49"/>
                      <a:pt x="76" y="61"/>
                      <a:pt x="74" y="66"/>
                    </a:cubicBezTo>
                    <a:cubicBezTo>
                      <a:pt x="73" y="67"/>
                      <a:pt x="68" y="72"/>
                      <a:pt x="67" y="71"/>
                    </a:cubicBezTo>
                    <a:cubicBezTo>
                      <a:pt x="62" y="64"/>
                      <a:pt x="88" y="47"/>
                      <a:pt x="89" y="36"/>
                    </a:cubicBezTo>
                    <a:cubicBezTo>
                      <a:pt x="90" y="29"/>
                      <a:pt x="67" y="45"/>
                      <a:pt x="69" y="39"/>
                    </a:cubicBezTo>
                    <a:cubicBezTo>
                      <a:pt x="72" y="30"/>
                      <a:pt x="92" y="16"/>
                      <a:pt x="82" y="3"/>
                    </a:cubicBezTo>
                    <a:cubicBezTo>
                      <a:pt x="82" y="3"/>
                      <a:pt x="81" y="2"/>
                      <a:pt x="80" y="2"/>
                    </a:cubicBezTo>
                    <a:cubicBezTo>
                      <a:pt x="68" y="0"/>
                      <a:pt x="47" y="13"/>
                      <a:pt x="51" y="21"/>
                    </a:cubicBezTo>
                    <a:cubicBezTo>
                      <a:pt x="51" y="23"/>
                      <a:pt x="59" y="25"/>
                      <a:pt x="58" y="25"/>
                    </a:cubicBezTo>
                    <a:cubicBezTo>
                      <a:pt x="54" y="29"/>
                      <a:pt x="42" y="22"/>
                      <a:pt x="42" y="30"/>
                    </a:cubicBezTo>
                    <a:cubicBezTo>
                      <a:pt x="42" y="32"/>
                      <a:pt x="42" y="33"/>
                      <a:pt x="42" y="34"/>
                    </a:cubicBezTo>
                    <a:cubicBezTo>
                      <a:pt x="41" y="35"/>
                      <a:pt x="68" y="42"/>
                      <a:pt x="65" y="44"/>
                    </a:cubicBezTo>
                    <a:cubicBezTo>
                      <a:pt x="63" y="46"/>
                      <a:pt x="47" y="37"/>
                      <a:pt x="43" y="41"/>
                    </a:cubicBezTo>
                    <a:cubicBezTo>
                      <a:pt x="32" y="49"/>
                      <a:pt x="53" y="55"/>
                      <a:pt x="54" y="56"/>
                    </a:cubicBezTo>
                    <a:cubicBezTo>
                      <a:pt x="55" y="57"/>
                      <a:pt x="59" y="58"/>
                      <a:pt x="58" y="59"/>
                    </a:cubicBezTo>
                    <a:cubicBezTo>
                      <a:pt x="57" y="59"/>
                      <a:pt x="57" y="59"/>
                      <a:pt x="56" y="59"/>
                    </a:cubicBezTo>
                    <a:cubicBezTo>
                      <a:pt x="56" y="59"/>
                      <a:pt x="56" y="59"/>
                      <a:pt x="55" y="59"/>
                    </a:cubicBezTo>
                    <a:cubicBezTo>
                      <a:pt x="46" y="59"/>
                      <a:pt x="36" y="56"/>
                      <a:pt x="39" y="62"/>
                    </a:cubicBezTo>
                    <a:cubicBezTo>
                      <a:pt x="39" y="63"/>
                      <a:pt x="42" y="67"/>
                      <a:pt x="42" y="67"/>
                    </a:cubicBezTo>
                    <a:cubicBezTo>
                      <a:pt x="36" y="68"/>
                      <a:pt x="25" y="59"/>
                      <a:pt x="20" y="67"/>
                    </a:cubicBezTo>
                    <a:cubicBezTo>
                      <a:pt x="16" y="73"/>
                      <a:pt x="35" y="76"/>
                      <a:pt x="26" y="78"/>
                    </a:cubicBezTo>
                    <a:cubicBezTo>
                      <a:pt x="19" y="79"/>
                      <a:pt x="27" y="81"/>
                      <a:pt x="31" y="82"/>
                    </a:cubicBezTo>
                    <a:cubicBezTo>
                      <a:pt x="32" y="82"/>
                      <a:pt x="34" y="82"/>
                      <a:pt x="33" y="82"/>
                    </a:cubicBezTo>
                    <a:cubicBezTo>
                      <a:pt x="33" y="83"/>
                      <a:pt x="26" y="84"/>
                      <a:pt x="25" y="84"/>
                    </a:cubicBezTo>
                    <a:cubicBezTo>
                      <a:pt x="14" y="84"/>
                      <a:pt x="6" y="103"/>
                      <a:pt x="2" y="110"/>
                    </a:cubicBezTo>
                    <a:cubicBezTo>
                      <a:pt x="2" y="111"/>
                      <a:pt x="2" y="111"/>
                      <a:pt x="2" y="111"/>
                    </a:cubicBezTo>
                    <a:cubicBezTo>
                      <a:pt x="2" y="111"/>
                      <a:pt x="2" y="111"/>
                      <a:pt x="2" y="111"/>
                    </a:cubicBezTo>
                    <a:cubicBezTo>
                      <a:pt x="2" y="111"/>
                      <a:pt x="1" y="112"/>
                      <a:pt x="0" y="114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0" y="116"/>
                      <a:pt x="20" y="104"/>
                      <a:pt x="22" y="101"/>
                    </a:cubicBezTo>
                    <a:cubicBezTo>
                      <a:pt x="25" y="95"/>
                      <a:pt x="32" y="93"/>
                      <a:pt x="44" y="85"/>
                    </a:cubicBezTo>
                    <a:cubicBezTo>
                      <a:pt x="47" y="83"/>
                      <a:pt x="48" y="73"/>
                      <a:pt x="51" y="75"/>
                    </a:cubicBezTo>
                    <a:cubicBezTo>
                      <a:pt x="65" y="80"/>
                      <a:pt x="28" y="98"/>
                      <a:pt x="30" y="102"/>
                    </a:cubicBezTo>
                    <a:cubicBezTo>
                      <a:pt x="31" y="104"/>
                      <a:pt x="44" y="103"/>
                      <a:pt x="45" y="102"/>
                    </a:cubicBezTo>
                    <a:cubicBezTo>
                      <a:pt x="50" y="100"/>
                      <a:pt x="56" y="111"/>
                      <a:pt x="58" y="107"/>
                    </a:cubicBezTo>
                    <a:cubicBezTo>
                      <a:pt x="60" y="104"/>
                      <a:pt x="66" y="87"/>
                      <a:pt x="69" y="88"/>
                    </a:cubicBezTo>
                    <a:cubicBezTo>
                      <a:pt x="71" y="88"/>
                      <a:pt x="69" y="94"/>
                      <a:pt x="73" y="93"/>
                    </a:cubicBezTo>
                    <a:cubicBezTo>
                      <a:pt x="74" y="93"/>
                      <a:pt x="75" y="73"/>
                      <a:pt x="80" y="84"/>
                    </a:cubicBezTo>
                    <a:cubicBezTo>
                      <a:pt x="81" y="87"/>
                      <a:pt x="76" y="94"/>
                      <a:pt x="79" y="97"/>
                    </a:cubicBezTo>
                    <a:cubicBezTo>
                      <a:pt x="85" y="105"/>
                      <a:pt x="98" y="71"/>
                      <a:pt x="99" y="70"/>
                    </a:cubicBezTo>
                    <a:cubicBezTo>
                      <a:pt x="112" y="64"/>
                      <a:pt x="139" y="76"/>
                      <a:pt x="141" y="52"/>
                    </a:cubicBezTo>
                    <a:cubicBezTo>
                      <a:pt x="141" y="43"/>
                      <a:pt x="138" y="37"/>
                      <a:pt x="135" y="32"/>
                    </a:cubicBezTo>
                    <a:cubicBezTo>
                      <a:pt x="134" y="30"/>
                      <a:pt x="140" y="27"/>
                      <a:pt x="140" y="25"/>
                    </a:cubicBezTo>
                    <a:cubicBezTo>
                      <a:pt x="139" y="24"/>
                      <a:pt x="132" y="27"/>
                      <a:pt x="130" y="26"/>
                    </a:cubicBezTo>
                    <a:cubicBezTo>
                      <a:pt x="130" y="26"/>
                      <a:pt x="117" y="12"/>
                      <a:pt x="113" y="12"/>
                    </a:cubicBezTo>
                    <a:cubicBezTo>
                      <a:pt x="109" y="12"/>
                      <a:pt x="120" y="26"/>
                      <a:pt x="114" y="2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grpSp>
          <p:nvGrpSpPr>
            <p:cNvPr id="1149" name="Group 1224"/>
            <p:cNvGrpSpPr>
              <a:grpSpLocks/>
            </p:cNvGrpSpPr>
            <p:nvPr/>
          </p:nvGrpSpPr>
          <p:grpSpPr bwMode="auto">
            <a:xfrm>
              <a:off x="563" y="736"/>
              <a:ext cx="3252" cy="3246"/>
              <a:chOff x="563" y="736"/>
              <a:chExt cx="3252" cy="3246"/>
            </a:xfrm>
            <a:grpFill/>
          </p:grpSpPr>
          <p:sp>
            <p:nvSpPr>
              <p:cNvPr id="1308" name="Freeform 1024"/>
              <p:cNvSpPr>
                <a:spLocks/>
              </p:cNvSpPr>
              <p:nvPr/>
            </p:nvSpPr>
            <p:spPr bwMode="auto">
              <a:xfrm>
                <a:off x="2939" y="1008"/>
                <a:ext cx="28" cy="24"/>
              </a:xfrm>
              <a:custGeom>
                <a:avLst/>
                <a:gdLst>
                  <a:gd name="T0" fmla="*/ 26 w 42"/>
                  <a:gd name="T1" fmla="*/ 13 h 37"/>
                  <a:gd name="T2" fmla="*/ 2 w 42"/>
                  <a:gd name="T3" fmla="*/ 33 h 37"/>
                  <a:gd name="T4" fmla="*/ 1 w 42"/>
                  <a:gd name="T5" fmla="*/ 34 h 37"/>
                  <a:gd name="T6" fmla="*/ 26 w 42"/>
                  <a:gd name="T7" fmla="*/ 1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37">
                    <a:moveTo>
                      <a:pt x="26" y="13"/>
                    </a:moveTo>
                    <a:cubicBezTo>
                      <a:pt x="8" y="0"/>
                      <a:pt x="0" y="31"/>
                      <a:pt x="2" y="33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8" y="37"/>
                      <a:pt x="42" y="25"/>
                      <a:pt x="26" y="1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09" name="Freeform 1025"/>
              <p:cNvSpPr>
                <a:spLocks/>
              </p:cNvSpPr>
              <p:nvPr/>
            </p:nvSpPr>
            <p:spPr bwMode="auto">
              <a:xfrm>
                <a:off x="2979" y="901"/>
                <a:ext cx="79" cy="67"/>
              </a:xfrm>
              <a:custGeom>
                <a:avLst/>
                <a:gdLst>
                  <a:gd name="T0" fmla="*/ 33 w 121"/>
                  <a:gd name="T1" fmla="*/ 88 h 103"/>
                  <a:gd name="T2" fmla="*/ 25 w 121"/>
                  <a:gd name="T3" fmla="*/ 99 h 103"/>
                  <a:gd name="T4" fmla="*/ 62 w 121"/>
                  <a:gd name="T5" fmla="*/ 68 h 103"/>
                  <a:gd name="T6" fmla="*/ 65 w 121"/>
                  <a:gd name="T7" fmla="*/ 73 h 103"/>
                  <a:gd name="T8" fmla="*/ 110 w 121"/>
                  <a:gd name="T9" fmla="*/ 69 h 103"/>
                  <a:gd name="T10" fmla="*/ 99 w 121"/>
                  <a:gd name="T11" fmla="*/ 62 h 103"/>
                  <a:gd name="T12" fmla="*/ 102 w 121"/>
                  <a:gd name="T13" fmla="*/ 61 h 103"/>
                  <a:gd name="T14" fmla="*/ 103 w 121"/>
                  <a:gd name="T15" fmla="*/ 51 h 103"/>
                  <a:gd name="T16" fmla="*/ 102 w 121"/>
                  <a:gd name="T17" fmla="*/ 49 h 103"/>
                  <a:gd name="T18" fmla="*/ 118 w 121"/>
                  <a:gd name="T19" fmla="*/ 42 h 103"/>
                  <a:gd name="T20" fmla="*/ 106 w 121"/>
                  <a:gd name="T21" fmla="*/ 33 h 103"/>
                  <a:gd name="T22" fmla="*/ 110 w 121"/>
                  <a:gd name="T23" fmla="*/ 19 h 103"/>
                  <a:gd name="T24" fmla="*/ 109 w 121"/>
                  <a:gd name="T25" fmla="*/ 18 h 103"/>
                  <a:gd name="T26" fmla="*/ 95 w 121"/>
                  <a:gd name="T27" fmla="*/ 29 h 103"/>
                  <a:gd name="T28" fmla="*/ 98 w 121"/>
                  <a:gd name="T29" fmla="*/ 7 h 103"/>
                  <a:gd name="T30" fmla="*/ 88 w 121"/>
                  <a:gd name="T31" fmla="*/ 14 h 103"/>
                  <a:gd name="T32" fmla="*/ 79 w 121"/>
                  <a:gd name="T33" fmla="*/ 5 h 103"/>
                  <a:gd name="T34" fmla="*/ 79 w 121"/>
                  <a:gd name="T35" fmla="*/ 19 h 103"/>
                  <a:gd name="T36" fmla="*/ 62 w 121"/>
                  <a:gd name="T37" fmla="*/ 5 h 103"/>
                  <a:gd name="T38" fmla="*/ 78 w 121"/>
                  <a:gd name="T39" fmla="*/ 26 h 103"/>
                  <a:gd name="T40" fmla="*/ 48 w 121"/>
                  <a:gd name="T41" fmla="*/ 15 h 103"/>
                  <a:gd name="T42" fmla="*/ 51 w 121"/>
                  <a:gd name="T43" fmla="*/ 19 h 103"/>
                  <a:gd name="T44" fmla="*/ 49 w 121"/>
                  <a:gd name="T45" fmla="*/ 25 h 103"/>
                  <a:gd name="T46" fmla="*/ 37 w 121"/>
                  <a:gd name="T47" fmla="*/ 21 h 103"/>
                  <a:gd name="T48" fmla="*/ 64 w 121"/>
                  <a:gd name="T49" fmla="*/ 32 h 103"/>
                  <a:gd name="T50" fmla="*/ 48 w 121"/>
                  <a:gd name="T51" fmla="*/ 34 h 103"/>
                  <a:gd name="T52" fmla="*/ 56 w 121"/>
                  <a:gd name="T53" fmla="*/ 42 h 103"/>
                  <a:gd name="T54" fmla="*/ 51 w 121"/>
                  <a:gd name="T55" fmla="*/ 41 h 103"/>
                  <a:gd name="T56" fmla="*/ 9 w 121"/>
                  <a:gd name="T57" fmla="*/ 42 h 103"/>
                  <a:gd name="T58" fmla="*/ 24 w 121"/>
                  <a:gd name="T59" fmla="*/ 42 h 103"/>
                  <a:gd name="T60" fmla="*/ 32 w 121"/>
                  <a:gd name="T61" fmla="*/ 51 h 103"/>
                  <a:gd name="T62" fmla="*/ 26 w 121"/>
                  <a:gd name="T63" fmla="*/ 49 h 103"/>
                  <a:gd name="T64" fmla="*/ 11 w 121"/>
                  <a:gd name="T65" fmla="*/ 51 h 103"/>
                  <a:gd name="T66" fmla="*/ 17 w 121"/>
                  <a:gd name="T67" fmla="*/ 53 h 103"/>
                  <a:gd name="T68" fmla="*/ 30 w 121"/>
                  <a:gd name="T69" fmla="*/ 60 h 103"/>
                  <a:gd name="T70" fmla="*/ 33 w 121"/>
                  <a:gd name="T71" fmla="*/ 60 h 103"/>
                  <a:gd name="T72" fmla="*/ 9 w 121"/>
                  <a:gd name="T73" fmla="*/ 64 h 103"/>
                  <a:gd name="T74" fmla="*/ 32 w 121"/>
                  <a:gd name="T75" fmla="*/ 70 h 103"/>
                  <a:gd name="T76" fmla="*/ 36 w 121"/>
                  <a:gd name="T77" fmla="*/ 69 h 103"/>
                  <a:gd name="T78" fmla="*/ 5 w 121"/>
                  <a:gd name="T79" fmla="*/ 81 h 103"/>
                  <a:gd name="T80" fmla="*/ 1 w 121"/>
                  <a:gd name="T81" fmla="*/ 83 h 103"/>
                  <a:gd name="T82" fmla="*/ 1 w 121"/>
                  <a:gd name="T83" fmla="*/ 89 h 103"/>
                  <a:gd name="T84" fmla="*/ 33 w 121"/>
                  <a:gd name="T85" fmla="*/ 8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1" h="103">
                    <a:moveTo>
                      <a:pt x="33" y="88"/>
                    </a:moveTo>
                    <a:cubicBezTo>
                      <a:pt x="33" y="88"/>
                      <a:pt x="21" y="98"/>
                      <a:pt x="25" y="99"/>
                    </a:cubicBezTo>
                    <a:cubicBezTo>
                      <a:pt x="37" y="103"/>
                      <a:pt x="43" y="74"/>
                      <a:pt x="62" y="68"/>
                    </a:cubicBezTo>
                    <a:cubicBezTo>
                      <a:pt x="69" y="66"/>
                      <a:pt x="66" y="70"/>
                      <a:pt x="65" y="73"/>
                    </a:cubicBezTo>
                    <a:cubicBezTo>
                      <a:pt x="65" y="73"/>
                      <a:pt x="105" y="79"/>
                      <a:pt x="110" y="69"/>
                    </a:cubicBezTo>
                    <a:cubicBezTo>
                      <a:pt x="111" y="69"/>
                      <a:pt x="99" y="64"/>
                      <a:pt x="99" y="62"/>
                    </a:cubicBezTo>
                    <a:cubicBezTo>
                      <a:pt x="98" y="61"/>
                      <a:pt x="102" y="61"/>
                      <a:pt x="102" y="61"/>
                    </a:cubicBezTo>
                    <a:cubicBezTo>
                      <a:pt x="110" y="61"/>
                      <a:pt x="104" y="55"/>
                      <a:pt x="103" y="51"/>
                    </a:cubicBezTo>
                    <a:cubicBezTo>
                      <a:pt x="103" y="50"/>
                      <a:pt x="101" y="50"/>
                      <a:pt x="102" y="49"/>
                    </a:cubicBezTo>
                    <a:cubicBezTo>
                      <a:pt x="104" y="45"/>
                      <a:pt x="117" y="45"/>
                      <a:pt x="118" y="42"/>
                    </a:cubicBezTo>
                    <a:cubicBezTo>
                      <a:pt x="121" y="26"/>
                      <a:pt x="108" y="35"/>
                      <a:pt x="106" y="33"/>
                    </a:cubicBezTo>
                    <a:cubicBezTo>
                      <a:pt x="100" y="29"/>
                      <a:pt x="120" y="24"/>
                      <a:pt x="110" y="19"/>
                    </a:cubicBezTo>
                    <a:cubicBezTo>
                      <a:pt x="109" y="18"/>
                      <a:pt x="109" y="18"/>
                      <a:pt x="109" y="18"/>
                    </a:cubicBezTo>
                    <a:cubicBezTo>
                      <a:pt x="101" y="11"/>
                      <a:pt x="99" y="31"/>
                      <a:pt x="95" y="29"/>
                    </a:cubicBezTo>
                    <a:cubicBezTo>
                      <a:pt x="91" y="27"/>
                      <a:pt x="102" y="13"/>
                      <a:pt x="98" y="7"/>
                    </a:cubicBezTo>
                    <a:cubicBezTo>
                      <a:pt x="94" y="2"/>
                      <a:pt x="90" y="15"/>
                      <a:pt x="88" y="14"/>
                    </a:cubicBezTo>
                    <a:cubicBezTo>
                      <a:pt x="86" y="14"/>
                      <a:pt x="82" y="0"/>
                      <a:pt x="79" y="5"/>
                    </a:cubicBezTo>
                    <a:cubicBezTo>
                      <a:pt x="74" y="13"/>
                      <a:pt x="87" y="13"/>
                      <a:pt x="79" y="19"/>
                    </a:cubicBezTo>
                    <a:cubicBezTo>
                      <a:pt x="77" y="20"/>
                      <a:pt x="69" y="0"/>
                      <a:pt x="62" y="5"/>
                    </a:cubicBezTo>
                    <a:cubicBezTo>
                      <a:pt x="54" y="10"/>
                      <a:pt x="81" y="24"/>
                      <a:pt x="78" y="26"/>
                    </a:cubicBezTo>
                    <a:cubicBezTo>
                      <a:pt x="73" y="32"/>
                      <a:pt x="57" y="11"/>
                      <a:pt x="48" y="15"/>
                    </a:cubicBezTo>
                    <a:cubicBezTo>
                      <a:pt x="46" y="16"/>
                      <a:pt x="50" y="18"/>
                      <a:pt x="51" y="19"/>
                    </a:cubicBezTo>
                    <a:cubicBezTo>
                      <a:pt x="54" y="25"/>
                      <a:pt x="53" y="23"/>
                      <a:pt x="49" y="25"/>
                    </a:cubicBezTo>
                    <a:cubicBezTo>
                      <a:pt x="46" y="26"/>
                      <a:pt x="40" y="17"/>
                      <a:pt x="37" y="21"/>
                    </a:cubicBezTo>
                    <a:cubicBezTo>
                      <a:pt x="32" y="30"/>
                      <a:pt x="64" y="31"/>
                      <a:pt x="64" y="32"/>
                    </a:cubicBezTo>
                    <a:cubicBezTo>
                      <a:pt x="65" y="34"/>
                      <a:pt x="49" y="34"/>
                      <a:pt x="48" y="34"/>
                    </a:cubicBezTo>
                    <a:cubicBezTo>
                      <a:pt x="44" y="35"/>
                      <a:pt x="59" y="39"/>
                      <a:pt x="56" y="42"/>
                    </a:cubicBezTo>
                    <a:cubicBezTo>
                      <a:pt x="55" y="43"/>
                      <a:pt x="52" y="41"/>
                      <a:pt x="51" y="41"/>
                    </a:cubicBezTo>
                    <a:cubicBezTo>
                      <a:pt x="39" y="33"/>
                      <a:pt x="17" y="35"/>
                      <a:pt x="9" y="42"/>
                    </a:cubicBezTo>
                    <a:cubicBezTo>
                      <a:pt x="8" y="44"/>
                      <a:pt x="24" y="42"/>
                      <a:pt x="24" y="42"/>
                    </a:cubicBezTo>
                    <a:cubicBezTo>
                      <a:pt x="29" y="43"/>
                      <a:pt x="28" y="45"/>
                      <a:pt x="32" y="51"/>
                    </a:cubicBezTo>
                    <a:cubicBezTo>
                      <a:pt x="33" y="52"/>
                      <a:pt x="26" y="49"/>
                      <a:pt x="26" y="49"/>
                    </a:cubicBezTo>
                    <a:cubicBezTo>
                      <a:pt x="24" y="49"/>
                      <a:pt x="12" y="49"/>
                      <a:pt x="11" y="51"/>
                    </a:cubicBezTo>
                    <a:cubicBezTo>
                      <a:pt x="11" y="54"/>
                      <a:pt x="16" y="53"/>
                      <a:pt x="17" y="53"/>
                    </a:cubicBezTo>
                    <a:cubicBezTo>
                      <a:pt x="18" y="53"/>
                      <a:pt x="30" y="58"/>
                      <a:pt x="30" y="60"/>
                    </a:cubicBezTo>
                    <a:cubicBezTo>
                      <a:pt x="30" y="62"/>
                      <a:pt x="33" y="59"/>
                      <a:pt x="33" y="60"/>
                    </a:cubicBezTo>
                    <a:cubicBezTo>
                      <a:pt x="36" y="68"/>
                      <a:pt x="10" y="60"/>
                      <a:pt x="9" y="64"/>
                    </a:cubicBezTo>
                    <a:cubicBezTo>
                      <a:pt x="9" y="68"/>
                      <a:pt x="24" y="74"/>
                      <a:pt x="32" y="70"/>
                    </a:cubicBezTo>
                    <a:cubicBezTo>
                      <a:pt x="32" y="70"/>
                      <a:pt x="36" y="67"/>
                      <a:pt x="36" y="69"/>
                    </a:cubicBezTo>
                    <a:cubicBezTo>
                      <a:pt x="37" y="72"/>
                      <a:pt x="16" y="83"/>
                      <a:pt x="5" y="81"/>
                    </a:cubicBezTo>
                    <a:cubicBezTo>
                      <a:pt x="3" y="80"/>
                      <a:pt x="2" y="82"/>
                      <a:pt x="1" y="83"/>
                    </a:cubicBezTo>
                    <a:cubicBezTo>
                      <a:pt x="0" y="84"/>
                      <a:pt x="0" y="89"/>
                      <a:pt x="1" y="89"/>
                    </a:cubicBezTo>
                    <a:cubicBezTo>
                      <a:pt x="5" y="92"/>
                      <a:pt x="31" y="84"/>
                      <a:pt x="33" y="8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0" name="Freeform 1026"/>
              <p:cNvSpPr>
                <a:spLocks/>
              </p:cNvSpPr>
              <p:nvPr/>
            </p:nvSpPr>
            <p:spPr bwMode="auto">
              <a:xfrm>
                <a:off x="3087" y="840"/>
                <a:ext cx="23" cy="24"/>
              </a:xfrm>
              <a:custGeom>
                <a:avLst/>
                <a:gdLst>
                  <a:gd name="T0" fmla="*/ 3 w 35"/>
                  <a:gd name="T1" fmla="*/ 24 h 36"/>
                  <a:gd name="T2" fmla="*/ 5 w 35"/>
                  <a:gd name="T3" fmla="*/ 31 h 36"/>
                  <a:gd name="T4" fmla="*/ 4 w 35"/>
                  <a:gd name="T5" fmla="*/ 31 h 36"/>
                  <a:gd name="T6" fmla="*/ 32 w 35"/>
                  <a:gd name="T7" fmla="*/ 17 h 36"/>
                  <a:gd name="T8" fmla="*/ 17 w 35"/>
                  <a:gd name="T9" fmla="*/ 19 h 36"/>
                  <a:gd name="T10" fmla="*/ 7 w 35"/>
                  <a:gd name="T11" fmla="*/ 16 h 36"/>
                  <a:gd name="T12" fmla="*/ 3 w 35"/>
                  <a:gd name="T13" fmla="*/ 2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36">
                    <a:moveTo>
                      <a:pt x="3" y="24"/>
                    </a:moveTo>
                    <a:cubicBezTo>
                      <a:pt x="11" y="25"/>
                      <a:pt x="1" y="25"/>
                      <a:pt x="5" y="31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9" y="36"/>
                      <a:pt x="35" y="19"/>
                      <a:pt x="32" y="17"/>
                    </a:cubicBezTo>
                    <a:cubicBezTo>
                      <a:pt x="22" y="8"/>
                      <a:pt x="27" y="20"/>
                      <a:pt x="17" y="19"/>
                    </a:cubicBezTo>
                    <a:cubicBezTo>
                      <a:pt x="12" y="19"/>
                      <a:pt x="9" y="0"/>
                      <a:pt x="7" y="16"/>
                    </a:cubicBezTo>
                    <a:cubicBezTo>
                      <a:pt x="7" y="16"/>
                      <a:pt x="0" y="24"/>
                      <a:pt x="3" y="2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1" name="Freeform 1027"/>
              <p:cNvSpPr>
                <a:spLocks/>
              </p:cNvSpPr>
              <p:nvPr/>
            </p:nvSpPr>
            <p:spPr bwMode="auto">
              <a:xfrm>
                <a:off x="3050" y="873"/>
                <a:ext cx="70" cy="38"/>
              </a:xfrm>
              <a:custGeom>
                <a:avLst/>
                <a:gdLst>
                  <a:gd name="T0" fmla="*/ 72 w 108"/>
                  <a:gd name="T1" fmla="*/ 49 h 58"/>
                  <a:gd name="T2" fmla="*/ 73 w 108"/>
                  <a:gd name="T3" fmla="*/ 35 h 58"/>
                  <a:gd name="T4" fmla="*/ 91 w 108"/>
                  <a:gd name="T5" fmla="*/ 11 h 58"/>
                  <a:gd name="T6" fmla="*/ 90 w 108"/>
                  <a:gd name="T7" fmla="*/ 10 h 58"/>
                  <a:gd name="T8" fmla="*/ 78 w 108"/>
                  <a:gd name="T9" fmla="*/ 5 h 58"/>
                  <a:gd name="T10" fmla="*/ 61 w 108"/>
                  <a:gd name="T11" fmla="*/ 4 h 58"/>
                  <a:gd name="T12" fmla="*/ 68 w 108"/>
                  <a:gd name="T13" fmla="*/ 33 h 58"/>
                  <a:gd name="T14" fmla="*/ 61 w 108"/>
                  <a:gd name="T15" fmla="*/ 29 h 58"/>
                  <a:gd name="T16" fmla="*/ 60 w 108"/>
                  <a:gd name="T17" fmla="*/ 14 h 58"/>
                  <a:gd name="T18" fmla="*/ 46 w 108"/>
                  <a:gd name="T19" fmla="*/ 23 h 58"/>
                  <a:gd name="T20" fmla="*/ 31 w 108"/>
                  <a:gd name="T21" fmla="*/ 18 h 58"/>
                  <a:gd name="T22" fmla="*/ 55 w 108"/>
                  <a:gd name="T23" fmla="*/ 31 h 58"/>
                  <a:gd name="T24" fmla="*/ 18 w 108"/>
                  <a:gd name="T25" fmla="*/ 29 h 58"/>
                  <a:gd name="T26" fmla="*/ 21 w 108"/>
                  <a:gd name="T27" fmla="*/ 33 h 58"/>
                  <a:gd name="T28" fmla="*/ 29 w 108"/>
                  <a:gd name="T29" fmla="*/ 41 h 58"/>
                  <a:gd name="T30" fmla="*/ 37 w 108"/>
                  <a:gd name="T31" fmla="*/ 40 h 58"/>
                  <a:gd name="T32" fmla="*/ 36 w 108"/>
                  <a:gd name="T33" fmla="*/ 42 h 58"/>
                  <a:gd name="T34" fmla="*/ 5 w 108"/>
                  <a:gd name="T35" fmla="*/ 43 h 58"/>
                  <a:gd name="T36" fmla="*/ 2 w 108"/>
                  <a:gd name="T37" fmla="*/ 49 h 58"/>
                  <a:gd name="T38" fmla="*/ 72 w 108"/>
                  <a:gd name="T39" fmla="*/ 4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8" h="58">
                    <a:moveTo>
                      <a:pt x="72" y="49"/>
                    </a:moveTo>
                    <a:cubicBezTo>
                      <a:pt x="85" y="41"/>
                      <a:pt x="64" y="42"/>
                      <a:pt x="73" y="35"/>
                    </a:cubicBezTo>
                    <a:cubicBezTo>
                      <a:pt x="79" y="30"/>
                      <a:pt x="108" y="22"/>
                      <a:pt x="91" y="11"/>
                    </a:cubicBezTo>
                    <a:cubicBezTo>
                      <a:pt x="90" y="10"/>
                      <a:pt x="90" y="10"/>
                      <a:pt x="90" y="10"/>
                    </a:cubicBezTo>
                    <a:cubicBezTo>
                      <a:pt x="86" y="8"/>
                      <a:pt x="76" y="8"/>
                      <a:pt x="78" y="5"/>
                    </a:cubicBezTo>
                    <a:cubicBezTo>
                      <a:pt x="79" y="2"/>
                      <a:pt x="61" y="0"/>
                      <a:pt x="61" y="4"/>
                    </a:cubicBezTo>
                    <a:cubicBezTo>
                      <a:pt x="60" y="6"/>
                      <a:pt x="79" y="32"/>
                      <a:pt x="68" y="33"/>
                    </a:cubicBezTo>
                    <a:cubicBezTo>
                      <a:pt x="65" y="34"/>
                      <a:pt x="62" y="31"/>
                      <a:pt x="61" y="29"/>
                    </a:cubicBezTo>
                    <a:cubicBezTo>
                      <a:pt x="57" y="25"/>
                      <a:pt x="61" y="16"/>
                      <a:pt x="60" y="14"/>
                    </a:cubicBezTo>
                    <a:cubicBezTo>
                      <a:pt x="53" y="6"/>
                      <a:pt x="48" y="23"/>
                      <a:pt x="46" y="23"/>
                    </a:cubicBezTo>
                    <a:cubicBezTo>
                      <a:pt x="46" y="23"/>
                      <a:pt x="35" y="9"/>
                      <a:pt x="31" y="18"/>
                    </a:cubicBezTo>
                    <a:cubicBezTo>
                      <a:pt x="25" y="31"/>
                      <a:pt x="56" y="28"/>
                      <a:pt x="55" y="31"/>
                    </a:cubicBezTo>
                    <a:cubicBezTo>
                      <a:pt x="52" y="36"/>
                      <a:pt x="21" y="26"/>
                      <a:pt x="18" y="29"/>
                    </a:cubicBezTo>
                    <a:cubicBezTo>
                      <a:pt x="18" y="30"/>
                      <a:pt x="20" y="32"/>
                      <a:pt x="21" y="33"/>
                    </a:cubicBezTo>
                    <a:cubicBezTo>
                      <a:pt x="23" y="35"/>
                      <a:pt x="26" y="40"/>
                      <a:pt x="29" y="41"/>
                    </a:cubicBezTo>
                    <a:cubicBezTo>
                      <a:pt x="30" y="41"/>
                      <a:pt x="37" y="39"/>
                      <a:pt x="37" y="40"/>
                    </a:cubicBezTo>
                    <a:cubicBezTo>
                      <a:pt x="37" y="41"/>
                      <a:pt x="36" y="42"/>
                      <a:pt x="36" y="42"/>
                    </a:cubicBezTo>
                    <a:cubicBezTo>
                      <a:pt x="28" y="47"/>
                      <a:pt x="5" y="39"/>
                      <a:pt x="5" y="43"/>
                    </a:cubicBezTo>
                    <a:cubicBezTo>
                      <a:pt x="5" y="45"/>
                      <a:pt x="0" y="47"/>
                      <a:pt x="2" y="49"/>
                    </a:cubicBezTo>
                    <a:cubicBezTo>
                      <a:pt x="9" y="58"/>
                      <a:pt x="65" y="54"/>
                      <a:pt x="72" y="4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2" name="Freeform 1028"/>
              <p:cNvSpPr>
                <a:spLocks/>
              </p:cNvSpPr>
              <p:nvPr/>
            </p:nvSpPr>
            <p:spPr bwMode="auto">
              <a:xfrm>
                <a:off x="3017" y="946"/>
                <a:ext cx="16" cy="20"/>
              </a:xfrm>
              <a:custGeom>
                <a:avLst/>
                <a:gdLst>
                  <a:gd name="T0" fmla="*/ 2 w 25"/>
                  <a:gd name="T1" fmla="*/ 31 h 31"/>
                  <a:gd name="T2" fmla="*/ 0 w 25"/>
                  <a:gd name="T3" fmla="*/ 29 h 31"/>
                  <a:gd name="T4" fmla="*/ 0 w 25"/>
                  <a:gd name="T5" fmla="*/ 30 h 31"/>
                  <a:gd name="T6" fmla="*/ 2 w 25"/>
                  <a:gd name="T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31">
                    <a:moveTo>
                      <a:pt x="2" y="31"/>
                    </a:moveTo>
                    <a:cubicBezTo>
                      <a:pt x="25" y="20"/>
                      <a:pt x="16" y="0"/>
                      <a:pt x="0" y="29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1"/>
                      <a:pt x="1" y="31"/>
                      <a:pt x="2" y="3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3" name="Freeform 1029"/>
              <p:cNvSpPr>
                <a:spLocks/>
              </p:cNvSpPr>
              <p:nvPr/>
            </p:nvSpPr>
            <p:spPr bwMode="auto">
              <a:xfrm>
                <a:off x="2994" y="971"/>
                <a:ext cx="25" cy="17"/>
              </a:xfrm>
              <a:custGeom>
                <a:avLst/>
                <a:gdLst>
                  <a:gd name="T0" fmla="*/ 14 w 38"/>
                  <a:gd name="T1" fmla="*/ 23 h 27"/>
                  <a:gd name="T2" fmla="*/ 36 w 38"/>
                  <a:gd name="T3" fmla="*/ 12 h 27"/>
                  <a:gd name="T4" fmla="*/ 15 w 38"/>
                  <a:gd name="T5" fmla="*/ 8 h 27"/>
                  <a:gd name="T6" fmla="*/ 17 w 38"/>
                  <a:gd name="T7" fmla="*/ 13 h 27"/>
                  <a:gd name="T8" fmla="*/ 14 w 38"/>
                  <a:gd name="T9" fmla="*/ 23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7">
                    <a:moveTo>
                      <a:pt x="14" y="23"/>
                    </a:moveTo>
                    <a:cubicBezTo>
                      <a:pt x="18" y="27"/>
                      <a:pt x="38" y="15"/>
                      <a:pt x="36" y="12"/>
                    </a:cubicBezTo>
                    <a:cubicBezTo>
                      <a:pt x="33" y="6"/>
                      <a:pt x="12" y="0"/>
                      <a:pt x="15" y="8"/>
                    </a:cubicBezTo>
                    <a:cubicBezTo>
                      <a:pt x="16" y="10"/>
                      <a:pt x="27" y="20"/>
                      <a:pt x="17" y="13"/>
                    </a:cubicBezTo>
                    <a:cubicBezTo>
                      <a:pt x="0" y="2"/>
                      <a:pt x="6" y="9"/>
                      <a:pt x="14" y="2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4" name="Freeform 1030"/>
              <p:cNvSpPr>
                <a:spLocks/>
              </p:cNvSpPr>
              <p:nvPr/>
            </p:nvSpPr>
            <p:spPr bwMode="auto">
              <a:xfrm>
                <a:off x="3305" y="820"/>
                <a:ext cx="46" cy="16"/>
              </a:xfrm>
              <a:custGeom>
                <a:avLst/>
                <a:gdLst>
                  <a:gd name="T0" fmla="*/ 14 w 70"/>
                  <a:gd name="T1" fmla="*/ 11 h 24"/>
                  <a:gd name="T2" fmla="*/ 4 w 70"/>
                  <a:gd name="T3" fmla="*/ 7 h 24"/>
                  <a:gd name="T4" fmla="*/ 3 w 70"/>
                  <a:gd name="T5" fmla="*/ 8 h 24"/>
                  <a:gd name="T6" fmla="*/ 14 w 70"/>
                  <a:gd name="T7" fmla="*/ 18 h 24"/>
                  <a:gd name="T8" fmla="*/ 56 w 70"/>
                  <a:gd name="T9" fmla="*/ 24 h 24"/>
                  <a:gd name="T10" fmla="*/ 58 w 70"/>
                  <a:gd name="T11" fmla="*/ 23 h 24"/>
                  <a:gd name="T12" fmla="*/ 37 w 70"/>
                  <a:gd name="T13" fmla="*/ 1 h 24"/>
                  <a:gd name="T14" fmla="*/ 35 w 70"/>
                  <a:gd name="T15" fmla="*/ 3 h 24"/>
                  <a:gd name="T16" fmla="*/ 29 w 70"/>
                  <a:gd name="T17" fmla="*/ 0 h 24"/>
                  <a:gd name="T18" fmla="*/ 13 w 70"/>
                  <a:gd name="T19" fmla="*/ 4 h 24"/>
                  <a:gd name="T20" fmla="*/ 14 w 70"/>
                  <a:gd name="T21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0" h="24">
                    <a:moveTo>
                      <a:pt x="14" y="11"/>
                    </a:moveTo>
                    <a:cubicBezTo>
                      <a:pt x="10" y="12"/>
                      <a:pt x="10" y="4"/>
                      <a:pt x="4" y="7"/>
                    </a:cubicBezTo>
                    <a:cubicBezTo>
                      <a:pt x="3" y="7"/>
                      <a:pt x="3" y="8"/>
                      <a:pt x="3" y="8"/>
                    </a:cubicBezTo>
                    <a:cubicBezTo>
                      <a:pt x="0" y="13"/>
                      <a:pt x="11" y="17"/>
                      <a:pt x="14" y="18"/>
                    </a:cubicBezTo>
                    <a:cubicBezTo>
                      <a:pt x="28" y="20"/>
                      <a:pt x="42" y="23"/>
                      <a:pt x="56" y="24"/>
                    </a:cubicBezTo>
                    <a:cubicBezTo>
                      <a:pt x="58" y="23"/>
                      <a:pt x="58" y="23"/>
                      <a:pt x="58" y="23"/>
                    </a:cubicBezTo>
                    <a:cubicBezTo>
                      <a:pt x="70" y="21"/>
                      <a:pt x="39" y="0"/>
                      <a:pt x="37" y="1"/>
                    </a:cubicBezTo>
                    <a:cubicBezTo>
                      <a:pt x="36" y="1"/>
                      <a:pt x="35" y="2"/>
                      <a:pt x="35" y="3"/>
                    </a:cubicBezTo>
                    <a:cubicBezTo>
                      <a:pt x="38" y="19"/>
                      <a:pt x="29" y="0"/>
                      <a:pt x="29" y="0"/>
                    </a:cubicBezTo>
                    <a:cubicBezTo>
                      <a:pt x="19" y="2"/>
                      <a:pt x="13" y="3"/>
                      <a:pt x="13" y="4"/>
                    </a:cubicBezTo>
                    <a:cubicBezTo>
                      <a:pt x="13" y="7"/>
                      <a:pt x="17" y="11"/>
                      <a:pt x="14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5" name="Freeform 1031"/>
              <p:cNvSpPr>
                <a:spLocks/>
              </p:cNvSpPr>
              <p:nvPr/>
            </p:nvSpPr>
            <p:spPr bwMode="auto">
              <a:xfrm>
                <a:off x="3472" y="736"/>
                <a:ext cx="63" cy="28"/>
              </a:xfrm>
              <a:custGeom>
                <a:avLst/>
                <a:gdLst>
                  <a:gd name="T0" fmla="*/ 33 w 96"/>
                  <a:gd name="T1" fmla="*/ 26 h 42"/>
                  <a:gd name="T2" fmla="*/ 32 w 96"/>
                  <a:gd name="T3" fmla="*/ 28 h 42"/>
                  <a:gd name="T4" fmla="*/ 20 w 96"/>
                  <a:gd name="T5" fmla="*/ 31 h 42"/>
                  <a:gd name="T6" fmla="*/ 26 w 96"/>
                  <a:gd name="T7" fmla="*/ 35 h 42"/>
                  <a:gd name="T8" fmla="*/ 32 w 96"/>
                  <a:gd name="T9" fmla="*/ 41 h 42"/>
                  <a:gd name="T10" fmla="*/ 34 w 96"/>
                  <a:gd name="T11" fmla="*/ 41 h 42"/>
                  <a:gd name="T12" fmla="*/ 64 w 96"/>
                  <a:gd name="T13" fmla="*/ 35 h 42"/>
                  <a:gd name="T14" fmla="*/ 92 w 96"/>
                  <a:gd name="T15" fmla="*/ 22 h 42"/>
                  <a:gd name="T16" fmla="*/ 66 w 96"/>
                  <a:gd name="T17" fmla="*/ 28 h 42"/>
                  <a:gd name="T18" fmla="*/ 65 w 96"/>
                  <a:gd name="T19" fmla="*/ 22 h 42"/>
                  <a:gd name="T20" fmla="*/ 76 w 96"/>
                  <a:gd name="T21" fmla="*/ 11 h 42"/>
                  <a:gd name="T22" fmla="*/ 54 w 96"/>
                  <a:gd name="T23" fmla="*/ 13 h 42"/>
                  <a:gd name="T24" fmla="*/ 54 w 96"/>
                  <a:gd name="T25" fmla="*/ 9 h 42"/>
                  <a:gd name="T26" fmla="*/ 44 w 96"/>
                  <a:gd name="T27" fmla="*/ 6 h 42"/>
                  <a:gd name="T28" fmla="*/ 42 w 96"/>
                  <a:gd name="T29" fmla="*/ 2 h 42"/>
                  <a:gd name="T30" fmla="*/ 47 w 96"/>
                  <a:gd name="T31" fmla="*/ 21 h 42"/>
                  <a:gd name="T32" fmla="*/ 43 w 96"/>
                  <a:gd name="T33" fmla="*/ 18 h 42"/>
                  <a:gd name="T34" fmla="*/ 22 w 96"/>
                  <a:gd name="T35" fmla="*/ 16 h 42"/>
                  <a:gd name="T36" fmla="*/ 12 w 96"/>
                  <a:gd name="T37" fmla="*/ 16 h 42"/>
                  <a:gd name="T38" fmla="*/ 14 w 96"/>
                  <a:gd name="T39" fmla="*/ 18 h 42"/>
                  <a:gd name="T40" fmla="*/ 10 w 96"/>
                  <a:gd name="T41" fmla="*/ 21 h 42"/>
                  <a:gd name="T42" fmla="*/ 33 w 96"/>
                  <a:gd name="T43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6" h="42">
                    <a:moveTo>
                      <a:pt x="33" y="26"/>
                    </a:moveTo>
                    <a:cubicBezTo>
                      <a:pt x="34" y="27"/>
                      <a:pt x="33" y="28"/>
                      <a:pt x="32" y="28"/>
                    </a:cubicBezTo>
                    <a:cubicBezTo>
                      <a:pt x="31" y="29"/>
                      <a:pt x="21" y="30"/>
                      <a:pt x="20" y="31"/>
                    </a:cubicBezTo>
                    <a:cubicBezTo>
                      <a:pt x="20" y="32"/>
                      <a:pt x="25" y="34"/>
                      <a:pt x="26" y="35"/>
                    </a:cubicBezTo>
                    <a:cubicBezTo>
                      <a:pt x="28" y="37"/>
                      <a:pt x="29" y="40"/>
                      <a:pt x="32" y="41"/>
                    </a:cubicBezTo>
                    <a:cubicBezTo>
                      <a:pt x="34" y="41"/>
                      <a:pt x="34" y="41"/>
                      <a:pt x="34" y="41"/>
                    </a:cubicBezTo>
                    <a:cubicBezTo>
                      <a:pt x="52" y="42"/>
                      <a:pt x="45" y="32"/>
                      <a:pt x="64" y="35"/>
                    </a:cubicBezTo>
                    <a:cubicBezTo>
                      <a:pt x="66" y="35"/>
                      <a:pt x="96" y="30"/>
                      <a:pt x="92" y="22"/>
                    </a:cubicBezTo>
                    <a:cubicBezTo>
                      <a:pt x="88" y="16"/>
                      <a:pt x="69" y="38"/>
                      <a:pt x="66" y="28"/>
                    </a:cubicBezTo>
                    <a:cubicBezTo>
                      <a:pt x="65" y="26"/>
                      <a:pt x="74" y="24"/>
                      <a:pt x="65" y="22"/>
                    </a:cubicBezTo>
                    <a:cubicBezTo>
                      <a:pt x="59" y="21"/>
                      <a:pt x="80" y="18"/>
                      <a:pt x="76" y="11"/>
                    </a:cubicBezTo>
                    <a:cubicBezTo>
                      <a:pt x="73" y="7"/>
                      <a:pt x="58" y="14"/>
                      <a:pt x="54" y="13"/>
                    </a:cubicBezTo>
                    <a:cubicBezTo>
                      <a:pt x="52" y="12"/>
                      <a:pt x="53" y="10"/>
                      <a:pt x="54" y="9"/>
                    </a:cubicBezTo>
                    <a:cubicBezTo>
                      <a:pt x="60" y="0"/>
                      <a:pt x="47" y="7"/>
                      <a:pt x="44" y="6"/>
                    </a:cubicBezTo>
                    <a:cubicBezTo>
                      <a:pt x="42" y="6"/>
                      <a:pt x="44" y="1"/>
                      <a:pt x="42" y="2"/>
                    </a:cubicBezTo>
                    <a:cubicBezTo>
                      <a:pt x="17" y="10"/>
                      <a:pt x="54" y="9"/>
                      <a:pt x="47" y="21"/>
                    </a:cubicBezTo>
                    <a:cubicBezTo>
                      <a:pt x="46" y="22"/>
                      <a:pt x="45" y="18"/>
                      <a:pt x="43" y="18"/>
                    </a:cubicBezTo>
                    <a:cubicBezTo>
                      <a:pt x="33" y="12"/>
                      <a:pt x="23" y="17"/>
                      <a:pt x="22" y="16"/>
                    </a:cubicBezTo>
                    <a:cubicBezTo>
                      <a:pt x="21" y="16"/>
                      <a:pt x="12" y="14"/>
                      <a:pt x="12" y="16"/>
                    </a:cubicBezTo>
                    <a:cubicBezTo>
                      <a:pt x="12" y="17"/>
                      <a:pt x="13" y="18"/>
                      <a:pt x="14" y="18"/>
                    </a:cubicBezTo>
                    <a:cubicBezTo>
                      <a:pt x="16" y="19"/>
                      <a:pt x="11" y="20"/>
                      <a:pt x="10" y="21"/>
                    </a:cubicBezTo>
                    <a:cubicBezTo>
                      <a:pt x="0" y="28"/>
                      <a:pt x="32" y="25"/>
                      <a:pt x="33" y="2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6" name="Freeform 1032"/>
              <p:cNvSpPr>
                <a:spLocks/>
              </p:cNvSpPr>
              <p:nvPr/>
            </p:nvSpPr>
            <p:spPr bwMode="auto">
              <a:xfrm>
                <a:off x="2640" y="1488"/>
                <a:ext cx="15" cy="11"/>
              </a:xfrm>
              <a:custGeom>
                <a:avLst/>
                <a:gdLst>
                  <a:gd name="T0" fmla="*/ 4 w 24"/>
                  <a:gd name="T1" fmla="*/ 11 h 17"/>
                  <a:gd name="T2" fmla="*/ 23 w 24"/>
                  <a:gd name="T3" fmla="*/ 3 h 17"/>
                  <a:gd name="T4" fmla="*/ 23 w 24"/>
                  <a:gd name="T5" fmla="*/ 3 h 17"/>
                  <a:gd name="T6" fmla="*/ 4 w 24"/>
                  <a:gd name="T7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17">
                    <a:moveTo>
                      <a:pt x="4" y="11"/>
                    </a:moveTo>
                    <a:cubicBezTo>
                      <a:pt x="7" y="17"/>
                      <a:pt x="16" y="5"/>
                      <a:pt x="23" y="3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4" y="0"/>
                      <a:pt x="0" y="2"/>
                      <a:pt x="4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7" name="Freeform 1033"/>
              <p:cNvSpPr>
                <a:spLocks/>
              </p:cNvSpPr>
              <p:nvPr/>
            </p:nvSpPr>
            <p:spPr bwMode="auto">
              <a:xfrm>
                <a:off x="2648" y="1403"/>
                <a:ext cx="18" cy="13"/>
              </a:xfrm>
              <a:custGeom>
                <a:avLst/>
                <a:gdLst>
                  <a:gd name="T0" fmla="*/ 9 w 28"/>
                  <a:gd name="T1" fmla="*/ 2 h 20"/>
                  <a:gd name="T2" fmla="*/ 22 w 28"/>
                  <a:gd name="T3" fmla="*/ 5 h 20"/>
                  <a:gd name="T4" fmla="*/ 22 w 28"/>
                  <a:gd name="T5" fmla="*/ 4 h 20"/>
                  <a:gd name="T6" fmla="*/ 9 w 28"/>
                  <a:gd name="T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" h="20">
                    <a:moveTo>
                      <a:pt x="9" y="2"/>
                    </a:moveTo>
                    <a:cubicBezTo>
                      <a:pt x="0" y="5"/>
                      <a:pt x="28" y="20"/>
                      <a:pt x="22" y="5"/>
                    </a:cubicBezTo>
                    <a:cubicBezTo>
                      <a:pt x="22" y="4"/>
                      <a:pt x="22" y="4"/>
                      <a:pt x="22" y="4"/>
                    </a:cubicBezTo>
                    <a:cubicBezTo>
                      <a:pt x="19" y="0"/>
                      <a:pt x="14" y="0"/>
                      <a:pt x="9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8" name="Freeform 1034"/>
              <p:cNvSpPr>
                <a:spLocks/>
              </p:cNvSpPr>
              <p:nvPr/>
            </p:nvSpPr>
            <p:spPr bwMode="auto">
              <a:xfrm>
                <a:off x="2343" y="1840"/>
                <a:ext cx="10" cy="11"/>
              </a:xfrm>
              <a:custGeom>
                <a:avLst/>
                <a:gdLst>
                  <a:gd name="T0" fmla="*/ 7 w 15"/>
                  <a:gd name="T1" fmla="*/ 0 h 18"/>
                  <a:gd name="T2" fmla="*/ 6 w 15"/>
                  <a:gd name="T3" fmla="*/ 0 h 18"/>
                  <a:gd name="T4" fmla="*/ 2 w 15"/>
                  <a:gd name="T5" fmla="*/ 9 h 18"/>
                  <a:gd name="T6" fmla="*/ 7 w 15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8">
                    <a:moveTo>
                      <a:pt x="7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1"/>
                      <a:pt x="0" y="5"/>
                      <a:pt x="2" y="9"/>
                    </a:cubicBezTo>
                    <a:cubicBezTo>
                      <a:pt x="6" y="18"/>
                      <a:pt x="15" y="0"/>
                      <a:pt x="7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19" name="Freeform 1035"/>
              <p:cNvSpPr>
                <a:spLocks/>
              </p:cNvSpPr>
              <p:nvPr/>
            </p:nvSpPr>
            <p:spPr bwMode="auto">
              <a:xfrm>
                <a:off x="2642" y="1400"/>
                <a:ext cx="29" cy="25"/>
              </a:xfrm>
              <a:custGeom>
                <a:avLst/>
                <a:gdLst>
                  <a:gd name="T0" fmla="*/ 2 w 43"/>
                  <a:gd name="T1" fmla="*/ 13 h 38"/>
                  <a:gd name="T2" fmla="*/ 17 w 43"/>
                  <a:gd name="T3" fmla="*/ 20 h 38"/>
                  <a:gd name="T4" fmla="*/ 10 w 43"/>
                  <a:gd name="T5" fmla="*/ 24 h 38"/>
                  <a:gd name="T6" fmla="*/ 32 w 43"/>
                  <a:gd name="T7" fmla="*/ 35 h 38"/>
                  <a:gd name="T8" fmla="*/ 36 w 43"/>
                  <a:gd name="T9" fmla="*/ 36 h 38"/>
                  <a:gd name="T10" fmla="*/ 39 w 43"/>
                  <a:gd name="T11" fmla="*/ 31 h 38"/>
                  <a:gd name="T12" fmla="*/ 24 w 43"/>
                  <a:gd name="T13" fmla="*/ 26 h 38"/>
                  <a:gd name="T14" fmla="*/ 2 w 43"/>
                  <a:gd name="T15" fmla="*/ 1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38">
                    <a:moveTo>
                      <a:pt x="2" y="13"/>
                    </a:moveTo>
                    <a:cubicBezTo>
                      <a:pt x="0" y="23"/>
                      <a:pt x="12" y="16"/>
                      <a:pt x="17" y="20"/>
                    </a:cubicBezTo>
                    <a:cubicBezTo>
                      <a:pt x="24" y="24"/>
                      <a:pt x="10" y="20"/>
                      <a:pt x="10" y="24"/>
                    </a:cubicBezTo>
                    <a:cubicBezTo>
                      <a:pt x="10" y="31"/>
                      <a:pt x="28" y="35"/>
                      <a:pt x="32" y="35"/>
                    </a:cubicBezTo>
                    <a:cubicBezTo>
                      <a:pt x="33" y="35"/>
                      <a:pt x="35" y="38"/>
                      <a:pt x="36" y="36"/>
                    </a:cubicBezTo>
                    <a:cubicBezTo>
                      <a:pt x="37" y="35"/>
                      <a:pt x="38" y="32"/>
                      <a:pt x="39" y="31"/>
                    </a:cubicBezTo>
                    <a:cubicBezTo>
                      <a:pt x="43" y="26"/>
                      <a:pt x="25" y="27"/>
                      <a:pt x="24" y="26"/>
                    </a:cubicBezTo>
                    <a:cubicBezTo>
                      <a:pt x="24" y="26"/>
                      <a:pt x="4" y="0"/>
                      <a:pt x="2" y="1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0" name="Freeform 1036"/>
              <p:cNvSpPr>
                <a:spLocks/>
              </p:cNvSpPr>
              <p:nvPr/>
            </p:nvSpPr>
            <p:spPr bwMode="auto">
              <a:xfrm>
                <a:off x="2310" y="1789"/>
                <a:ext cx="24" cy="34"/>
              </a:xfrm>
              <a:custGeom>
                <a:avLst/>
                <a:gdLst>
                  <a:gd name="T0" fmla="*/ 31 w 36"/>
                  <a:gd name="T1" fmla="*/ 4 h 52"/>
                  <a:gd name="T2" fmla="*/ 31 w 36"/>
                  <a:gd name="T3" fmla="*/ 4 h 52"/>
                  <a:gd name="T4" fmla="*/ 16 w 36"/>
                  <a:gd name="T5" fmla="*/ 16 h 52"/>
                  <a:gd name="T6" fmla="*/ 1 w 36"/>
                  <a:gd name="T7" fmla="*/ 23 h 52"/>
                  <a:gd name="T8" fmla="*/ 31 w 36"/>
                  <a:gd name="T9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52">
                    <a:moveTo>
                      <a:pt x="31" y="4"/>
                    </a:moveTo>
                    <a:cubicBezTo>
                      <a:pt x="31" y="4"/>
                      <a:pt x="31" y="4"/>
                      <a:pt x="31" y="4"/>
                    </a:cubicBezTo>
                    <a:cubicBezTo>
                      <a:pt x="28" y="0"/>
                      <a:pt x="20" y="11"/>
                      <a:pt x="16" y="16"/>
                    </a:cubicBezTo>
                    <a:cubicBezTo>
                      <a:pt x="14" y="20"/>
                      <a:pt x="0" y="20"/>
                      <a:pt x="1" y="23"/>
                    </a:cubicBezTo>
                    <a:cubicBezTo>
                      <a:pt x="8" y="38"/>
                      <a:pt x="36" y="52"/>
                      <a:pt x="31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1" name="Freeform 1037"/>
              <p:cNvSpPr>
                <a:spLocks/>
              </p:cNvSpPr>
              <p:nvPr/>
            </p:nvSpPr>
            <p:spPr bwMode="auto">
              <a:xfrm>
                <a:off x="2661" y="1411"/>
                <a:ext cx="12" cy="6"/>
              </a:xfrm>
              <a:custGeom>
                <a:avLst/>
                <a:gdLst>
                  <a:gd name="T0" fmla="*/ 5 w 17"/>
                  <a:gd name="T1" fmla="*/ 0 h 10"/>
                  <a:gd name="T2" fmla="*/ 11 w 17"/>
                  <a:gd name="T3" fmla="*/ 9 h 10"/>
                  <a:gd name="T4" fmla="*/ 5 w 17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0">
                    <a:moveTo>
                      <a:pt x="5" y="0"/>
                    </a:moveTo>
                    <a:cubicBezTo>
                      <a:pt x="3" y="0"/>
                      <a:pt x="0" y="8"/>
                      <a:pt x="11" y="9"/>
                    </a:cubicBezTo>
                    <a:cubicBezTo>
                      <a:pt x="17" y="10"/>
                      <a:pt x="5" y="1"/>
                      <a:pt x="5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2" name="Freeform 1038"/>
              <p:cNvSpPr>
                <a:spLocks/>
              </p:cNvSpPr>
              <p:nvPr/>
            </p:nvSpPr>
            <p:spPr bwMode="auto">
              <a:xfrm>
                <a:off x="3478" y="821"/>
                <a:ext cx="5" cy="19"/>
              </a:xfrm>
              <a:custGeom>
                <a:avLst/>
                <a:gdLst>
                  <a:gd name="T0" fmla="*/ 1 w 7"/>
                  <a:gd name="T1" fmla="*/ 17 h 28"/>
                  <a:gd name="T2" fmla="*/ 0 w 7"/>
                  <a:gd name="T3" fmla="*/ 18 h 28"/>
                  <a:gd name="T4" fmla="*/ 1 w 7"/>
                  <a:gd name="T5" fmla="*/ 1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28">
                    <a:moveTo>
                      <a:pt x="1" y="17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7" y="28"/>
                      <a:pt x="6" y="0"/>
                      <a:pt x="1" y="1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3" name="Freeform 1039"/>
              <p:cNvSpPr>
                <a:spLocks/>
              </p:cNvSpPr>
              <p:nvPr/>
            </p:nvSpPr>
            <p:spPr bwMode="auto">
              <a:xfrm>
                <a:off x="3738" y="865"/>
                <a:ext cx="24" cy="22"/>
              </a:xfrm>
              <a:custGeom>
                <a:avLst/>
                <a:gdLst>
                  <a:gd name="T0" fmla="*/ 25 w 37"/>
                  <a:gd name="T1" fmla="*/ 26 h 33"/>
                  <a:gd name="T2" fmla="*/ 37 w 37"/>
                  <a:gd name="T3" fmla="*/ 20 h 33"/>
                  <a:gd name="T4" fmla="*/ 27 w 37"/>
                  <a:gd name="T5" fmla="*/ 11 h 33"/>
                  <a:gd name="T6" fmla="*/ 26 w 37"/>
                  <a:gd name="T7" fmla="*/ 10 h 33"/>
                  <a:gd name="T8" fmla="*/ 5 w 37"/>
                  <a:gd name="T9" fmla="*/ 25 h 33"/>
                  <a:gd name="T10" fmla="*/ 5 w 37"/>
                  <a:gd name="T11" fmla="*/ 31 h 33"/>
                  <a:gd name="T12" fmla="*/ 13 w 37"/>
                  <a:gd name="T13" fmla="*/ 29 h 33"/>
                  <a:gd name="T14" fmla="*/ 25 w 37"/>
                  <a:gd name="T15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33">
                    <a:moveTo>
                      <a:pt x="25" y="26"/>
                    </a:moveTo>
                    <a:cubicBezTo>
                      <a:pt x="27" y="25"/>
                      <a:pt x="36" y="22"/>
                      <a:pt x="37" y="20"/>
                    </a:cubicBezTo>
                    <a:cubicBezTo>
                      <a:pt x="37" y="15"/>
                      <a:pt x="26" y="15"/>
                      <a:pt x="27" y="11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6" y="0"/>
                      <a:pt x="15" y="17"/>
                      <a:pt x="5" y="25"/>
                    </a:cubicBezTo>
                    <a:cubicBezTo>
                      <a:pt x="3" y="27"/>
                      <a:pt x="0" y="30"/>
                      <a:pt x="5" y="31"/>
                    </a:cubicBezTo>
                    <a:cubicBezTo>
                      <a:pt x="6" y="31"/>
                      <a:pt x="14" y="33"/>
                      <a:pt x="13" y="29"/>
                    </a:cubicBezTo>
                    <a:cubicBezTo>
                      <a:pt x="13" y="23"/>
                      <a:pt x="17" y="29"/>
                      <a:pt x="25" y="2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4" name="Freeform 1040"/>
              <p:cNvSpPr>
                <a:spLocks/>
              </p:cNvSpPr>
              <p:nvPr/>
            </p:nvSpPr>
            <p:spPr bwMode="auto">
              <a:xfrm>
                <a:off x="2762" y="1220"/>
                <a:ext cx="10" cy="16"/>
              </a:xfrm>
              <a:custGeom>
                <a:avLst/>
                <a:gdLst>
                  <a:gd name="T0" fmla="*/ 0 w 16"/>
                  <a:gd name="T1" fmla="*/ 19 h 24"/>
                  <a:gd name="T2" fmla="*/ 1 w 16"/>
                  <a:gd name="T3" fmla="*/ 20 h 24"/>
                  <a:gd name="T4" fmla="*/ 0 w 16"/>
                  <a:gd name="T5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4">
                    <a:moveTo>
                      <a:pt x="0" y="19"/>
                    </a:moveTo>
                    <a:cubicBezTo>
                      <a:pt x="1" y="20"/>
                      <a:pt x="1" y="20"/>
                      <a:pt x="1" y="20"/>
                    </a:cubicBezTo>
                    <a:cubicBezTo>
                      <a:pt x="16" y="24"/>
                      <a:pt x="5" y="0"/>
                      <a:pt x="0" y="1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5" name="Freeform 1041"/>
              <p:cNvSpPr>
                <a:spLocks/>
              </p:cNvSpPr>
              <p:nvPr/>
            </p:nvSpPr>
            <p:spPr bwMode="auto">
              <a:xfrm>
                <a:off x="2905" y="1064"/>
                <a:ext cx="24" cy="9"/>
              </a:xfrm>
              <a:custGeom>
                <a:avLst/>
                <a:gdLst>
                  <a:gd name="T0" fmla="*/ 34 w 37"/>
                  <a:gd name="T1" fmla="*/ 10 h 13"/>
                  <a:gd name="T2" fmla="*/ 34 w 37"/>
                  <a:gd name="T3" fmla="*/ 10 h 13"/>
                  <a:gd name="T4" fmla="*/ 0 w 37"/>
                  <a:gd name="T5" fmla="*/ 11 h 13"/>
                  <a:gd name="T6" fmla="*/ 10 w 37"/>
                  <a:gd name="T7" fmla="*/ 13 h 13"/>
                  <a:gd name="T8" fmla="*/ 34 w 37"/>
                  <a:gd name="T9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13">
                    <a:moveTo>
                      <a:pt x="34" y="10"/>
                    </a:moveTo>
                    <a:cubicBezTo>
                      <a:pt x="34" y="10"/>
                      <a:pt x="34" y="10"/>
                      <a:pt x="34" y="10"/>
                    </a:cubicBezTo>
                    <a:cubicBezTo>
                      <a:pt x="37" y="8"/>
                      <a:pt x="0" y="0"/>
                      <a:pt x="0" y="11"/>
                    </a:cubicBezTo>
                    <a:cubicBezTo>
                      <a:pt x="0" y="13"/>
                      <a:pt x="9" y="13"/>
                      <a:pt x="10" y="13"/>
                    </a:cubicBezTo>
                    <a:cubicBezTo>
                      <a:pt x="17" y="13"/>
                      <a:pt x="25" y="11"/>
                      <a:pt x="34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6" name="Freeform 1042"/>
              <p:cNvSpPr>
                <a:spLocks/>
              </p:cNvSpPr>
              <p:nvPr/>
            </p:nvSpPr>
            <p:spPr bwMode="auto">
              <a:xfrm>
                <a:off x="2340" y="1920"/>
                <a:ext cx="16" cy="9"/>
              </a:xfrm>
              <a:custGeom>
                <a:avLst/>
                <a:gdLst>
                  <a:gd name="T0" fmla="*/ 6 w 25"/>
                  <a:gd name="T1" fmla="*/ 10 h 13"/>
                  <a:gd name="T2" fmla="*/ 16 w 25"/>
                  <a:gd name="T3" fmla="*/ 2 h 13"/>
                  <a:gd name="T4" fmla="*/ 16 w 25"/>
                  <a:gd name="T5" fmla="*/ 2 h 13"/>
                  <a:gd name="T6" fmla="*/ 6 w 25"/>
                  <a:gd name="T7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13">
                    <a:moveTo>
                      <a:pt x="6" y="10"/>
                    </a:moveTo>
                    <a:cubicBezTo>
                      <a:pt x="10" y="13"/>
                      <a:pt x="25" y="7"/>
                      <a:pt x="16" y="2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2" y="0"/>
                      <a:pt x="0" y="7"/>
                      <a:pt x="6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7" name="Freeform 1043"/>
              <p:cNvSpPr>
                <a:spLocks/>
              </p:cNvSpPr>
              <p:nvPr/>
            </p:nvSpPr>
            <p:spPr bwMode="auto">
              <a:xfrm>
                <a:off x="2873" y="1067"/>
                <a:ext cx="26" cy="5"/>
              </a:xfrm>
              <a:custGeom>
                <a:avLst/>
                <a:gdLst>
                  <a:gd name="T0" fmla="*/ 23 w 41"/>
                  <a:gd name="T1" fmla="*/ 8 h 8"/>
                  <a:gd name="T2" fmla="*/ 27 w 41"/>
                  <a:gd name="T3" fmla="*/ 8 h 8"/>
                  <a:gd name="T4" fmla="*/ 28 w 41"/>
                  <a:gd name="T5" fmla="*/ 8 h 8"/>
                  <a:gd name="T6" fmla="*/ 23 w 41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" h="8">
                    <a:moveTo>
                      <a:pt x="23" y="8"/>
                    </a:moveTo>
                    <a:cubicBezTo>
                      <a:pt x="24" y="8"/>
                      <a:pt x="26" y="8"/>
                      <a:pt x="27" y="8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41" y="0"/>
                      <a:pt x="0" y="6"/>
                      <a:pt x="23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8" name="Freeform 1044"/>
              <p:cNvSpPr>
                <a:spLocks/>
              </p:cNvSpPr>
              <p:nvPr/>
            </p:nvSpPr>
            <p:spPr bwMode="auto">
              <a:xfrm>
                <a:off x="3402" y="744"/>
                <a:ext cx="14" cy="6"/>
              </a:xfrm>
              <a:custGeom>
                <a:avLst/>
                <a:gdLst>
                  <a:gd name="T0" fmla="*/ 18 w 21"/>
                  <a:gd name="T1" fmla="*/ 5 h 10"/>
                  <a:gd name="T2" fmla="*/ 6 w 21"/>
                  <a:gd name="T3" fmla="*/ 2 h 10"/>
                  <a:gd name="T4" fmla="*/ 9 w 21"/>
                  <a:gd name="T5" fmla="*/ 7 h 10"/>
                  <a:gd name="T6" fmla="*/ 18 w 21"/>
                  <a:gd name="T7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10">
                    <a:moveTo>
                      <a:pt x="18" y="5"/>
                    </a:moveTo>
                    <a:cubicBezTo>
                      <a:pt x="18" y="4"/>
                      <a:pt x="8" y="3"/>
                      <a:pt x="6" y="2"/>
                    </a:cubicBezTo>
                    <a:cubicBezTo>
                      <a:pt x="0" y="0"/>
                      <a:pt x="7" y="5"/>
                      <a:pt x="9" y="7"/>
                    </a:cubicBezTo>
                    <a:cubicBezTo>
                      <a:pt x="15" y="9"/>
                      <a:pt x="21" y="10"/>
                      <a:pt x="18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29" name="Freeform 1045"/>
              <p:cNvSpPr>
                <a:spLocks/>
              </p:cNvSpPr>
              <p:nvPr/>
            </p:nvSpPr>
            <p:spPr bwMode="auto">
              <a:xfrm>
                <a:off x="3402" y="746"/>
                <a:ext cx="7" cy="3"/>
              </a:xfrm>
              <a:custGeom>
                <a:avLst/>
                <a:gdLst>
                  <a:gd name="T0" fmla="*/ 5 w 10"/>
                  <a:gd name="T1" fmla="*/ 3 h 4"/>
                  <a:gd name="T2" fmla="*/ 9 w 10"/>
                  <a:gd name="T3" fmla="*/ 3 h 4"/>
                  <a:gd name="T4" fmla="*/ 4 w 10"/>
                  <a:gd name="T5" fmla="*/ 2 h 4"/>
                  <a:gd name="T6" fmla="*/ 5 w 10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4">
                    <a:moveTo>
                      <a:pt x="5" y="3"/>
                    </a:moveTo>
                    <a:cubicBezTo>
                      <a:pt x="9" y="4"/>
                      <a:pt x="10" y="4"/>
                      <a:pt x="9" y="3"/>
                    </a:cubicBezTo>
                    <a:cubicBezTo>
                      <a:pt x="4" y="2"/>
                      <a:pt x="0" y="0"/>
                      <a:pt x="4" y="2"/>
                    </a:cubicBezTo>
                    <a:lnTo>
                      <a:pt x="5" y="3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0" name="Freeform 1046"/>
              <p:cNvSpPr>
                <a:spLocks/>
              </p:cNvSpPr>
              <p:nvPr/>
            </p:nvSpPr>
            <p:spPr bwMode="auto">
              <a:xfrm>
                <a:off x="3397" y="752"/>
                <a:ext cx="24" cy="14"/>
              </a:xfrm>
              <a:custGeom>
                <a:avLst/>
                <a:gdLst>
                  <a:gd name="T0" fmla="*/ 16 w 36"/>
                  <a:gd name="T1" fmla="*/ 8 h 22"/>
                  <a:gd name="T2" fmla="*/ 9 w 36"/>
                  <a:gd name="T3" fmla="*/ 9 h 22"/>
                  <a:gd name="T4" fmla="*/ 12 w 36"/>
                  <a:gd name="T5" fmla="*/ 15 h 22"/>
                  <a:gd name="T6" fmla="*/ 12 w 36"/>
                  <a:gd name="T7" fmla="*/ 15 h 22"/>
                  <a:gd name="T8" fmla="*/ 26 w 36"/>
                  <a:gd name="T9" fmla="*/ 16 h 22"/>
                  <a:gd name="T10" fmla="*/ 34 w 36"/>
                  <a:gd name="T11" fmla="*/ 11 h 22"/>
                  <a:gd name="T12" fmla="*/ 20 w 36"/>
                  <a:gd name="T13" fmla="*/ 8 h 22"/>
                  <a:gd name="T14" fmla="*/ 19 w 36"/>
                  <a:gd name="T15" fmla="*/ 7 h 22"/>
                  <a:gd name="T16" fmla="*/ 32 w 36"/>
                  <a:gd name="T17" fmla="*/ 5 h 22"/>
                  <a:gd name="T18" fmla="*/ 23 w 36"/>
                  <a:gd name="T19" fmla="*/ 4 h 22"/>
                  <a:gd name="T20" fmla="*/ 3 w 36"/>
                  <a:gd name="T21" fmla="*/ 4 h 22"/>
                  <a:gd name="T22" fmla="*/ 2 w 36"/>
                  <a:gd name="T23" fmla="*/ 6 h 22"/>
                  <a:gd name="T24" fmla="*/ 16 w 36"/>
                  <a:gd name="T25" fmla="*/ 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22">
                    <a:moveTo>
                      <a:pt x="16" y="8"/>
                    </a:moveTo>
                    <a:cubicBezTo>
                      <a:pt x="17" y="8"/>
                      <a:pt x="10" y="9"/>
                      <a:pt x="9" y="9"/>
                    </a:cubicBezTo>
                    <a:cubicBezTo>
                      <a:pt x="0" y="10"/>
                      <a:pt x="8" y="12"/>
                      <a:pt x="12" y="15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5" y="22"/>
                      <a:pt x="22" y="15"/>
                      <a:pt x="26" y="16"/>
                    </a:cubicBezTo>
                    <a:cubicBezTo>
                      <a:pt x="29" y="16"/>
                      <a:pt x="36" y="12"/>
                      <a:pt x="34" y="11"/>
                    </a:cubicBezTo>
                    <a:cubicBezTo>
                      <a:pt x="27" y="6"/>
                      <a:pt x="22" y="13"/>
                      <a:pt x="20" y="8"/>
                    </a:cubicBezTo>
                    <a:cubicBezTo>
                      <a:pt x="20" y="8"/>
                      <a:pt x="18" y="7"/>
                      <a:pt x="19" y="7"/>
                    </a:cubicBezTo>
                    <a:cubicBezTo>
                      <a:pt x="19" y="6"/>
                      <a:pt x="32" y="5"/>
                      <a:pt x="32" y="5"/>
                    </a:cubicBezTo>
                    <a:cubicBezTo>
                      <a:pt x="30" y="3"/>
                      <a:pt x="26" y="4"/>
                      <a:pt x="23" y="4"/>
                    </a:cubicBezTo>
                    <a:cubicBezTo>
                      <a:pt x="13" y="3"/>
                      <a:pt x="12" y="0"/>
                      <a:pt x="3" y="4"/>
                    </a:cubicBezTo>
                    <a:cubicBezTo>
                      <a:pt x="2" y="5"/>
                      <a:pt x="1" y="5"/>
                      <a:pt x="2" y="6"/>
                    </a:cubicBezTo>
                    <a:cubicBezTo>
                      <a:pt x="5" y="10"/>
                      <a:pt x="12" y="6"/>
                      <a:pt x="16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1" name="Freeform 1047"/>
              <p:cNvSpPr>
                <a:spLocks/>
              </p:cNvSpPr>
              <p:nvPr/>
            </p:nvSpPr>
            <p:spPr bwMode="auto">
              <a:xfrm>
                <a:off x="2394" y="1579"/>
                <a:ext cx="10" cy="15"/>
              </a:xfrm>
              <a:custGeom>
                <a:avLst/>
                <a:gdLst>
                  <a:gd name="T0" fmla="*/ 16 w 16"/>
                  <a:gd name="T1" fmla="*/ 7 h 22"/>
                  <a:gd name="T2" fmla="*/ 0 w 16"/>
                  <a:gd name="T3" fmla="*/ 11 h 22"/>
                  <a:gd name="T4" fmla="*/ 16 w 16"/>
                  <a:gd name="T5" fmla="*/ 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22">
                    <a:moveTo>
                      <a:pt x="16" y="7"/>
                    </a:moveTo>
                    <a:cubicBezTo>
                      <a:pt x="13" y="0"/>
                      <a:pt x="0" y="9"/>
                      <a:pt x="0" y="11"/>
                    </a:cubicBezTo>
                    <a:cubicBezTo>
                      <a:pt x="0" y="22"/>
                      <a:pt x="15" y="9"/>
                      <a:pt x="16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2" name="Freeform 1048"/>
              <p:cNvSpPr>
                <a:spLocks/>
              </p:cNvSpPr>
              <p:nvPr/>
            </p:nvSpPr>
            <p:spPr bwMode="auto">
              <a:xfrm>
                <a:off x="3378" y="781"/>
                <a:ext cx="34" cy="30"/>
              </a:xfrm>
              <a:custGeom>
                <a:avLst/>
                <a:gdLst>
                  <a:gd name="T0" fmla="*/ 14 w 51"/>
                  <a:gd name="T1" fmla="*/ 40 h 47"/>
                  <a:gd name="T2" fmla="*/ 39 w 51"/>
                  <a:gd name="T3" fmla="*/ 13 h 47"/>
                  <a:gd name="T4" fmla="*/ 21 w 51"/>
                  <a:gd name="T5" fmla="*/ 11 h 47"/>
                  <a:gd name="T6" fmla="*/ 10 w 51"/>
                  <a:gd name="T7" fmla="*/ 3 h 47"/>
                  <a:gd name="T8" fmla="*/ 13 w 51"/>
                  <a:gd name="T9" fmla="*/ 39 h 47"/>
                  <a:gd name="T10" fmla="*/ 14 w 51"/>
                  <a:gd name="T11" fmla="*/ 4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47">
                    <a:moveTo>
                      <a:pt x="14" y="40"/>
                    </a:moveTo>
                    <a:cubicBezTo>
                      <a:pt x="33" y="47"/>
                      <a:pt x="51" y="28"/>
                      <a:pt x="39" y="13"/>
                    </a:cubicBezTo>
                    <a:cubicBezTo>
                      <a:pt x="34" y="7"/>
                      <a:pt x="26" y="12"/>
                      <a:pt x="21" y="11"/>
                    </a:cubicBezTo>
                    <a:cubicBezTo>
                      <a:pt x="20" y="11"/>
                      <a:pt x="22" y="0"/>
                      <a:pt x="10" y="3"/>
                    </a:cubicBezTo>
                    <a:cubicBezTo>
                      <a:pt x="0" y="5"/>
                      <a:pt x="8" y="32"/>
                      <a:pt x="13" y="39"/>
                    </a:cubicBezTo>
                    <a:lnTo>
                      <a:pt x="14" y="4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3" name="Freeform 1049"/>
              <p:cNvSpPr>
                <a:spLocks/>
              </p:cNvSpPr>
              <p:nvPr/>
            </p:nvSpPr>
            <p:spPr bwMode="auto">
              <a:xfrm>
                <a:off x="2332" y="1930"/>
                <a:ext cx="8" cy="9"/>
              </a:xfrm>
              <a:custGeom>
                <a:avLst/>
                <a:gdLst>
                  <a:gd name="T0" fmla="*/ 8 w 12"/>
                  <a:gd name="T1" fmla="*/ 2 h 15"/>
                  <a:gd name="T2" fmla="*/ 11 w 12"/>
                  <a:gd name="T3" fmla="*/ 5 h 15"/>
                  <a:gd name="T4" fmla="*/ 8 w 12"/>
                  <a:gd name="T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5">
                    <a:moveTo>
                      <a:pt x="8" y="2"/>
                    </a:moveTo>
                    <a:cubicBezTo>
                      <a:pt x="2" y="0"/>
                      <a:pt x="0" y="15"/>
                      <a:pt x="11" y="5"/>
                    </a:cubicBezTo>
                    <a:cubicBezTo>
                      <a:pt x="12" y="4"/>
                      <a:pt x="7" y="4"/>
                      <a:pt x="8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4" name="Freeform 1050"/>
              <p:cNvSpPr>
                <a:spLocks/>
              </p:cNvSpPr>
              <p:nvPr/>
            </p:nvSpPr>
            <p:spPr bwMode="auto">
              <a:xfrm>
                <a:off x="3436" y="739"/>
                <a:ext cx="22" cy="13"/>
              </a:xfrm>
              <a:custGeom>
                <a:avLst/>
                <a:gdLst>
                  <a:gd name="T0" fmla="*/ 22 w 34"/>
                  <a:gd name="T1" fmla="*/ 20 h 20"/>
                  <a:gd name="T2" fmla="*/ 22 w 34"/>
                  <a:gd name="T3" fmla="*/ 20 h 20"/>
                  <a:gd name="T4" fmla="*/ 18 w 34"/>
                  <a:gd name="T5" fmla="*/ 7 h 20"/>
                  <a:gd name="T6" fmla="*/ 21 w 34"/>
                  <a:gd name="T7" fmla="*/ 13 h 20"/>
                  <a:gd name="T8" fmla="*/ 22 w 34"/>
                  <a:gd name="T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20">
                    <a:moveTo>
                      <a:pt x="22" y="20"/>
                    </a:moveTo>
                    <a:cubicBezTo>
                      <a:pt x="22" y="20"/>
                      <a:pt x="22" y="20"/>
                      <a:pt x="22" y="20"/>
                    </a:cubicBezTo>
                    <a:cubicBezTo>
                      <a:pt x="34" y="19"/>
                      <a:pt x="25" y="0"/>
                      <a:pt x="18" y="7"/>
                    </a:cubicBezTo>
                    <a:cubicBezTo>
                      <a:pt x="15" y="10"/>
                      <a:pt x="25" y="11"/>
                      <a:pt x="21" y="13"/>
                    </a:cubicBezTo>
                    <a:cubicBezTo>
                      <a:pt x="19" y="15"/>
                      <a:pt x="0" y="14"/>
                      <a:pt x="22" y="2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5" name="Freeform 1051"/>
              <p:cNvSpPr>
                <a:spLocks/>
              </p:cNvSpPr>
              <p:nvPr/>
            </p:nvSpPr>
            <p:spPr bwMode="auto">
              <a:xfrm>
                <a:off x="3332" y="794"/>
                <a:ext cx="51" cy="39"/>
              </a:xfrm>
              <a:custGeom>
                <a:avLst/>
                <a:gdLst>
                  <a:gd name="T0" fmla="*/ 55 w 78"/>
                  <a:gd name="T1" fmla="*/ 4 h 59"/>
                  <a:gd name="T2" fmla="*/ 59 w 78"/>
                  <a:gd name="T3" fmla="*/ 9 h 59"/>
                  <a:gd name="T4" fmla="*/ 55 w 78"/>
                  <a:gd name="T5" fmla="*/ 13 h 59"/>
                  <a:gd name="T6" fmla="*/ 50 w 78"/>
                  <a:gd name="T7" fmla="*/ 16 h 59"/>
                  <a:gd name="T8" fmla="*/ 44 w 78"/>
                  <a:gd name="T9" fmla="*/ 16 h 59"/>
                  <a:gd name="T10" fmla="*/ 42 w 78"/>
                  <a:gd name="T11" fmla="*/ 27 h 59"/>
                  <a:gd name="T12" fmla="*/ 41 w 78"/>
                  <a:gd name="T13" fmla="*/ 17 h 59"/>
                  <a:gd name="T14" fmla="*/ 33 w 78"/>
                  <a:gd name="T15" fmla="*/ 16 h 59"/>
                  <a:gd name="T16" fmla="*/ 36 w 78"/>
                  <a:gd name="T17" fmla="*/ 18 h 59"/>
                  <a:gd name="T18" fmla="*/ 27 w 78"/>
                  <a:gd name="T19" fmla="*/ 19 h 59"/>
                  <a:gd name="T20" fmla="*/ 16 w 78"/>
                  <a:gd name="T21" fmla="*/ 45 h 59"/>
                  <a:gd name="T22" fmla="*/ 18 w 78"/>
                  <a:gd name="T23" fmla="*/ 46 h 59"/>
                  <a:gd name="T24" fmla="*/ 29 w 78"/>
                  <a:gd name="T25" fmla="*/ 36 h 59"/>
                  <a:gd name="T26" fmla="*/ 25 w 78"/>
                  <a:gd name="T27" fmla="*/ 56 h 59"/>
                  <a:gd name="T28" fmla="*/ 51 w 78"/>
                  <a:gd name="T29" fmla="*/ 51 h 59"/>
                  <a:gd name="T30" fmla="*/ 44 w 78"/>
                  <a:gd name="T31" fmla="*/ 49 h 59"/>
                  <a:gd name="T32" fmla="*/ 55 w 78"/>
                  <a:gd name="T33" fmla="*/ 46 h 59"/>
                  <a:gd name="T34" fmla="*/ 73 w 78"/>
                  <a:gd name="T35" fmla="*/ 33 h 59"/>
                  <a:gd name="T36" fmla="*/ 68 w 78"/>
                  <a:gd name="T37" fmla="*/ 3 h 59"/>
                  <a:gd name="T38" fmla="*/ 55 w 78"/>
                  <a:gd name="T39" fmla="*/ 4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8" h="59">
                    <a:moveTo>
                      <a:pt x="55" y="4"/>
                    </a:moveTo>
                    <a:cubicBezTo>
                      <a:pt x="46" y="7"/>
                      <a:pt x="65" y="11"/>
                      <a:pt x="59" y="9"/>
                    </a:cubicBezTo>
                    <a:cubicBezTo>
                      <a:pt x="69" y="11"/>
                      <a:pt x="64" y="13"/>
                      <a:pt x="55" y="13"/>
                    </a:cubicBezTo>
                    <a:cubicBezTo>
                      <a:pt x="51" y="13"/>
                      <a:pt x="54" y="21"/>
                      <a:pt x="50" y="16"/>
                    </a:cubicBezTo>
                    <a:cubicBezTo>
                      <a:pt x="50" y="15"/>
                      <a:pt x="45" y="13"/>
                      <a:pt x="44" y="16"/>
                    </a:cubicBezTo>
                    <a:cubicBezTo>
                      <a:pt x="43" y="24"/>
                      <a:pt x="47" y="26"/>
                      <a:pt x="42" y="27"/>
                    </a:cubicBezTo>
                    <a:cubicBezTo>
                      <a:pt x="40" y="27"/>
                      <a:pt x="42" y="18"/>
                      <a:pt x="41" y="17"/>
                    </a:cubicBezTo>
                    <a:cubicBezTo>
                      <a:pt x="39" y="15"/>
                      <a:pt x="32" y="12"/>
                      <a:pt x="33" y="16"/>
                    </a:cubicBezTo>
                    <a:cubicBezTo>
                      <a:pt x="34" y="18"/>
                      <a:pt x="34" y="17"/>
                      <a:pt x="36" y="18"/>
                    </a:cubicBezTo>
                    <a:cubicBezTo>
                      <a:pt x="38" y="21"/>
                      <a:pt x="31" y="19"/>
                      <a:pt x="27" y="19"/>
                    </a:cubicBezTo>
                    <a:cubicBezTo>
                      <a:pt x="13" y="20"/>
                      <a:pt x="0" y="43"/>
                      <a:pt x="16" y="45"/>
                    </a:cubicBezTo>
                    <a:cubicBezTo>
                      <a:pt x="18" y="46"/>
                      <a:pt x="18" y="46"/>
                      <a:pt x="18" y="46"/>
                    </a:cubicBezTo>
                    <a:cubicBezTo>
                      <a:pt x="22" y="55"/>
                      <a:pt x="27" y="36"/>
                      <a:pt x="29" y="36"/>
                    </a:cubicBezTo>
                    <a:cubicBezTo>
                      <a:pt x="31" y="36"/>
                      <a:pt x="23" y="54"/>
                      <a:pt x="25" y="56"/>
                    </a:cubicBezTo>
                    <a:cubicBezTo>
                      <a:pt x="28" y="59"/>
                      <a:pt x="51" y="56"/>
                      <a:pt x="51" y="51"/>
                    </a:cubicBezTo>
                    <a:cubicBezTo>
                      <a:pt x="51" y="50"/>
                      <a:pt x="45" y="50"/>
                      <a:pt x="44" y="49"/>
                    </a:cubicBezTo>
                    <a:cubicBezTo>
                      <a:pt x="43" y="48"/>
                      <a:pt x="55" y="47"/>
                      <a:pt x="55" y="46"/>
                    </a:cubicBezTo>
                    <a:cubicBezTo>
                      <a:pt x="62" y="43"/>
                      <a:pt x="69" y="38"/>
                      <a:pt x="73" y="33"/>
                    </a:cubicBezTo>
                    <a:cubicBezTo>
                      <a:pt x="78" y="27"/>
                      <a:pt x="71" y="4"/>
                      <a:pt x="68" y="3"/>
                    </a:cubicBezTo>
                    <a:cubicBezTo>
                      <a:pt x="60" y="0"/>
                      <a:pt x="50" y="6"/>
                      <a:pt x="55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6" name="Freeform 1052"/>
              <p:cNvSpPr>
                <a:spLocks/>
              </p:cNvSpPr>
              <p:nvPr/>
            </p:nvSpPr>
            <p:spPr bwMode="auto">
              <a:xfrm>
                <a:off x="2337" y="1934"/>
                <a:ext cx="9" cy="5"/>
              </a:xfrm>
              <a:custGeom>
                <a:avLst/>
                <a:gdLst>
                  <a:gd name="T0" fmla="*/ 10 w 14"/>
                  <a:gd name="T1" fmla="*/ 1 h 8"/>
                  <a:gd name="T2" fmla="*/ 10 w 14"/>
                  <a:gd name="T3" fmla="*/ 1 h 8"/>
                  <a:gd name="T4" fmla="*/ 8 w 14"/>
                  <a:gd name="T5" fmla="*/ 0 h 8"/>
                  <a:gd name="T6" fmla="*/ 10 w 14"/>
                  <a:gd name="T7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8">
                    <a:moveTo>
                      <a:pt x="10" y="1"/>
                    </a:moveTo>
                    <a:cubicBezTo>
                      <a:pt x="10" y="1"/>
                      <a:pt x="10" y="1"/>
                      <a:pt x="10" y="1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0" y="6"/>
                      <a:pt x="14" y="8"/>
                      <a:pt x="10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7" name="Freeform 1053"/>
              <p:cNvSpPr>
                <a:spLocks/>
              </p:cNvSpPr>
              <p:nvPr/>
            </p:nvSpPr>
            <p:spPr bwMode="auto">
              <a:xfrm>
                <a:off x="3454" y="748"/>
                <a:ext cx="20" cy="6"/>
              </a:xfrm>
              <a:custGeom>
                <a:avLst/>
                <a:gdLst>
                  <a:gd name="T0" fmla="*/ 14 w 30"/>
                  <a:gd name="T1" fmla="*/ 9 h 9"/>
                  <a:gd name="T2" fmla="*/ 15 w 30"/>
                  <a:gd name="T3" fmla="*/ 9 h 9"/>
                  <a:gd name="T4" fmla="*/ 14 w 30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0" h="9">
                    <a:moveTo>
                      <a:pt x="14" y="9"/>
                    </a:moveTo>
                    <a:cubicBezTo>
                      <a:pt x="15" y="9"/>
                      <a:pt x="15" y="9"/>
                      <a:pt x="15" y="9"/>
                    </a:cubicBezTo>
                    <a:cubicBezTo>
                      <a:pt x="30" y="2"/>
                      <a:pt x="0" y="0"/>
                      <a:pt x="14" y="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8" name="Freeform 1054"/>
              <p:cNvSpPr>
                <a:spLocks/>
              </p:cNvSpPr>
              <p:nvPr/>
            </p:nvSpPr>
            <p:spPr bwMode="auto">
              <a:xfrm>
                <a:off x="3507" y="786"/>
                <a:ext cx="9" cy="5"/>
              </a:xfrm>
              <a:custGeom>
                <a:avLst/>
                <a:gdLst>
                  <a:gd name="T0" fmla="*/ 5 w 14"/>
                  <a:gd name="T1" fmla="*/ 8 h 8"/>
                  <a:gd name="T2" fmla="*/ 6 w 14"/>
                  <a:gd name="T3" fmla="*/ 7 h 8"/>
                  <a:gd name="T4" fmla="*/ 10 w 14"/>
                  <a:gd name="T5" fmla="*/ 0 h 8"/>
                  <a:gd name="T6" fmla="*/ 5 w 14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8">
                    <a:moveTo>
                      <a:pt x="5" y="8"/>
                    </a:moveTo>
                    <a:cubicBezTo>
                      <a:pt x="6" y="7"/>
                      <a:pt x="6" y="7"/>
                      <a:pt x="6" y="7"/>
                    </a:cubicBezTo>
                    <a:cubicBezTo>
                      <a:pt x="14" y="8"/>
                      <a:pt x="12" y="0"/>
                      <a:pt x="10" y="0"/>
                    </a:cubicBezTo>
                    <a:cubicBezTo>
                      <a:pt x="7" y="0"/>
                      <a:pt x="0" y="4"/>
                      <a:pt x="5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39" name="Freeform 1055"/>
              <p:cNvSpPr>
                <a:spLocks/>
              </p:cNvSpPr>
              <p:nvPr/>
            </p:nvSpPr>
            <p:spPr bwMode="auto">
              <a:xfrm>
                <a:off x="3438" y="752"/>
                <a:ext cx="15" cy="4"/>
              </a:xfrm>
              <a:custGeom>
                <a:avLst/>
                <a:gdLst>
                  <a:gd name="T0" fmla="*/ 14 w 22"/>
                  <a:gd name="T1" fmla="*/ 6 h 7"/>
                  <a:gd name="T2" fmla="*/ 15 w 22"/>
                  <a:gd name="T3" fmla="*/ 6 h 7"/>
                  <a:gd name="T4" fmla="*/ 0 w 22"/>
                  <a:gd name="T5" fmla="*/ 3 h 7"/>
                  <a:gd name="T6" fmla="*/ 14 w 22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7">
                    <a:moveTo>
                      <a:pt x="14" y="6"/>
                    </a:moveTo>
                    <a:cubicBezTo>
                      <a:pt x="15" y="6"/>
                      <a:pt x="15" y="6"/>
                      <a:pt x="15" y="6"/>
                    </a:cubicBezTo>
                    <a:cubicBezTo>
                      <a:pt x="22" y="5"/>
                      <a:pt x="0" y="0"/>
                      <a:pt x="0" y="3"/>
                    </a:cubicBezTo>
                    <a:cubicBezTo>
                      <a:pt x="0" y="7"/>
                      <a:pt x="12" y="7"/>
                      <a:pt x="14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0" name="Freeform 1056"/>
              <p:cNvSpPr>
                <a:spLocks/>
              </p:cNvSpPr>
              <p:nvPr/>
            </p:nvSpPr>
            <p:spPr bwMode="auto">
              <a:xfrm>
                <a:off x="2627" y="1373"/>
                <a:ext cx="10" cy="7"/>
              </a:xfrm>
              <a:custGeom>
                <a:avLst/>
                <a:gdLst>
                  <a:gd name="T0" fmla="*/ 15 w 15"/>
                  <a:gd name="T1" fmla="*/ 4 h 11"/>
                  <a:gd name="T2" fmla="*/ 15 w 15"/>
                  <a:gd name="T3" fmla="*/ 4 h 11"/>
                  <a:gd name="T4" fmla="*/ 15 w 15"/>
                  <a:gd name="T5" fmla="*/ 3 h 11"/>
                  <a:gd name="T6" fmla="*/ 9 w 15"/>
                  <a:gd name="T7" fmla="*/ 2 h 11"/>
                  <a:gd name="T8" fmla="*/ 15 w 15"/>
                  <a:gd name="T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15" y="4"/>
                    </a:moveTo>
                    <a:cubicBezTo>
                      <a:pt x="15" y="4"/>
                      <a:pt x="15" y="4"/>
                      <a:pt x="15" y="4"/>
                    </a:cubicBezTo>
                    <a:cubicBezTo>
                      <a:pt x="15" y="4"/>
                      <a:pt x="15" y="3"/>
                      <a:pt x="15" y="3"/>
                    </a:cubicBezTo>
                    <a:cubicBezTo>
                      <a:pt x="15" y="1"/>
                      <a:pt x="10" y="2"/>
                      <a:pt x="9" y="2"/>
                    </a:cubicBezTo>
                    <a:cubicBezTo>
                      <a:pt x="0" y="0"/>
                      <a:pt x="7" y="11"/>
                      <a:pt x="15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1" name="Freeform 1057"/>
              <p:cNvSpPr>
                <a:spLocks/>
              </p:cNvSpPr>
              <p:nvPr/>
            </p:nvSpPr>
            <p:spPr bwMode="auto">
              <a:xfrm>
                <a:off x="2681" y="1353"/>
                <a:ext cx="20" cy="20"/>
              </a:xfrm>
              <a:custGeom>
                <a:avLst/>
                <a:gdLst>
                  <a:gd name="T0" fmla="*/ 28 w 31"/>
                  <a:gd name="T1" fmla="*/ 9 h 31"/>
                  <a:gd name="T2" fmla="*/ 14 w 31"/>
                  <a:gd name="T3" fmla="*/ 15 h 31"/>
                  <a:gd name="T4" fmla="*/ 7 w 31"/>
                  <a:gd name="T5" fmla="*/ 22 h 31"/>
                  <a:gd name="T6" fmla="*/ 26 w 31"/>
                  <a:gd name="T7" fmla="*/ 16 h 31"/>
                  <a:gd name="T8" fmla="*/ 20 w 31"/>
                  <a:gd name="T9" fmla="*/ 14 h 31"/>
                  <a:gd name="T10" fmla="*/ 28 w 31"/>
                  <a:gd name="T11" fmla="*/ 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31">
                    <a:moveTo>
                      <a:pt x="28" y="9"/>
                    </a:moveTo>
                    <a:cubicBezTo>
                      <a:pt x="31" y="0"/>
                      <a:pt x="16" y="11"/>
                      <a:pt x="14" y="15"/>
                    </a:cubicBezTo>
                    <a:cubicBezTo>
                      <a:pt x="12" y="18"/>
                      <a:pt x="9" y="19"/>
                      <a:pt x="7" y="22"/>
                    </a:cubicBezTo>
                    <a:cubicBezTo>
                      <a:pt x="0" y="31"/>
                      <a:pt x="22" y="18"/>
                      <a:pt x="26" y="16"/>
                    </a:cubicBezTo>
                    <a:cubicBezTo>
                      <a:pt x="31" y="11"/>
                      <a:pt x="19" y="16"/>
                      <a:pt x="20" y="14"/>
                    </a:cubicBezTo>
                    <a:cubicBezTo>
                      <a:pt x="21" y="11"/>
                      <a:pt x="27" y="12"/>
                      <a:pt x="28" y="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2" name="Freeform 1058"/>
              <p:cNvSpPr>
                <a:spLocks/>
              </p:cNvSpPr>
              <p:nvPr/>
            </p:nvSpPr>
            <p:spPr bwMode="auto">
              <a:xfrm>
                <a:off x="2682" y="1303"/>
                <a:ext cx="21" cy="14"/>
              </a:xfrm>
              <a:custGeom>
                <a:avLst/>
                <a:gdLst>
                  <a:gd name="T0" fmla="*/ 28 w 32"/>
                  <a:gd name="T1" fmla="*/ 0 h 22"/>
                  <a:gd name="T2" fmla="*/ 27 w 32"/>
                  <a:gd name="T3" fmla="*/ 0 h 22"/>
                  <a:gd name="T4" fmla="*/ 6 w 32"/>
                  <a:gd name="T5" fmla="*/ 13 h 22"/>
                  <a:gd name="T6" fmla="*/ 28 w 32"/>
                  <a:gd name="T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22">
                    <a:moveTo>
                      <a:pt x="28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24" y="0"/>
                      <a:pt x="0" y="1"/>
                      <a:pt x="6" y="13"/>
                    </a:cubicBezTo>
                    <a:cubicBezTo>
                      <a:pt x="11" y="22"/>
                      <a:pt x="32" y="12"/>
                      <a:pt x="28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3" name="Freeform 1059"/>
              <p:cNvSpPr>
                <a:spLocks/>
              </p:cNvSpPr>
              <p:nvPr/>
            </p:nvSpPr>
            <p:spPr bwMode="auto">
              <a:xfrm>
                <a:off x="2667" y="1357"/>
                <a:ext cx="27" cy="12"/>
              </a:xfrm>
              <a:custGeom>
                <a:avLst/>
                <a:gdLst>
                  <a:gd name="T0" fmla="*/ 9 w 42"/>
                  <a:gd name="T1" fmla="*/ 15 h 18"/>
                  <a:gd name="T2" fmla="*/ 26 w 42"/>
                  <a:gd name="T3" fmla="*/ 9 h 18"/>
                  <a:gd name="T4" fmla="*/ 26 w 42"/>
                  <a:gd name="T5" fmla="*/ 9 h 18"/>
                  <a:gd name="T6" fmla="*/ 9 w 42"/>
                  <a:gd name="T7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18">
                    <a:moveTo>
                      <a:pt x="9" y="15"/>
                    </a:moveTo>
                    <a:cubicBezTo>
                      <a:pt x="15" y="18"/>
                      <a:pt x="21" y="12"/>
                      <a:pt x="26" y="9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42" y="0"/>
                      <a:pt x="0" y="11"/>
                      <a:pt x="9" y="1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4" name="Freeform 1060"/>
              <p:cNvSpPr>
                <a:spLocks/>
              </p:cNvSpPr>
              <p:nvPr/>
            </p:nvSpPr>
            <p:spPr bwMode="auto">
              <a:xfrm>
                <a:off x="2655" y="1384"/>
                <a:ext cx="2" cy="2"/>
              </a:xfrm>
              <a:custGeom>
                <a:avLst/>
                <a:gdLst>
                  <a:gd name="T0" fmla="*/ 1 w 2"/>
                  <a:gd name="T1" fmla="*/ 3 h 3"/>
                  <a:gd name="T2" fmla="*/ 2 w 2"/>
                  <a:gd name="T3" fmla="*/ 0 h 3"/>
                  <a:gd name="T4" fmla="*/ 1 w 2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3">
                    <a:moveTo>
                      <a:pt x="1" y="3"/>
                    </a:moveTo>
                    <a:cubicBezTo>
                      <a:pt x="1" y="2"/>
                      <a:pt x="2" y="1"/>
                      <a:pt x="2" y="0"/>
                    </a:cubicBezTo>
                    <a:cubicBezTo>
                      <a:pt x="1" y="1"/>
                      <a:pt x="0" y="2"/>
                      <a:pt x="1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5" name="Freeform 1061"/>
              <p:cNvSpPr>
                <a:spLocks/>
              </p:cNvSpPr>
              <p:nvPr/>
            </p:nvSpPr>
            <p:spPr bwMode="auto">
              <a:xfrm>
                <a:off x="2628" y="1372"/>
                <a:ext cx="29" cy="18"/>
              </a:xfrm>
              <a:custGeom>
                <a:avLst/>
                <a:gdLst>
                  <a:gd name="T0" fmla="*/ 44 w 45"/>
                  <a:gd name="T1" fmla="*/ 18 h 28"/>
                  <a:gd name="T2" fmla="*/ 44 w 45"/>
                  <a:gd name="T3" fmla="*/ 17 h 28"/>
                  <a:gd name="T4" fmla="*/ 38 w 45"/>
                  <a:gd name="T5" fmla="*/ 13 h 28"/>
                  <a:gd name="T6" fmla="*/ 12 w 45"/>
                  <a:gd name="T7" fmla="*/ 22 h 28"/>
                  <a:gd name="T8" fmla="*/ 20 w 45"/>
                  <a:gd name="T9" fmla="*/ 17 h 28"/>
                  <a:gd name="T10" fmla="*/ 21 w 45"/>
                  <a:gd name="T11" fmla="*/ 16 h 28"/>
                  <a:gd name="T12" fmla="*/ 25 w 45"/>
                  <a:gd name="T13" fmla="*/ 16 h 28"/>
                  <a:gd name="T14" fmla="*/ 43 w 45"/>
                  <a:gd name="T15" fmla="*/ 21 h 28"/>
                  <a:gd name="T16" fmla="*/ 44 w 45"/>
                  <a:gd name="T17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28">
                    <a:moveTo>
                      <a:pt x="44" y="18"/>
                    </a:moveTo>
                    <a:cubicBezTo>
                      <a:pt x="44" y="18"/>
                      <a:pt x="44" y="17"/>
                      <a:pt x="44" y="17"/>
                    </a:cubicBezTo>
                    <a:cubicBezTo>
                      <a:pt x="45" y="15"/>
                      <a:pt x="39" y="14"/>
                      <a:pt x="38" y="13"/>
                    </a:cubicBezTo>
                    <a:cubicBezTo>
                      <a:pt x="29" y="0"/>
                      <a:pt x="0" y="28"/>
                      <a:pt x="12" y="22"/>
                    </a:cubicBezTo>
                    <a:cubicBezTo>
                      <a:pt x="15" y="20"/>
                      <a:pt x="17" y="18"/>
                      <a:pt x="20" y="17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22" y="15"/>
                      <a:pt x="23" y="15"/>
                      <a:pt x="25" y="16"/>
                    </a:cubicBezTo>
                    <a:cubicBezTo>
                      <a:pt x="31" y="23"/>
                      <a:pt x="39" y="26"/>
                      <a:pt x="43" y="21"/>
                    </a:cubicBezTo>
                    <a:cubicBezTo>
                      <a:pt x="42" y="20"/>
                      <a:pt x="43" y="19"/>
                      <a:pt x="44" y="1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6" name="Freeform 1062"/>
              <p:cNvSpPr>
                <a:spLocks/>
              </p:cNvSpPr>
              <p:nvPr/>
            </p:nvSpPr>
            <p:spPr bwMode="auto">
              <a:xfrm>
                <a:off x="2721" y="1269"/>
                <a:ext cx="32" cy="18"/>
              </a:xfrm>
              <a:custGeom>
                <a:avLst/>
                <a:gdLst>
                  <a:gd name="T0" fmla="*/ 46 w 49"/>
                  <a:gd name="T1" fmla="*/ 5 h 28"/>
                  <a:gd name="T2" fmla="*/ 47 w 49"/>
                  <a:gd name="T3" fmla="*/ 5 h 28"/>
                  <a:gd name="T4" fmla="*/ 46 w 49"/>
                  <a:gd name="T5" fmla="*/ 2 h 28"/>
                  <a:gd name="T6" fmla="*/ 23 w 49"/>
                  <a:gd name="T7" fmla="*/ 9 h 28"/>
                  <a:gd name="T8" fmla="*/ 24 w 49"/>
                  <a:gd name="T9" fmla="*/ 2 h 28"/>
                  <a:gd name="T10" fmla="*/ 7 w 49"/>
                  <a:gd name="T11" fmla="*/ 14 h 28"/>
                  <a:gd name="T12" fmla="*/ 1 w 49"/>
                  <a:gd name="T13" fmla="*/ 22 h 28"/>
                  <a:gd name="T14" fmla="*/ 11 w 49"/>
                  <a:gd name="T15" fmla="*/ 22 h 28"/>
                  <a:gd name="T16" fmla="*/ 46 w 49"/>
                  <a:gd name="T17" fmla="*/ 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28">
                    <a:moveTo>
                      <a:pt x="46" y="5"/>
                    </a:moveTo>
                    <a:cubicBezTo>
                      <a:pt x="47" y="5"/>
                      <a:pt x="47" y="5"/>
                      <a:pt x="47" y="5"/>
                    </a:cubicBezTo>
                    <a:cubicBezTo>
                      <a:pt x="49" y="4"/>
                      <a:pt x="49" y="2"/>
                      <a:pt x="46" y="2"/>
                    </a:cubicBezTo>
                    <a:cubicBezTo>
                      <a:pt x="37" y="0"/>
                      <a:pt x="30" y="10"/>
                      <a:pt x="23" y="9"/>
                    </a:cubicBezTo>
                    <a:cubicBezTo>
                      <a:pt x="19" y="9"/>
                      <a:pt x="29" y="2"/>
                      <a:pt x="24" y="2"/>
                    </a:cubicBezTo>
                    <a:cubicBezTo>
                      <a:pt x="15" y="1"/>
                      <a:pt x="11" y="8"/>
                      <a:pt x="7" y="14"/>
                    </a:cubicBezTo>
                    <a:cubicBezTo>
                      <a:pt x="6" y="16"/>
                      <a:pt x="0" y="19"/>
                      <a:pt x="1" y="22"/>
                    </a:cubicBezTo>
                    <a:cubicBezTo>
                      <a:pt x="1" y="22"/>
                      <a:pt x="12" y="19"/>
                      <a:pt x="11" y="22"/>
                    </a:cubicBezTo>
                    <a:cubicBezTo>
                      <a:pt x="8" y="28"/>
                      <a:pt x="31" y="10"/>
                      <a:pt x="46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7" name="Freeform 1063"/>
              <p:cNvSpPr>
                <a:spLocks/>
              </p:cNvSpPr>
              <p:nvPr/>
            </p:nvSpPr>
            <p:spPr bwMode="auto">
              <a:xfrm>
                <a:off x="2738" y="1262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8" name="Freeform 1064"/>
              <p:cNvSpPr>
                <a:spLocks/>
              </p:cNvSpPr>
              <p:nvPr/>
            </p:nvSpPr>
            <p:spPr bwMode="auto">
              <a:xfrm>
                <a:off x="2698" y="1352"/>
                <a:ext cx="22" cy="17"/>
              </a:xfrm>
              <a:custGeom>
                <a:avLst/>
                <a:gdLst>
                  <a:gd name="T0" fmla="*/ 14 w 33"/>
                  <a:gd name="T1" fmla="*/ 2 h 26"/>
                  <a:gd name="T2" fmla="*/ 12 w 33"/>
                  <a:gd name="T3" fmla="*/ 3 h 26"/>
                  <a:gd name="T4" fmla="*/ 14 w 33"/>
                  <a:gd name="T5" fmla="*/ 12 h 26"/>
                  <a:gd name="T6" fmla="*/ 1 w 33"/>
                  <a:gd name="T7" fmla="*/ 19 h 26"/>
                  <a:gd name="T8" fmla="*/ 30 w 33"/>
                  <a:gd name="T9" fmla="*/ 17 h 26"/>
                  <a:gd name="T10" fmla="*/ 31 w 33"/>
                  <a:gd name="T11" fmla="*/ 16 h 26"/>
                  <a:gd name="T12" fmla="*/ 23 w 33"/>
                  <a:gd name="T13" fmla="*/ 14 h 26"/>
                  <a:gd name="T14" fmla="*/ 27 w 33"/>
                  <a:gd name="T15" fmla="*/ 8 h 26"/>
                  <a:gd name="T16" fmla="*/ 14 w 33"/>
                  <a:gd name="T17" fmla="*/ 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26">
                    <a:moveTo>
                      <a:pt x="14" y="2"/>
                    </a:moveTo>
                    <a:cubicBezTo>
                      <a:pt x="13" y="2"/>
                      <a:pt x="12" y="2"/>
                      <a:pt x="12" y="3"/>
                    </a:cubicBezTo>
                    <a:cubicBezTo>
                      <a:pt x="9" y="5"/>
                      <a:pt x="16" y="9"/>
                      <a:pt x="14" y="12"/>
                    </a:cubicBezTo>
                    <a:cubicBezTo>
                      <a:pt x="12" y="15"/>
                      <a:pt x="2" y="17"/>
                      <a:pt x="1" y="19"/>
                    </a:cubicBezTo>
                    <a:cubicBezTo>
                      <a:pt x="0" y="26"/>
                      <a:pt x="26" y="19"/>
                      <a:pt x="30" y="17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33" y="11"/>
                      <a:pt x="24" y="14"/>
                      <a:pt x="23" y="14"/>
                    </a:cubicBezTo>
                    <a:cubicBezTo>
                      <a:pt x="21" y="13"/>
                      <a:pt x="27" y="9"/>
                      <a:pt x="27" y="8"/>
                    </a:cubicBezTo>
                    <a:cubicBezTo>
                      <a:pt x="27" y="0"/>
                      <a:pt x="18" y="0"/>
                      <a:pt x="14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49" name="Freeform 1065"/>
              <p:cNvSpPr>
                <a:spLocks/>
              </p:cNvSpPr>
              <p:nvPr/>
            </p:nvSpPr>
            <p:spPr bwMode="auto">
              <a:xfrm>
                <a:off x="2705" y="1324"/>
                <a:ext cx="6" cy="16"/>
              </a:xfrm>
              <a:custGeom>
                <a:avLst/>
                <a:gdLst>
                  <a:gd name="T0" fmla="*/ 10 w 10"/>
                  <a:gd name="T1" fmla="*/ 2 h 25"/>
                  <a:gd name="T2" fmla="*/ 10 w 10"/>
                  <a:gd name="T3" fmla="*/ 1 h 25"/>
                  <a:gd name="T4" fmla="*/ 10 w 10"/>
                  <a:gd name="T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25">
                    <a:moveTo>
                      <a:pt x="10" y="2"/>
                    </a:moveTo>
                    <a:cubicBezTo>
                      <a:pt x="10" y="1"/>
                      <a:pt x="10" y="1"/>
                      <a:pt x="10" y="1"/>
                    </a:cubicBezTo>
                    <a:cubicBezTo>
                      <a:pt x="0" y="0"/>
                      <a:pt x="1" y="25"/>
                      <a:pt x="10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0" name="Freeform 1066"/>
              <p:cNvSpPr>
                <a:spLocks/>
              </p:cNvSpPr>
              <p:nvPr/>
            </p:nvSpPr>
            <p:spPr bwMode="auto">
              <a:xfrm>
                <a:off x="2703" y="1313"/>
                <a:ext cx="27" cy="38"/>
              </a:xfrm>
              <a:custGeom>
                <a:avLst/>
                <a:gdLst>
                  <a:gd name="T0" fmla="*/ 1 w 42"/>
                  <a:gd name="T1" fmla="*/ 58 h 58"/>
                  <a:gd name="T2" fmla="*/ 3 w 42"/>
                  <a:gd name="T3" fmla="*/ 58 h 58"/>
                  <a:gd name="T4" fmla="*/ 14 w 42"/>
                  <a:gd name="T5" fmla="*/ 41 h 58"/>
                  <a:gd name="T6" fmla="*/ 36 w 42"/>
                  <a:gd name="T7" fmla="*/ 34 h 58"/>
                  <a:gd name="T8" fmla="*/ 36 w 42"/>
                  <a:gd name="T9" fmla="*/ 34 h 58"/>
                  <a:gd name="T10" fmla="*/ 37 w 42"/>
                  <a:gd name="T11" fmla="*/ 32 h 58"/>
                  <a:gd name="T12" fmla="*/ 19 w 42"/>
                  <a:gd name="T13" fmla="*/ 2 h 58"/>
                  <a:gd name="T14" fmla="*/ 18 w 42"/>
                  <a:gd name="T15" fmla="*/ 9 h 58"/>
                  <a:gd name="T16" fmla="*/ 24 w 42"/>
                  <a:gd name="T17" fmla="*/ 19 h 58"/>
                  <a:gd name="T18" fmla="*/ 25 w 42"/>
                  <a:gd name="T19" fmla="*/ 19 h 58"/>
                  <a:gd name="T20" fmla="*/ 11 w 42"/>
                  <a:gd name="T21" fmla="*/ 29 h 58"/>
                  <a:gd name="T22" fmla="*/ 2 w 42"/>
                  <a:gd name="T23" fmla="*/ 55 h 58"/>
                  <a:gd name="T24" fmla="*/ 1 w 42"/>
                  <a:gd name="T25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58">
                    <a:moveTo>
                      <a:pt x="1" y="58"/>
                    </a:moveTo>
                    <a:cubicBezTo>
                      <a:pt x="2" y="58"/>
                      <a:pt x="2" y="58"/>
                      <a:pt x="3" y="58"/>
                    </a:cubicBezTo>
                    <a:cubicBezTo>
                      <a:pt x="18" y="54"/>
                      <a:pt x="11" y="47"/>
                      <a:pt x="14" y="41"/>
                    </a:cubicBezTo>
                    <a:cubicBezTo>
                      <a:pt x="18" y="34"/>
                      <a:pt x="29" y="37"/>
                      <a:pt x="36" y="34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36" y="34"/>
                      <a:pt x="36" y="33"/>
                      <a:pt x="37" y="32"/>
                    </a:cubicBezTo>
                    <a:cubicBezTo>
                      <a:pt x="42" y="29"/>
                      <a:pt x="25" y="0"/>
                      <a:pt x="19" y="2"/>
                    </a:cubicBezTo>
                    <a:cubicBezTo>
                      <a:pt x="15" y="4"/>
                      <a:pt x="18" y="9"/>
                      <a:pt x="18" y="9"/>
                    </a:cubicBezTo>
                    <a:cubicBezTo>
                      <a:pt x="15" y="27"/>
                      <a:pt x="18" y="10"/>
                      <a:pt x="24" y="19"/>
                    </a:cubicBezTo>
                    <a:cubicBezTo>
                      <a:pt x="24" y="19"/>
                      <a:pt x="25" y="19"/>
                      <a:pt x="25" y="19"/>
                    </a:cubicBezTo>
                    <a:cubicBezTo>
                      <a:pt x="25" y="20"/>
                      <a:pt x="12" y="27"/>
                      <a:pt x="11" y="29"/>
                    </a:cubicBezTo>
                    <a:cubicBezTo>
                      <a:pt x="9" y="34"/>
                      <a:pt x="6" y="53"/>
                      <a:pt x="2" y="55"/>
                    </a:cubicBezTo>
                    <a:cubicBezTo>
                      <a:pt x="2" y="56"/>
                      <a:pt x="0" y="58"/>
                      <a:pt x="1" y="5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1" name="Freeform 1067"/>
              <p:cNvSpPr>
                <a:spLocks/>
              </p:cNvSpPr>
              <p:nvPr/>
            </p:nvSpPr>
            <p:spPr bwMode="auto">
              <a:xfrm>
                <a:off x="2459" y="1545"/>
                <a:ext cx="19" cy="12"/>
              </a:xfrm>
              <a:custGeom>
                <a:avLst/>
                <a:gdLst>
                  <a:gd name="T0" fmla="*/ 18 w 29"/>
                  <a:gd name="T1" fmla="*/ 1 h 19"/>
                  <a:gd name="T2" fmla="*/ 25 w 29"/>
                  <a:gd name="T3" fmla="*/ 14 h 19"/>
                  <a:gd name="T4" fmla="*/ 26 w 29"/>
                  <a:gd name="T5" fmla="*/ 14 h 19"/>
                  <a:gd name="T6" fmla="*/ 18 w 29"/>
                  <a:gd name="T7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9">
                    <a:moveTo>
                      <a:pt x="18" y="1"/>
                    </a:moveTo>
                    <a:cubicBezTo>
                      <a:pt x="0" y="4"/>
                      <a:pt x="7" y="19"/>
                      <a:pt x="25" y="14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9" y="13"/>
                      <a:pt x="25" y="0"/>
                      <a:pt x="18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2" name="Freeform 1068"/>
              <p:cNvSpPr>
                <a:spLocks/>
              </p:cNvSpPr>
              <p:nvPr/>
            </p:nvSpPr>
            <p:spPr bwMode="auto">
              <a:xfrm>
                <a:off x="2717" y="1250"/>
                <a:ext cx="22" cy="21"/>
              </a:xfrm>
              <a:custGeom>
                <a:avLst/>
                <a:gdLst>
                  <a:gd name="T0" fmla="*/ 28 w 33"/>
                  <a:gd name="T1" fmla="*/ 15 h 32"/>
                  <a:gd name="T2" fmla="*/ 24 w 33"/>
                  <a:gd name="T3" fmla="*/ 14 h 32"/>
                  <a:gd name="T4" fmla="*/ 29 w 33"/>
                  <a:gd name="T5" fmla="*/ 10 h 32"/>
                  <a:gd name="T6" fmla="*/ 24 w 33"/>
                  <a:gd name="T7" fmla="*/ 0 h 32"/>
                  <a:gd name="T8" fmla="*/ 22 w 33"/>
                  <a:gd name="T9" fmla="*/ 3 h 32"/>
                  <a:gd name="T10" fmla="*/ 19 w 33"/>
                  <a:gd name="T11" fmla="*/ 4 h 32"/>
                  <a:gd name="T12" fmla="*/ 25 w 33"/>
                  <a:gd name="T13" fmla="*/ 10 h 32"/>
                  <a:gd name="T14" fmla="*/ 21 w 33"/>
                  <a:gd name="T15" fmla="*/ 12 h 32"/>
                  <a:gd name="T16" fmla="*/ 0 w 33"/>
                  <a:gd name="T17" fmla="*/ 32 h 32"/>
                  <a:gd name="T18" fmla="*/ 32 w 33"/>
                  <a:gd name="T19" fmla="*/ 19 h 32"/>
                  <a:gd name="T20" fmla="*/ 28 w 33"/>
                  <a:gd name="T21" fmla="*/ 1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32">
                    <a:moveTo>
                      <a:pt x="28" y="15"/>
                    </a:moveTo>
                    <a:cubicBezTo>
                      <a:pt x="33" y="13"/>
                      <a:pt x="24" y="15"/>
                      <a:pt x="24" y="14"/>
                    </a:cubicBezTo>
                    <a:cubicBezTo>
                      <a:pt x="20" y="13"/>
                      <a:pt x="29" y="11"/>
                      <a:pt x="29" y="10"/>
                    </a:cubicBezTo>
                    <a:cubicBezTo>
                      <a:pt x="29" y="8"/>
                      <a:pt x="27" y="0"/>
                      <a:pt x="24" y="0"/>
                    </a:cubicBezTo>
                    <a:cubicBezTo>
                      <a:pt x="23" y="0"/>
                      <a:pt x="23" y="2"/>
                      <a:pt x="22" y="3"/>
                    </a:cubicBezTo>
                    <a:cubicBezTo>
                      <a:pt x="22" y="4"/>
                      <a:pt x="20" y="4"/>
                      <a:pt x="19" y="4"/>
                    </a:cubicBezTo>
                    <a:cubicBezTo>
                      <a:pt x="2" y="5"/>
                      <a:pt x="25" y="10"/>
                      <a:pt x="25" y="10"/>
                    </a:cubicBezTo>
                    <a:cubicBezTo>
                      <a:pt x="25" y="11"/>
                      <a:pt x="22" y="11"/>
                      <a:pt x="21" y="12"/>
                    </a:cubicBezTo>
                    <a:cubicBezTo>
                      <a:pt x="15" y="15"/>
                      <a:pt x="0" y="28"/>
                      <a:pt x="0" y="32"/>
                    </a:cubicBezTo>
                    <a:cubicBezTo>
                      <a:pt x="0" y="32"/>
                      <a:pt x="29" y="22"/>
                      <a:pt x="32" y="19"/>
                    </a:cubicBezTo>
                    <a:cubicBezTo>
                      <a:pt x="31" y="19"/>
                      <a:pt x="26" y="16"/>
                      <a:pt x="28" y="1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3" name="Freeform 1069"/>
              <p:cNvSpPr>
                <a:spLocks/>
              </p:cNvSpPr>
              <p:nvPr/>
            </p:nvSpPr>
            <p:spPr bwMode="auto">
              <a:xfrm>
                <a:off x="2453" y="1517"/>
                <a:ext cx="24" cy="24"/>
              </a:xfrm>
              <a:custGeom>
                <a:avLst/>
                <a:gdLst>
                  <a:gd name="T0" fmla="*/ 37 w 37"/>
                  <a:gd name="T1" fmla="*/ 21 h 37"/>
                  <a:gd name="T2" fmla="*/ 36 w 37"/>
                  <a:gd name="T3" fmla="*/ 20 h 37"/>
                  <a:gd name="T4" fmla="*/ 8 w 37"/>
                  <a:gd name="T5" fmla="*/ 15 h 37"/>
                  <a:gd name="T6" fmla="*/ 0 w 37"/>
                  <a:gd name="T7" fmla="*/ 18 h 37"/>
                  <a:gd name="T8" fmla="*/ 37 w 37"/>
                  <a:gd name="T9" fmla="*/ 2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7">
                    <a:moveTo>
                      <a:pt x="37" y="21"/>
                    </a:moveTo>
                    <a:cubicBezTo>
                      <a:pt x="36" y="20"/>
                      <a:pt x="36" y="20"/>
                      <a:pt x="36" y="20"/>
                    </a:cubicBezTo>
                    <a:cubicBezTo>
                      <a:pt x="31" y="0"/>
                      <a:pt x="15" y="19"/>
                      <a:pt x="8" y="15"/>
                    </a:cubicBezTo>
                    <a:cubicBezTo>
                      <a:pt x="8" y="14"/>
                      <a:pt x="0" y="17"/>
                      <a:pt x="0" y="18"/>
                    </a:cubicBezTo>
                    <a:cubicBezTo>
                      <a:pt x="5" y="28"/>
                      <a:pt x="27" y="37"/>
                      <a:pt x="37" y="2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4" name="Freeform 1070"/>
              <p:cNvSpPr>
                <a:spLocks/>
              </p:cNvSpPr>
              <p:nvPr/>
            </p:nvSpPr>
            <p:spPr bwMode="auto">
              <a:xfrm>
                <a:off x="2619" y="1369"/>
                <a:ext cx="34" cy="19"/>
              </a:xfrm>
              <a:custGeom>
                <a:avLst/>
                <a:gdLst>
                  <a:gd name="T0" fmla="*/ 34 w 52"/>
                  <a:gd name="T1" fmla="*/ 15 h 28"/>
                  <a:gd name="T2" fmla="*/ 35 w 52"/>
                  <a:gd name="T3" fmla="*/ 15 h 28"/>
                  <a:gd name="T4" fmla="*/ 22 w 52"/>
                  <a:gd name="T5" fmla="*/ 15 h 28"/>
                  <a:gd name="T6" fmla="*/ 34 w 52"/>
                  <a:gd name="T7" fmla="*/ 15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" h="28">
                    <a:moveTo>
                      <a:pt x="34" y="15"/>
                    </a:moveTo>
                    <a:cubicBezTo>
                      <a:pt x="35" y="15"/>
                      <a:pt x="35" y="15"/>
                      <a:pt x="35" y="15"/>
                    </a:cubicBezTo>
                    <a:cubicBezTo>
                      <a:pt x="52" y="0"/>
                      <a:pt x="33" y="9"/>
                      <a:pt x="22" y="15"/>
                    </a:cubicBezTo>
                    <a:cubicBezTo>
                      <a:pt x="0" y="28"/>
                      <a:pt x="17" y="25"/>
                      <a:pt x="34" y="1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5" name="Freeform 1071"/>
              <p:cNvSpPr>
                <a:spLocks/>
              </p:cNvSpPr>
              <p:nvPr/>
            </p:nvSpPr>
            <p:spPr bwMode="auto">
              <a:xfrm>
                <a:off x="2446" y="1557"/>
                <a:ext cx="15" cy="12"/>
              </a:xfrm>
              <a:custGeom>
                <a:avLst/>
                <a:gdLst>
                  <a:gd name="T0" fmla="*/ 23 w 23"/>
                  <a:gd name="T1" fmla="*/ 5 h 18"/>
                  <a:gd name="T2" fmla="*/ 22 w 23"/>
                  <a:gd name="T3" fmla="*/ 5 h 18"/>
                  <a:gd name="T4" fmla="*/ 2 w 23"/>
                  <a:gd name="T5" fmla="*/ 9 h 18"/>
                  <a:gd name="T6" fmla="*/ 23 w 23"/>
                  <a:gd name="T7" fmla="*/ 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8">
                    <a:moveTo>
                      <a:pt x="23" y="5"/>
                    </a:moveTo>
                    <a:cubicBezTo>
                      <a:pt x="22" y="5"/>
                      <a:pt x="22" y="5"/>
                      <a:pt x="22" y="5"/>
                    </a:cubicBezTo>
                    <a:cubicBezTo>
                      <a:pt x="18" y="0"/>
                      <a:pt x="3" y="5"/>
                      <a:pt x="2" y="9"/>
                    </a:cubicBezTo>
                    <a:cubicBezTo>
                      <a:pt x="0" y="11"/>
                      <a:pt x="21" y="18"/>
                      <a:pt x="23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6" name="Freeform 1072"/>
              <p:cNvSpPr>
                <a:spLocks/>
              </p:cNvSpPr>
              <p:nvPr/>
            </p:nvSpPr>
            <p:spPr bwMode="auto">
              <a:xfrm>
                <a:off x="2429" y="1554"/>
                <a:ext cx="21" cy="24"/>
              </a:xfrm>
              <a:custGeom>
                <a:avLst/>
                <a:gdLst>
                  <a:gd name="T0" fmla="*/ 31 w 32"/>
                  <a:gd name="T1" fmla="*/ 22 h 37"/>
                  <a:gd name="T2" fmla="*/ 32 w 32"/>
                  <a:gd name="T3" fmla="*/ 22 h 37"/>
                  <a:gd name="T4" fmla="*/ 26 w 32"/>
                  <a:gd name="T5" fmla="*/ 6 h 37"/>
                  <a:gd name="T6" fmla="*/ 19 w 32"/>
                  <a:gd name="T7" fmla="*/ 19 h 37"/>
                  <a:gd name="T8" fmla="*/ 9 w 32"/>
                  <a:gd name="T9" fmla="*/ 13 h 37"/>
                  <a:gd name="T10" fmla="*/ 1 w 32"/>
                  <a:gd name="T11" fmla="*/ 23 h 37"/>
                  <a:gd name="T12" fmla="*/ 31 w 32"/>
                  <a:gd name="T13" fmla="*/ 2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37">
                    <a:moveTo>
                      <a:pt x="31" y="22"/>
                    </a:moveTo>
                    <a:cubicBezTo>
                      <a:pt x="32" y="22"/>
                      <a:pt x="32" y="22"/>
                      <a:pt x="32" y="22"/>
                    </a:cubicBezTo>
                    <a:cubicBezTo>
                      <a:pt x="28" y="18"/>
                      <a:pt x="27" y="7"/>
                      <a:pt x="26" y="6"/>
                    </a:cubicBezTo>
                    <a:cubicBezTo>
                      <a:pt x="20" y="0"/>
                      <a:pt x="22" y="19"/>
                      <a:pt x="19" y="19"/>
                    </a:cubicBezTo>
                    <a:cubicBezTo>
                      <a:pt x="16" y="20"/>
                      <a:pt x="11" y="12"/>
                      <a:pt x="9" y="13"/>
                    </a:cubicBezTo>
                    <a:cubicBezTo>
                      <a:pt x="8" y="13"/>
                      <a:pt x="0" y="21"/>
                      <a:pt x="1" y="23"/>
                    </a:cubicBezTo>
                    <a:cubicBezTo>
                      <a:pt x="3" y="37"/>
                      <a:pt x="25" y="26"/>
                      <a:pt x="31" y="2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7" name="Freeform 1073"/>
              <p:cNvSpPr>
                <a:spLocks/>
              </p:cNvSpPr>
              <p:nvPr/>
            </p:nvSpPr>
            <p:spPr bwMode="auto">
              <a:xfrm>
                <a:off x="2449" y="1553"/>
                <a:ext cx="10" cy="9"/>
              </a:xfrm>
              <a:custGeom>
                <a:avLst/>
                <a:gdLst>
                  <a:gd name="T0" fmla="*/ 16 w 16"/>
                  <a:gd name="T1" fmla="*/ 3 h 14"/>
                  <a:gd name="T2" fmla="*/ 15 w 16"/>
                  <a:gd name="T3" fmla="*/ 3 h 14"/>
                  <a:gd name="T4" fmla="*/ 16 w 16"/>
                  <a:gd name="T5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6" h="14">
                    <a:moveTo>
                      <a:pt x="16" y="3"/>
                    </a:moveTo>
                    <a:cubicBezTo>
                      <a:pt x="15" y="3"/>
                      <a:pt x="15" y="3"/>
                      <a:pt x="15" y="3"/>
                    </a:cubicBezTo>
                    <a:cubicBezTo>
                      <a:pt x="0" y="0"/>
                      <a:pt x="12" y="14"/>
                      <a:pt x="16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8" name="Freeform 1074"/>
              <p:cNvSpPr>
                <a:spLocks/>
              </p:cNvSpPr>
              <p:nvPr/>
            </p:nvSpPr>
            <p:spPr bwMode="auto">
              <a:xfrm>
                <a:off x="2482" y="1503"/>
                <a:ext cx="55" cy="26"/>
              </a:xfrm>
              <a:custGeom>
                <a:avLst/>
                <a:gdLst>
                  <a:gd name="T0" fmla="*/ 30 w 83"/>
                  <a:gd name="T1" fmla="*/ 10 h 41"/>
                  <a:gd name="T2" fmla="*/ 24 w 83"/>
                  <a:gd name="T3" fmla="*/ 11 h 41"/>
                  <a:gd name="T4" fmla="*/ 40 w 83"/>
                  <a:gd name="T5" fmla="*/ 16 h 41"/>
                  <a:gd name="T6" fmla="*/ 33 w 83"/>
                  <a:gd name="T7" fmla="*/ 16 h 41"/>
                  <a:gd name="T8" fmla="*/ 0 w 83"/>
                  <a:gd name="T9" fmla="*/ 33 h 41"/>
                  <a:gd name="T10" fmla="*/ 47 w 83"/>
                  <a:gd name="T11" fmla="*/ 29 h 41"/>
                  <a:gd name="T12" fmla="*/ 77 w 83"/>
                  <a:gd name="T13" fmla="*/ 18 h 41"/>
                  <a:gd name="T14" fmla="*/ 78 w 83"/>
                  <a:gd name="T15" fmla="*/ 18 h 41"/>
                  <a:gd name="T16" fmla="*/ 75 w 83"/>
                  <a:gd name="T17" fmla="*/ 14 h 41"/>
                  <a:gd name="T18" fmla="*/ 63 w 83"/>
                  <a:gd name="T19" fmla="*/ 13 h 41"/>
                  <a:gd name="T20" fmla="*/ 57 w 83"/>
                  <a:gd name="T21" fmla="*/ 4 h 41"/>
                  <a:gd name="T22" fmla="*/ 53 w 83"/>
                  <a:gd name="T23" fmla="*/ 5 h 41"/>
                  <a:gd name="T24" fmla="*/ 30 w 83"/>
                  <a:gd name="T25" fmla="*/ 1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41">
                    <a:moveTo>
                      <a:pt x="30" y="10"/>
                    </a:moveTo>
                    <a:cubicBezTo>
                      <a:pt x="29" y="9"/>
                      <a:pt x="24" y="9"/>
                      <a:pt x="24" y="11"/>
                    </a:cubicBezTo>
                    <a:cubicBezTo>
                      <a:pt x="24" y="13"/>
                      <a:pt x="40" y="14"/>
                      <a:pt x="40" y="16"/>
                    </a:cubicBezTo>
                    <a:cubicBezTo>
                      <a:pt x="40" y="18"/>
                      <a:pt x="34" y="16"/>
                      <a:pt x="33" y="16"/>
                    </a:cubicBezTo>
                    <a:cubicBezTo>
                      <a:pt x="23" y="14"/>
                      <a:pt x="0" y="18"/>
                      <a:pt x="0" y="33"/>
                    </a:cubicBezTo>
                    <a:cubicBezTo>
                      <a:pt x="1" y="41"/>
                      <a:pt x="37" y="30"/>
                      <a:pt x="47" y="29"/>
                    </a:cubicBezTo>
                    <a:cubicBezTo>
                      <a:pt x="57" y="27"/>
                      <a:pt x="70" y="26"/>
                      <a:pt x="77" y="18"/>
                    </a:cubicBezTo>
                    <a:cubicBezTo>
                      <a:pt x="78" y="18"/>
                      <a:pt x="78" y="18"/>
                      <a:pt x="78" y="18"/>
                    </a:cubicBezTo>
                    <a:cubicBezTo>
                      <a:pt x="83" y="16"/>
                      <a:pt x="76" y="17"/>
                      <a:pt x="75" y="14"/>
                    </a:cubicBezTo>
                    <a:cubicBezTo>
                      <a:pt x="75" y="6"/>
                      <a:pt x="65" y="14"/>
                      <a:pt x="63" y="13"/>
                    </a:cubicBezTo>
                    <a:cubicBezTo>
                      <a:pt x="57" y="11"/>
                      <a:pt x="68" y="0"/>
                      <a:pt x="57" y="4"/>
                    </a:cubicBezTo>
                    <a:cubicBezTo>
                      <a:pt x="55" y="4"/>
                      <a:pt x="54" y="4"/>
                      <a:pt x="53" y="5"/>
                    </a:cubicBezTo>
                    <a:cubicBezTo>
                      <a:pt x="52" y="5"/>
                      <a:pt x="39" y="11"/>
                      <a:pt x="30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59" name="Freeform 1075"/>
              <p:cNvSpPr>
                <a:spLocks/>
              </p:cNvSpPr>
              <p:nvPr/>
            </p:nvSpPr>
            <p:spPr bwMode="auto">
              <a:xfrm>
                <a:off x="2490" y="1529"/>
                <a:ext cx="17" cy="9"/>
              </a:xfrm>
              <a:custGeom>
                <a:avLst/>
                <a:gdLst>
                  <a:gd name="T0" fmla="*/ 3 w 27"/>
                  <a:gd name="T1" fmla="*/ 10 h 13"/>
                  <a:gd name="T2" fmla="*/ 24 w 27"/>
                  <a:gd name="T3" fmla="*/ 8 h 13"/>
                  <a:gd name="T4" fmla="*/ 24 w 27"/>
                  <a:gd name="T5" fmla="*/ 8 h 13"/>
                  <a:gd name="T6" fmla="*/ 3 w 27"/>
                  <a:gd name="T7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3">
                    <a:moveTo>
                      <a:pt x="3" y="10"/>
                    </a:moveTo>
                    <a:cubicBezTo>
                      <a:pt x="4" y="13"/>
                      <a:pt x="23" y="13"/>
                      <a:pt x="24" y="8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7" y="0"/>
                      <a:pt x="0" y="1"/>
                      <a:pt x="3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0" name="Freeform 1076"/>
              <p:cNvSpPr>
                <a:spLocks/>
              </p:cNvSpPr>
              <p:nvPr/>
            </p:nvSpPr>
            <p:spPr bwMode="auto">
              <a:xfrm>
                <a:off x="2482" y="1489"/>
                <a:ext cx="34" cy="18"/>
              </a:xfrm>
              <a:custGeom>
                <a:avLst/>
                <a:gdLst>
                  <a:gd name="T0" fmla="*/ 16 w 52"/>
                  <a:gd name="T1" fmla="*/ 19 h 27"/>
                  <a:gd name="T2" fmla="*/ 50 w 52"/>
                  <a:gd name="T3" fmla="*/ 15 h 27"/>
                  <a:gd name="T4" fmla="*/ 50 w 52"/>
                  <a:gd name="T5" fmla="*/ 15 h 27"/>
                  <a:gd name="T6" fmla="*/ 47 w 52"/>
                  <a:gd name="T7" fmla="*/ 0 h 27"/>
                  <a:gd name="T8" fmla="*/ 39 w 52"/>
                  <a:gd name="T9" fmla="*/ 8 h 27"/>
                  <a:gd name="T10" fmla="*/ 0 w 52"/>
                  <a:gd name="T11" fmla="*/ 20 h 27"/>
                  <a:gd name="T12" fmla="*/ 16 w 52"/>
                  <a:gd name="T13" fmla="*/ 19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27">
                    <a:moveTo>
                      <a:pt x="16" y="19"/>
                    </a:moveTo>
                    <a:cubicBezTo>
                      <a:pt x="29" y="20"/>
                      <a:pt x="45" y="23"/>
                      <a:pt x="50" y="15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50" y="10"/>
                      <a:pt x="52" y="1"/>
                      <a:pt x="47" y="0"/>
                    </a:cubicBezTo>
                    <a:cubicBezTo>
                      <a:pt x="42" y="0"/>
                      <a:pt x="42" y="7"/>
                      <a:pt x="39" y="8"/>
                    </a:cubicBezTo>
                    <a:cubicBezTo>
                      <a:pt x="35" y="9"/>
                      <a:pt x="0" y="20"/>
                      <a:pt x="0" y="20"/>
                    </a:cubicBezTo>
                    <a:cubicBezTo>
                      <a:pt x="1" y="27"/>
                      <a:pt x="14" y="19"/>
                      <a:pt x="16" y="1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1" name="Freeform 1077"/>
              <p:cNvSpPr>
                <a:spLocks/>
              </p:cNvSpPr>
              <p:nvPr/>
            </p:nvSpPr>
            <p:spPr bwMode="auto">
              <a:xfrm>
                <a:off x="2473" y="1542"/>
                <a:ext cx="15" cy="12"/>
              </a:xfrm>
              <a:custGeom>
                <a:avLst/>
                <a:gdLst>
                  <a:gd name="T0" fmla="*/ 6 w 23"/>
                  <a:gd name="T1" fmla="*/ 10 h 18"/>
                  <a:gd name="T2" fmla="*/ 15 w 23"/>
                  <a:gd name="T3" fmla="*/ 16 h 18"/>
                  <a:gd name="T4" fmla="*/ 15 w 23"/>
                  <a:gd name="T5" fmla="*/ 16 h 18"/>
                  <a:gd name="T6" fmla="*/ 6 w 23"/>
                  <a:gd name="T7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8">
                    <a:moveTo>
                      <a:pt x="6" y="10"/>
                    </a:moveTo>
                    <a:cubicBezTo>
                      <a:pt x="9" y="15"/>
                      <a:pt x="7" y="18"/>
                      <a:pt x="15" y="16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23" y="15"/>
                      <a:pt x="0" y="0"/>
                      <a:pt x="6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2" name="Freeform 1078"/>
              <p:cNvSpPr>
                <a:spLocks/>
              </p:cNvSpPr>
              <p:nvPr/>
            </p:nvSpPr>
            <p:spPr bwMode="auto">
              <a:xfrm>
                <a:off x="2476" y="1535"/>
                <a:ext cx="24" cy="19"/>
              </a:xfrm>
              <a:custGeom>
                <a:avLst/>
                <a:gdLst>
                  <a:gd name="T0" fmla="*/ 35 w 36"/>
                  <a:gd name="T1" fmla="*/ 24 h 29"/>
                  <a:gd name="T2" fmla="*/ 35 w 36"/>
                  <a:gd name="T3" fmla="*/ 24 h 29"/>
                  <a:gd name="T4" fmla="*/ 34 w 36"/>
                  <a:gd name="T5" fmla="*/ 19 h 29"/>
                  <a:gd name="T6" fmla="*/ 27 w 36"/>
                  <a:gd name="T7" fmla="*/ 14 h 29"/>
                  <a:gd name="T8" fmla="*/ 19 w 36"/>
                  <a:gd name="T9" fmla="*/ 18 h 29"/>
                  <a:gd name="T10" fmla="*/ 16 w 36"/>
                  <a:gd name="T11" fmla="*/ 11 h 29"/>
                  <a:gd name="T12" fmla="*/ 8 w 36"/>
                  <a:gd name="T13" fmla="*/ 11 h 29"/>
                  <a:gd name="T14" fmla="*/ 35 w 36"/>
                  <a:gd name="T15" fmla="*/ 2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9">
                    <a:moveTo>
                      <a:pt x="35" y="24"/>
                    </a:moveTo>
                    <a:cubicBezTo>
                      <a:pt x="35" y="24"/>
                      <a:pt x="35" y="24"/>
                      <a:pt x="35" y="24"/>
                    </a:cubicBezTo>
                    <a:cubicBezTo>
                      <a:pt x="36" y="22"/>
                      <a:pt x="35" y="21"/>
                      <a:pt x="34" y="19"/>
                    </a:cubicBezTo>
                    <a:cubicBezTo>
                      <a:pt x="33" y="16"/>
                      <a:pt x="29" y="17"/>
                      <a:pt x="27" y="14"/>
                    </a:cubicBezTo>
                    <a:cubicBezTo>
                      <a:pt x="19" y="0"/>
                      <a:pt x="23" y="17"/>
                      <a:pt x="19" y="18"/>
                    </a:cubicBezTo>
                    <a:cubicBezTo>
                      <a:pt x="17" y="18"/>
                      <a:pt x="18" y="11"/>
                      <a:pt x="16" y="11"/>
                    </a:cubicBezTo>
                    <a:cubicBezTo>
                      <a:pt x="16" y="11"/>
                      <a:pt x="9" y="10"/>
                      <a:pt x="8" y="11"/>
                    </a:cubicBezTo>
                    <a:cubicBezTo>
                      <a:pt x="0" y="21"/>
                      <a:pt x="26" y="29"/>
                      <a:pt x="35" y="2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3" name="Freeform 1079"/>
              <p:cNvSpPr>
                <a:spLocks/>
              </p:cNvSpPr>
              <p:nvPr/>
            </p:nvSpPr>
            <p:spPr bwMode="auto">
              <a:xfrm>
                <a:off x="2554" y="1512"/>
                <a:ext cx="2" cy="2"/>
              </a:xfrm>
              <a:custGeom>
                <a:avLst/>
                <a:gdLst>
                  <a:gd name="T0" fmla="*/ 4 w 4"/>
                  <a:gd name="T1" fmla="*/ 2 h 3"/>
                  <a:gd name="T2" fmla="*/ 0 w 4"/>
                  <a:gd name="T3" fmla="*/ 0 h 3"/>
                  <a:gd name="T4" fmla="*/ 4 w 4"/>
                  <a:gd name="T5" fmla="*/ 3 h 3"/>
                  <a:gd name="T6" fmla="*/ 4 w 4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2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1" y="2"/>
                      <a:pt x="3" y="2"/>
                      <a:pt x="4" y="3"/>
                    </a:cubicBezTo>
                    <a:cubicBezTo>
                      <a:pt x="4" y="3"/>
                      <a:pt x="4" y="2"/>
                      <a:pt x="4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4" name="Freeform 1080"/>
              <p:cNvSpPr>
                <a:spLocks/>
              </p:cNvSpPr>
              <p:nvPr/>
            </p:nvSpPr>
            <p:spPr bwMode="auto">
              <a:xfrm>
                <a:off x="2898" y="933"/>
                <a:ext cx="54" cy="49"/>
              </a:xfrm>
              <a:custGeom>
                <a:avLst/>
                <a:gdLst>
                  <a:gd name="T0" fmla="*/ 14 w 82"/>
                  <a:gd name="T1" fmla="*/ 62 h 75"/>
                  <a:gd name="T2" fmla="*/ 15 w 82"/>
                  <a:gd name="T3" fmla="*/ 51 h 75"/>
                  <a:gd name="T4" fmla="*/ 43 w 82"/>
                  <a:gd name="T5" fmla="*/ 43 h 75"/>
                  <a:gd name="T6" fmla="*/ 66 w 82"/>
                  <a:gd name="T7" fmla="*/ 1 h 75"/>
                  <a:gd name="T8" fmla="*/ 62 w 82"/>
                  <a:gd name="T9" fmla="*/ 2 h 75"/>
                  <a:gd name="T10" fmla="*/ 15 w 82"/>
                  <a:gd name="T11" fmla="*/ 36 h 75"/>
                  <a:gd name="T12" fmla="*/ 3 w 82"/>
                  <a:gd name="T13" fmla="*/ 65 h 75"/>
                  <a:gd name="T14" fmla="*/ 3 w 82"/>
                  <a:gd name="T15" fmla="*/ 65 h 75"/>
                  <a:gd name="T16" fmla="*/ 14 w 82"/>
                  <a:gd name="T17" fmla="*/ 62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" h="75">
                    <a:moveTo>
                      <a:pt x="14" y="62"/>
                    </a:moveTo>
                    <a:cubicBezTo>
                      <a:pt x="16" y="58"/>
                      <a:pt x="15" y="51"/>
                      <a:pt x="15" y="51"/>
                    </a:cubicBezTo>
                    <a:cubicBezTo>
                      <a:pt x="15" y="51"/>
                      <a:pt x="42" y="57"/>
                      <a:pt x="43" y="43"/>
                    </a:cubicBezTo>
                    <a:cubicBezTo>
                      <a:pt x="43" y="35"/>
                      <a:pt x="82" y="14"/>
                      <a:pt x="66" y="1"/>
                    </a:cubicBezTo>
                    <a:cubicBezTo>
                      <a:pt x="64" y="0"/>
                      <a:pt x="64" y="1"/>
                      <a:pt x="62" y="2"/>
                    </a:cubicBezTo>
                    <a:cubicBezTo>
                      <a:pt x="58" y="4"/>
                      <a:pt x="15" y="36"/>
                      <a:pt x="15" y="36"/>
                    </a:cubicBezTo>
                    <a:cubicBezTo>
                      <a:pt x="10" y="45"/>
                      <a:pt x="7" y="56"/>
                      <a:pt x="3" y="65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0" y="75"/>
                      <a:pt x="12" y="66"/>
                      <a:pt x="14" y="6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5" name="Freeform 1081"/>
              <p:cNvSpPr>
                <a:spLocks/>
              </p:cNvSpPr>
              <p:nvPr/>
            </p:nvSpPr>
            <p:spPr bwMode="auto">
              <a:xfrm>
                <a:off x="2633" y="1434"/>
                <a:ext cx="0" cy="0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6" name="Freeform 1082"/>
              <p:cNvSpPr>
                <a:spLocks/>
              </p:cNvSpPr>
              <p:nvPr/>
            </p:nvSpPr>
            <p:spPr bwMode="auto">
              <a:xfrm>
                <a:off x="2671" y="1381"/>
                <a:ext cx="4" cy="0"/>
              </a:xfrm>
              <a:custGeom>
                <a:avLst/>
                <a:gdLst>
                  <a:gd name="T0" fmla="*/ 7 w 7"/>
                  <a:gd name="T1" fmla="*/ 0 h 1"/>
                  <a:gd name="T2" fmla="*/ 0 w 7"/>
                  <a:gd name="T3" fmla="*/ 0 h 1"/>
                  <a:gd name="T4" fmla="*/ 7 w 7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">
                    <a:moveTo>
                      <a:pt x="7" y="0"/>
                    </a:moveTo>
                    <a:cubicBezTo>
                      <a:pt x="5" y="0"/>
                      <a:pt x="3" y="0"/>
                      <a:pt x="0" y="0"/>
                    </a:cubicBezTo>
                    <a:cubicBezTo>
                      <a:pt x="1" y="1"/>
                      <a:pt x="5" y="0"/>
                      <a:pt x="7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7" name="Freeform 1083"/>
              <p:cNvSpPr>
                <a:spLocks/>
              </p:cNvSpPr>
              <p:nvPr/>
            </p:nvSpPr>
            <p:spPr bwMode="auto">
              <a:xfrm>
                <a:off x="2869" y="1070"/>
                <a:ext cx="27" cy="10"/>
              </a:xfrm>
              <a:custGeom>
                <a:avLst/>
                <a:gdLst>
                  <a:gd name="T0" fmla="*/ 16 w 42"/>
                  <a:gd name="T1" fmla="*/ 2 h 16"/>
                  <a:gd name="T2" fmla="*/ 12 w 42"/>
                  <a:gd name="T3" fmla="*/ 3 h 16"/>
                  <a:gd name="T4" fmla="*/ 29 w 42"/>
                  <a:gd name="T5" fmla="*/ 12 h 16"/>
                  <a:gd name="T6" fmla="*/ 30 w 42"/>
                  <a:gd name="T7" fmla="*/ 11 h 16"/>
                  <a:gd name="T8" fmla="*/ 16 w 42"/>
                  <a:gd name="T9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6">
                    <a:moveTo>
                      <a:pt x="16" y="2"/>
                    </a:moveTo>
                    <a:cubicBezTo>
                      <a:pt x="15" y="0"/>
                      <a:pt x="14" y="2"/>
                      <a:pt x="12" y="3"/>
                    </a:cubicBezTo>
                    <a:cubicBezTo>
                      <a:pt x="0" y="16"/>
                      <a:pt x="9" y="15"/>
                      <a:pt x="29" y="12"/>
                    </a:cubicBezTo>
                    <a:cubicBezTo>
                      <a:pt x="30" y="11"/>
                      <a:pt x="30" y="11"/>
                      <a:pt x="30" y="11"/>
                    </a:cubicBezTo>
                    <a:cubicBezTo>
                      <a:pt x="42" y="8"/>
                      <a:pt x="21" y="9"/>
                      <a:pt x="16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8" name="Freeform 1084"/>
              <p:cNvSpPr>
                <a:spLocks/>
              </p:cNvSpPr>
              <p:nvPr/>
            </p:nvSpPr>
            <p:spPr bwMode="auto">
              <a:xfrm>
                <a:off x="2732" y="1102"/>
                <a:ext cx="12" cy="6"/>
              </a:xfrm>
              <a:custGeom>
                <a:avLst/>
                <a:gdLst>
                  <a:gd name="T0" fmla="*/ 17 w 18"/>
                  <a:gd name="T1" fmla="*/ 0 h 9"/>
                  <a:gd name="T2" fmla="*/ 17 w 18"/>
                  <a:gd name="T3" fmla="*/ 0 h 9"/>
                  <a:gd name="T4" fmla="*/ 5 w 18"/>
                  <a:gd name="T5" fmla="*/ 8 h 9"/>
                  <a:gd name="T6" fmla="*/ 17 w 18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9">
                    <a:moveTo>
                      <a:pt x="1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18" y="0"/>
                      <a:pt x="0" y="4"/>
                      <a:pt x="5" y="8"/>
                    </a:cubicBezTo>
                    <a:cubicBezTo>
                      <a:pt x="7" y="9"/>
                      <a:pt x="18" y="4"/>
                      <a:pt x="17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69" name="Freeform 1085"/>
              <p:cNvSpPr>
                <a:spLocks/>
              </p:cNvSpPr>
              <p:nvPr/>
            </p:nvSpPr>
            <p:spPr bwMode="auto">
              <a:xfrm>
                <a:off x="2595" y="1536"/>
                <a:ext cx="3" cy="1"/>
              </a:xfrm>
              <a:custGeom>
                <a:avLst/>
                <a:gdLst>
                  <a:gd name="T0" fmla="*/ 2 w 4"/>
                  <a:gd name="T1" fmla="*/ 1 h 2"/>
                  <a:gd name="T2" fmla="*/ 0 w 4"/>
                  <a:gd name="T3" fmla="*/ 0 h 2"/>
                  <a:gd name="T4" fmla="*/ 4 w 4"/>
                  <a:gd name="T5" fmla="*/ 2 h 2"/>
                  <a:gd name="T6" fmla="*/ 2 w 4"/>
                  <a:gd name="T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2" y="1"/>
                    </a:moveTo>
                    <a:cubicBezTo>
                      <a:pt x="2" y="1"/>
                      <a:pt x="1" y="0"/>
                      <a:pt x="0" y="0"/>
                    </a:cubicBezTo>
                    <a:cubicBezTo>
                      <a:pt x="1" y="1"/>
                      <a:pt x="3" y="1"/>
                      <a:pt x="4" y="2"/>
                    </a:cubicBezTo>
                    <a:cubicBezTo>
                      <a:pt x="4" y="1"/>
                      <a:pt x="3" y="1"/>
                      <a:pt x="2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0" name="Freeform 1086"/>
              <p:cNvSpPr>
                <a:spLocks noEditPoints="1"/>
              </p:cNvSpPr>
              <p:nvPr/>
            </p:nvSpPr>
            <p:spPr bwMode="auto">
              <a:xfrm>
                <a:off x="2280" y="742"/>
                <a:ext cx="1535" cy="1302"/>
              </a:xfrm>
              <a:custGeom>
                <a:avLst/>
                <a:gdLst>
                  <a:gd name="T0" fmla="*/ 703 w 2341"/>
                  <a:gd name="T1" fmla="*/ 1536 h 1986"/>
                  <a:gd name="T2" fmla="*/ 720 w 2341"/>
                  <a:gd name="T3" fmla="*/ 1109 h 1986"/>
                  <a:gd name="T4" fmla="*/ 950 w 2341"/>
                  <a:gd name="T5" fmla="*/ 765 h 1986"/>
                  <a:gd name="T6" fmla="*/ 1183 w 2341"/>
                  <a:gd name="T7" fmla="*/ 421 h 1986"/>
                  <a:gd name="T8" fmla="*/ 1406 w 2341"/>
                  <a:gd name="T9" fmla="*/ 331 h 1986"/>
                  <a:gd name="T10" fmla="*/ 1641 w 2341"/>
                  <a:gd name="T11" fmla="*/ 400 h 1986"/>
                  <a:gd name="T12" fmla="*/ 1878 w 2341"/>
                  <a:gd name="T13" fmla="*/ 251 h 1986"/>
                  <a:gd name="T14" fmla="*/ 2315 w 2341"/>
                  <a:gd name="T15" fmla="*/ 258 h 1986"/>
                  <a:gd name="T16" fmla="*/ 2209 w 2341"/>
                  <a:gd name="T17" fmla="*/ 186 h 1986"/>
                  <a:gd name="T18" fmla="*/ 2277 w 2341"/>
                  <a:gd name="T19" fmla="*/ 86 h 1986"/>
                  <a:gd name="T20" fmla="*/ 2088 w 2341"/>
                  <a:gd name="T21" fmla="*/ 156 h 1986"/>
                  <a:gd name="T22" fmla="*/ 2116 w 2341"/>
                  <a:gd name="T23" fmla="*/ 25 h 1986"/>
                  <a:gd name="T24" fmla="*/ 1947 w 2341"/>
                  <a:gd name="T25" fmla="*/ 79 h 1986"/>
                  <a:gd name="T26" fmla="*/ 1845 w 2341"/>
                  <a:gd name="T27" fmla="*/ 43 h 1986"/>
                  <a:gd name="T28" fmla="*/ 1742 w 2341"/>
                  <a:gd name="T29" fmla="*/ 109 h 1986"/>
                  <a:gd name="T30" fmla="*/ 1567 w 2341"/>
                  <a:gd name="T31" fmla="*/ 141 h 1986"/>
                  <a:gd name="T32" fmla="*/ 1536 w 2341"/>
                  <a:gd name="T33" fmla="*/ 170 h 1986"/>
                  <a:gd name="T34" fmla="*/ 1394 w 2341"/>
                  <a:gd name="T35" fmla="*/ 255 h 1986"/>
                  <a:gd name="T36" fmla="*/ 1302 w 2341"/>
                  <a:gd name="T37" fmla="*/ 286 h 1986"/>
                  <a:gd name="T38" fmla="*/ 1182 w 2341"/>
                  <a:gd name="T39" fmla="*/ 313 h 1986"/>
                  <a:gd name="T40" fmla="*/ 1142 w 2341"/>
                  <a:gd name="T41" fmla="*/ 429 h 1986"/>
                  <a:gd name="T42" fmla="*/ 1019 w 2341"/>
                  <a:gd name="T43" fmla="*/ 469 h 1986"/>
                  <a:gd name="T44" fmla="*/ 1000 w 2341"/>
                  <a:gd name="T45" fmla="*/ 473 h 1986"/>
                  <a:gd name="T46" fmla="*/ 925 w 2341"/>
                  <a:gd name="T47" fmla="*/ 525 h 1986"/>
                  <a:gd name="T48" fmla="*/ 949 w 2341"/>
                  <a:gd name="T49" fmla="*/ 565 h 1986"/>
                  <a:gd name="T50" fmla="*/ 848 w 2341"/>
                  <a:gd name="T51" fmla="*/ 617 h 1986"/>
                  <a:gd name="T52" fmla="*/ 952 w 2341"/>
                  <a:gd name="T53" fmla="*/ 645 h 1986"/>
                  <a:gd name="T54" fmla="*/ 786 w 2341"/>
                  <a:gd name="T55" fmla="*/ 671 h 1986"/>
                  <a:gd name="T56" fmla="*/ 760 w 2341"/>
                  <a:gd name="T57" fmla="*/ 738 h 1986"/>
                  <a:gd name="T58" fmla="*/ 784 w 2341"/>
                  <a:gd name="T59" fmla="*/ 780 h 1986"/>
                  <a:gd name="T60" fmla="*/ 692 w 2341"/>
                  <a:gd name="T61" fmla="*/ 871 h 1986"/>
                  <a:gd name="T62" fmla="*/ 657 w 2341"/>
                  <a:gd name="T63" fmla="*/ 962 h 1986"/>
                  <a:gd name="T64" fmla="*/ 627 w 2341"/>
                  <a:gd name="T65" fmla="*/ 992 h 1986"/>
                  <a:gd name="T66" fmla="*/ 539 w 2341"/>
                  <a:gd name="T67" fmla="*/ 1056 h 1986"/>
                  <a:gd name="T68" fmla="*/ 466 w 2341"/>
                  <a:gd name="T69" fmla="*/ 1144 h 1986"/>
                  <a:gd name="T70" fmla="*/ 486 w 2341"/>
                  <a:gd name="T71" fmla="*/ 1221 h 1986"/>
                  <a:gd name="T72" fmla="*/ 388 w 2341"/>
                  <a:gd name="T73" fmla="*/ 1202 h 1986"/>
                  <a:gd name="T74" fmla="*/ 337 w 2341"/>
                  <a:gd name="T75" fmla="*/ 1257 h 1986"/>
                  <a:gd name="T76" fmla="*/ 199 w 2341"/>
                  <a:gd name="T77" fmla="*/ 1300 h 1986"/>
                  <a:gd name="T78" fmla="*/ 186 w 2341"/>
                  <a:gd name="T79" fmla="*/ 1321 h 1986"/>
                  <a:gd name="T80" fmla="*/ 152 w 2341"/>
                  <a:gd name="T81" fmla="*/ 1374 h 1986"/>
                  <a:gd name="T82" fmla="*/ 24 w 2341"/>
                  <a:gd name="T83" fmla="*/ 1381 h 1986"/>
                  <a:gd name="T84" fmla="*/ 91 w 2341"/>
                  <a:gd name="T85" fmla="*/ 1430 h 1986"/>
                  <a:gd name="T86" fmla="*/ 12 w 2341"/>
                  <a:gd name="T87" fmla="*/ 1493 h 1986"/>
                  <a:gd name="T88" fmla="*/ 195 w 2341"/>
                  <a:gd name="T89" fmla="*/ 1527 h 1986"/>
                  <a:gd name="T90" fmla="*/ 87 w 2341"/>
                  <a:gd name="T91" fmla="*/ 1544 h 1986"/>
                  <a:gd name="T92" fmla="*/ 25 w 2341"/>
                  <a:gd name="T93" fmla="*/ 1603 h 1986"/>
                  <a:gd name="T94" fmla="*/ 87 w 2341"/>
                  <a:gd name="T95" fmla="*/ 1667 h 1986"/>
                  <a:gd name="T96" fmla="*/ 152 w 2341"/>
                  <a:gd name="T97" fmla="*/ 1686 h 1986"/>
                  <a:gd name="T98" fmla="*/ 53 w 2341"/>
                  <a:gd name="T99" fmla="*/ 1756 h 1986"/>
                  <a:gd name="T100" fmla="*/ 107 w 2341"/>
                  <a:gd name="T101" fmla="*/ 1783 h 1986"/>
                  <a:gd name="T102" fmla="*/ 112 w 2341"/>
                  <a:gd name="T103" fmla="*/ 1846 h 1986"/>
                  <a:gd name="T104" fmla="*/ 173 w 2341"/>
                  <a:gd name="T105" fmla="*/ 1964 h 1986"/>
                  <a:gd name="T106" fmla="*/ 382 w 2341"/>
                  <a:gd name="T107" fmla="*/ 1884 h 1986"/>
                  <a:gd name="T108" fmla="*/ 483 w 2341"/>
                  <a:gd name="T109" fmla="*/ 1760 h 1986"/>
                  <a:gd name="T110" fmla="*/ 1728 w 2341"/>
                  <a:gd name="T111" fmla="*/ 247 h 1986"/>
                  <a:gd name="T112" fmla="*/ 803 w 2341"/>
                  <a:gd name="T113" fmla="*/ 834 h 1986"/>
                  <a:gd name="T114" fmla="*/ 793 w 2341"/>
                  <a:gd name="T115" fmla="*/ 1006 h 1986"/>
                  <a:gd name="T116" fmla="*/ 606 w 2341"/>
                  <a:gd name="T117" fmla="*/ 1098 h 1986"/>
                  <a:gd name="T118" fmla="*/ 285 w 2341"/>
                  <a:gd name="T119" fmla="*/ 1705 h 1986"/>
                  <a:gd name="T120" fmla="*/ 557 w 2341"/>
                  <a:gd name="T121" fmla="*/ 1218 h 1986"/>
                  <a:gd name="T122" fmla="*/ 491 w 2341"/>
                  <a:gd name="T123" fmla="*/ 1600 h 1986"/>
                  <a:gd name="T124" fmla="*/ 526 w 2341"/>
                  <a:gd name="T125" fmla="*/ 1586 h 19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341" h="1986">
                    <a:moveTo>
                      <a:pt x="598" y="1857"/>
                    </a:moveTo>
                    <a:cubicBezTo>
                      <a:pt x="600" y="1857"/>
                      <a:pt x="604" y="1856"/>
                      <a:pt x="608" y="1852"/>
                    </a:cubicBezTo>
                    <a:cubicBezTo>
                      <a:pt x="623" y="1840"/>
                      <a:pt x="623" y="1822"/>
                      <a:pt x="619" y="1805"/>
                    </a:cubicBezTo>
                    <a:cubicBezTo>
                      <a:pt x="617" y="1798"/>
                      <a:pt x="614" y="1793"/>
                      <a:pt x="615" y="1789"/>
                    </a:cubicBezTo>
                    <a:cubicBezTo>
                      <a:pt x="615" y="1788"/>
                      <a:pt x="615" y="1788"/>
                      <a:pt x="615" y="1788"/>
                    </a:cubicBezTo>
                    <a:cubicBezTo>
                      <a:pt x="612" y="1774"/>
                      <a:pt x="608" y="1762"/>
                      <a:pt x="611" y="1755"/>
                    </a:cubicBezTo>
                    <a:cubicBezTo>
                      <a:pt x="616" y="1743"/>
                      <a:pt x="633" y="1749"/>
                      <a:pt x="631" y="1733"/>
                    </a:cubicBezTo>
                    <a:cubicBezTo>
                      <a:pt x="631" y="1728"/>
                      <a:pt x="624" y="1724"/>
                      <a:pt x="624" y="1719"/>
                    </a:cubicBezTo>
                    <a:cubicBezTo>
                      <a:pt x="624" y="1713"/>
                      <a:pt x="635" y="1712"/>
                      <a:pt x="644" y="1712"/>
                    </a:cubicBezTo>
                    <a:cubicBezTo>
                      <a:pt x="647" y="1712"/>
                      <a:pt x="649" y="1712"/>
                      <a:pt x="651" y="1712"/>
                    </a:cubicBezTo>
                    <a:cubicBezTo>
                      <a:pt x="653" y="1712"/>
                      <a:pt x="655" y="1712"/>
                      <a:pt x="656" y="1712"/>
                    </a:cubicBezTo>
                    <a:cubicBezTo>
                      <a:pt x="662" y="1709"/>
                      <a:pt x="681" y="1691"/>
                      <a:pt x="684" y="1685"/>
                    </a:cubicBezTo>
                    <a:cubicBezTo>
                      <a:pt x="685" y="1683"/>
                      <a:pt x="684" y="1680"/>
                      <a:pt x="684" y="1678"/>
                    </a:cubicBezTo>
                    <a:cubicBezTo>
                      <a:pt x="684" y="1672"/>
                      <a:pt x="684" y="1667"/>
                      <a:pt x="684" y="1662"/>
                    </a:cubicBezTo>
                    <a:cubicBezTo>
                      <a:pt x="684" y="1659"/>
                      <a:pt x="683" y="1657"/>
                      <a:pt x="684" y="1654"/>
                    </a:cubicBezTo>
                    <a:cubicBezTo>
                      <a:pt x="687" y="1644"/>
                      <a:pt x="694" y="1642"/>
                      <a:pt x="694" y="1630"/>
                    </a:cubicBezTo>
                    <a:cubicBezTo>
                      <a:pt x="694" y="1606"/>
                      <a:pt x="659" y="1578"/>
                      <a:pt x="662" y="1555"/>
                    </a:cubicBezTo>
                    <a:cubicBezTo>
                      <a:pt x="663" y="1546"/>
                      <a:pt x="673" y="1546"/>
                      <a:pt x="683" y="1546"/>
                    </a:cubicBezTo>
                    <a:cubicBezTo>
                      <a:pt x="684" y="1546"/>
                      <a:pt x="685" y="1546"/>
                      <a:pt x="685" y="1546"/>
                    </a:cubicBezTo>
                    <a:cubicBezTo>
                      <a:pt x="687" y="1546"/>
                      <a:pt x="688" y="1546"/>
                      <a:pt x="690" y="1545"/>
                    </a:cubicBezTo>
                    <a:cubicBezTo>
                      <a:pt x="692" y="1545"/>
                      <a:pt x="693" y="1545"/>
                      <a:pt x="695" y="1545"/>
                    </a:cubicBezTo>
                    <a:cubicBezTo>
                      <a:pt x="696" y="1545"/>
                      <a:pt x="698" y="1544"/>
                      <a:pt x="699" y="1543"/>
                    </a:cubicBezTo>
                    <a:cubicBezTo>
                      <a:pt x="699" y="1543"/>
                      <a:pt x="700" y="1542"/>
                      <a:pt x="700" y="1541"/>
                    </a:cubicBezTo>
                    <a:cubicBezTo>
                      <a:pt x="701" y="1540"/>
                      <a:pt x="702" y="1538"/>
                      <a:pt x="703" y="1536"/>
                    </a:cubicBezTo>
                    <a:cubicBezTo>
                      <a:pt x="704" y="1535"/>
                      <a:pt x="704" y="1534"/>
                      <a:pt x="705" y="1533"/>
                    </a:cubicBezTo>
                    <a:cubicBezTo>
                      <a:pt x="705" y="1532"/>
                      <a:pt x="705" y="1531"/>
                      <a:pt x="706" y="1531"/>
                    </a:cubicBezTo>
                    <a:cubicBezTo>
                      <a:pt x="706" y="1529"/>
                      <a:pt x="707" y="1527"/>
                      <a:pt x="708" y="1526"/>
                    </a:cubicBezTo>
                    <a:cubicBezTo>
                      <a:pt x="708" y="1524"/>
                      <a:pt x="709" y="1523"/>
                      <a:pt x="710" y="1521"/>
                    </a:cubicBezTo>
                    <a:cubicBezTo>
                      <a:pt x="714" y="1511"/>
                      <a:pt x="717" y="1501"/>
                      <a:pt x="717" y="1500"/>
                    </a:cubicBezTo>
                    <a:cubicBezTo>
                      <a:pt x="706" y="1471"/>
                      <a:pt x="659" y="1474"/>
                      <a:pt x="651" y="1446"/>
                    </a:cubicBezTo>
                    <a:cubicBezTo>
                      <a:pt x="651" y="1445"/>
                      <a:pt x="651" y="1443"/>
                      <a:pt x="650" y="1442"/>
                    </a:cubicBezTo>
                    <a:cubicBezTo>
                      <a:pt x="650" y="1441"/>
                      <a:pt x="650" y="1439"/>
                      <a:pt x="650" y="1438"/>
                    </a:cubicBezTo>
                    <a:cubicBezTo>
                      <a:pt x="651" y="1416"/>
                      <a:pt x="669" y="1389"/>
                      <a:pt x="668" y="1368"/>
                    </a:cubicBezTo>
                    <a:cubicBezTo>
                      <a:pt x="666" y="1350"/>
                      <a:pt x="646" y="1336"/>
                      <a:pt x="642" y="1319"/>
                    </a:cubicBezTo>
                    <a:cubicBezTo>
                      <a:pt x="641" y="1313"/>
                      <a:pt x="648" y="1304"/>
                      <a:pt x="648" y="1297"/>
                    </a:cubicBezTo>
                    <a:cubicBezTo>
                      <a:pt x="648" y="1291"/>
                      <a:pt x="642" y="1281"/>
                      <a:pt x="644" y="1275"/>
                    </a:cubicBezTo>
                    <a:cubicBezTo>
                      <a:pt x="644" y="1275"/>
                      <a:pt x="644" y="1275"/>
                      <a:pt x="644" y="1275"/>
                    </a:cubicBezTo>
                    <a:cubicBezTo>
                      <a:pt x="644" y="1275"/>
                      <a:pt x="644" y="1274"/>
                      <a:pt x="644" y="1274"/>
                    </a:cubicBezTo>
                    <a:cubicBezTo>
                      <a:pt x="644" y="1274"/>
                      <a:pt x="645" y="1274"/>
                      <a:pt x="645" y="1273"/>
                    </a:cubicBezTo>
                    <a:cubicBezTo>
                      <a:pt x="648" y="1269"/>
                      <a:pt x="656" y="1258"/>
                      <a:pt x="656" y="1258"/>
                    </a:cubicBezTo>
                    <a:cubicBezTo>
                      <a:pt x="656" y="1246"/>
                      <a:pt x="634" y="1233"/>
                      <a:pt x="635" y="1221"/>
                    </a:cubicBezTo>
                    <a:cubicBezTo>
                      <a:pt x="635" y="1209"/>
                      <a:pt x="657" y="1199"/>
                      <a:pt x="659" y="1188"/>
                    </a:cubicBezTo>
                    <a:cubicBezTo>
                      <a:pt x="660" y="1183"/>
                      <a:pt x="652" y="1179"/>
                      <a:pt x="653" y="1173"/>
                    </a:cubicBezTo>
                    <a:cubicBezTo>
                      <a:pt x="653" y="1172"/>
                      <a:pt x="653" y="1171"/>
                      <a:pt x="653" y="1170"/>
                    </a:cubicBezTo>
                    <a:cubicBezTo>
                      <a:pt x="657" y="1155"/>
                      <a:pt x="682" y="1133"/>
                      <a:pt x="706" y="1117"/>
                    </a:cubicBezTo>
                    <a:cubicBezTo>
                      <a:pt x="706" y="1117"/>
                      <a:pt x="706" y="1116"/>
                      <a:pt x="707" y="1116"/>
                    </a:cubicBezTo>
                    <a:cubicBezTo>
                      <a:pt x="709" y="1112"/>
                      <a:pt x="712" y="1111"/>
                      <a:pt x="714" y="1112"/>
                    </a:cubicBezTo>
                    <a:cubicBezTo>
                      <a:pt x="716" y="1111"/>
                      <a:pt x="718" y="1110"/>
                      <a:pt x="720" y="1109"/>
                    </a:cubicBezTo>
                    <a:cubicBezTo>
                      <a:pt x="719" y="1106"/>
                      <a:pt x="718" y="1102"/>
                      <a:pt x="717" y="1100"/>
                    </a:cubicBezTo>
                    <a:cubicBezTo>
                      <a:pt x="716" y="1098"/>
                      <a:pt x="710" y="1091"/>
                      <a:pt x="711" y="1090"/>
                    </a:cubicBezTo>
                    <a:cubicBezTo>
                      <a:pt x="718" y="1086"/>
                      <a:pt x="725" y="1094"/>
                      <a:pt x="723" y="1107"/>
                    </a:cubicBezTo>
                    <a:cubicBezTo>
                      <a:pt x="735" y="1101"/>
                      <a:pt x="745" y="1097"/>
                      <a:pt x="751" y="1096"/>
                    </a:cubicBezTo>
                    <a:cubicBezTo>
                      <a:pt x="752" y="1096"/>
                      <a:pt x="754" y="1096"/>
                      <a:pt x="755" y="1096"/>
                    </a:cubicBezTo>
                    <a:cubicBezTo>
                      <a:pt x="771" y="1097"/>
                      <a:pt x="792" y="1106"/>
                      <a:pt x="808" y="1107"/>
                    </a:cubicBezTo>
                    <a:cubicBezTo>
                      <a:pt x="813" y="1107"/>
                      <a:pt x="819" y="1106"/>
                      <a:pt x="823" y="1102"/>
                    </a:cubicBezTo>
                    <a:cubicBezTo>
                      <a:pt x="813" y="1096"/>
                      <a:pt x="801" y="1088"/>
                      <a:pt x="803" y="1086"/>
                    </a:cubicBezTo>
                    <a:cubicBezTo>
                      <a:pt x="805" y="1084"/>
                      <a:pt x="811" y="1091"/>
                      <a:pt x="813" y="1092"/>
                    </a:cubicBezTo>
                    <a:cubicBezTo>
                      <a:pt x="813" y="1093"/>
                      <a:pt x="818" y="1096"/>
                      <a:pt x="825" y="1101"/>
                    </a:cubicBezTo>
                    <a:cubicBezTo>
                      <a:pt x="829" y="1097"/>
                      <a:pt x="831" y="1092"/>
                      <a:pt x="832" y="1084"/>
                    </a:cubicBezTo>
                    <a:cubicBezTo>
                      <a:pt x="843" y="1022"/>
                      <a:pt x="805" y="1051"/>
                      <a:pt x="791" y="1026"/>
                    </a:cubicBezTo>
                    <a:cubicBezTo>
                      <a:pt x="790" y="1025"/>
                      <a:pt x="791" y="1021"/>
                      <a:pt x="794" y="1016"/>
                    </a:cubicBezTo>
                    <a:cubicBezTo>
                      <a:pt x="793" y="1015"/>
                      <a:pt x="793" y="1015"/>
                      <a:pt x="793" y="1014"/>
                    </a:cubicBezTo>
                    <a:cubicBezTo>
                      <a:pt x="793" y="1014"/>
                      <a:pt x="794" y="1013"/>
                      <a:pt x="795" y="1013"/>
                    </a:cubicBezTo>
                    <a:cubicBezTo>
                      <a:pt x="808" y="991"/>
                      <a:pt x="843" y="951"/>
                      <a:pt x="847" y="941"/>
                    </a:cubicBezTo>
                    <a:cubicBezTo>
                      <a:pt x="850" y="935"/>
                      <a:pt x="849" y="928"/>
                      <a:pt x="852" y="923"/>
                    </a:cubicBezTo>
                    <a:cubicBezTo>
                      <a:pt x="852" y="923"/>
                      <a:pt x="864" y="913"/>
                      <a:pt x="864" y="913"/>
                    </a:cubicBezTo>
                    <a:cubicBezTo>
                      <a:pt x="865" y="909"/>
                      <a:pt x="864" y="906"/>
                      <a:pt x="864" y="902"/>
                    </a:cubicBezTo>
                    <a:cubicBezTo>
                      <a:pt x="864" y="902"/>
                      <a:pt x="864" y="880"/>
                      <a:pt x="864" y="880"/>
                    </a:cubicBezTo>
                    <a:cubicBezTo>
                      <a:pt x="864" y="877"/>
                      <a:pt x="863" y="873"/>
                      <a:pt x="864" y="870"/>
                    </a:cubicBezTo>
                    <a:cubicBezTo>
                      <a:pt x="866" y="858"/>
                      <a:pt x="874" y="846"/>
                      <a:pt x="876" y="834"/>
                    </a:cubicBezTo>
                    <a:cubicBezTo>
                      <a:pt x="876" y="825"/>
                      <a:pt x="859" y="795"/>
                      <a:pt x="864" y="788"/>
                    </a:cubicBezTo>
                    <a:cubicBezTo>
                      <a:pt x="865" y="786"/>
                      <a:pt x="945" y="785"/>
                      <a:pt x="950" y="765"/>
                    </a:cubicBezTo>
                    <a:cubicBezTo>
                      <a:pt x="952" y="756"/>
                      <a:pt x="938" y="743"/>
                      <a:pt x="941" y="734"/>
                    </a:cubicBezTo>
                    <a:cubicBezTo>
                      <a:pt x="943" y="729"/>
                      <a:pt x="958" y="722"/>
                      <a:pt x="964" y="717"/>
                    </a:cubicBezTo>
                    <a:cubicBezTo>
                      <a:pt x="964" y="717"/>
                      <a:pt x="964" y="717"/>
                      <a:pt x="965" y="717"/>
                    </a:cubicBezTo>
                    <a:cubicBezTo>
                      <a:pt x="978" y="704"/>
                      <a:pt x="985" y="685"/>
                      <a:pt x="999" y="673"/>
                    </a:cubicBezTo>
                    <a:cubicBezTo>
                      <a:pt x="1007" y="665"/>
                      <a:pt x="1022" y="661"/>
                      <a:pt x="1029" y="652"/>
                    </a:cubicBezTo>
                    <a:cubicBezTo>
                      <a:pt x="1046" y="629"/>
                      <a:pt x="1019" y="612"/>
                      <a:pt x="1009" y="599"/>
                    </a:cubicBezTo>
                    <a:cubicBezTo>
                      <a:pt x="1008" y="598"/>
                      <a:pt x="1007" y="598"/>
                      <a:pt x="1007" y="597"/>
                    </a:cubicBezTo>
                    <a:cubicBezTo>
                      <a:pt x="1007" y="596"/>
                      <a:pt x="1006" y="596"/>
                      <a:pt x="1006" y="596"/>
                    </a:cubicBezTo>
                    <a:cubicBezTo>
                      <a:pt x="1006" y="595"/>
                      <a:pt x="1006" y="595"/>
                      <a:pt x="1005" y="594"/>
                    </a:cubicBezTo>
                    <a:cubicBezTo>
                      <a:pt x="1005" y="593"/>
                      <a:pt x="1005" y="591"/>
                      <a:pt x="1005" y="590"/>
                    </a:cubicBezTo>
                    <a:cubicBezTo>
                      <a:pt x="1007" y="574"/>
                      <a:pt x="1028" y="579"/>
                      <a:pt x="1036" y="569"/>
                    </a:cubicBezTo>
                    <a:cubicBezTo>
                      <a:pt x="1049" y="553"/>
                      <a:pt x="1051" y="531"/>
                      <a:pt x="1063" y="515"/>
                    </a:cubicBezTo>
                    <a:cubicBezTo>
                      <a:pt x="1066" y="510"/>
                      <a:pt x="1094" y="494"/>
                      <a:pt x="1106" y="488"/>
                    </a:cubicBezTo>
                    <a:cubicBezTo>
                      <a:pt x="1106" y="488"/>
                      <a:pt x="1106" y="487"/>
                      <a:pt x="1106" y="487"/>
                    </a:cubicBezTo>
                    <a:cubicBezTo>
                      <a:pt x="1107" y="486"/>
                      <a:pt x="1108" y="486"/>
                      <a:pt x="1110" y="486"/>
                    </a:cubicBezTo>
                    <a:cubicBezTo>
                      <a:pt x="1110" y="486"/>
                      <a:pt x="1110" y="486"/>
                      <a:pt x="1110" y="486"/>
                    </a:cubicBezTo>
                    <a:cubicBezTo>
                      <a:pt x="1111" y="486"/>
                      <a:pt x="1112" y="486"/>
                      <a:pt x="1113" y="486"/>
                    </a:cubicBezTo>
                    <a:cubicBezTo>
                      <a:pt x="1123" y="485"/>
                      <a:pt x="1138" y="498"/>
                      <a:pt x="1151" y="504"/>
                    </a:cubicBezTo>
                    <a:cubicBezTo>
                      <a:pt x="1152" y="505"/>
                      <a:pt x="1153" y="505"/>
                      <a:pt x="1154" y="506"/>
                    </a:cubicBezTo>
                    <a:cubicBezTo>
                      <a:pt x="1155" y="506"/>
                      <a:pt x="1156" y="507"/>
                      <a:pt x="1157" y="507"/>
                    </a:cubicBezTo>
                    <a:cubicBezTo>
                      <a:pt x="1158" y="507"/>
                      <a:pt x="1159" y="507"/>
                      <a:pt x="1160" y="508"/>
                    </a:cubicBezTo>
                    <a:cubicBezTo>
                      <a:pt x="1161" y="508"/>
                      <a:pt x="1162" y="508"/>
                      <a:pt x="1163" y="508"/>
                    </a:cubicBezTo>
                    <a:cubicBezTo>
                      <a:pt x="1164" y="508"/>
                      <a:pt x="1165" y="507"/>
                      <a:pt x="1165" y="507"/>
                    </a:cubicBezTo>
                    <a:cubicBezTo>
                      <a:pt x="1205" y="489"/>
                      <a:pt x="1172" y="433"/>
                      <a:pt x="1183" y="421"/>
                    </a:cubicBezTo>
                    <a:cubicBezTo>
                      <a:pt x="1187" y="416"/>
                      <a:pt x="1195" y="415"/>
                      <a:pt x="1204" y="415"/>
                    </a:cubicBezTo>
                    <a:cubicBezTo>
                      <a:pt x="1206" y="415"/>
                      <a:pt x="1207" y="415"/>
                      <a:pt x="1209" y="415"/>
                    </a:cubicBezTo>
                    <a:cubicBezTo>
                      <a:pt x="1249" y="418"/>
                      <a:pt x="1319" y="447"/>
                      <a:pt x="1343" y="447"/>
                    </a:cubicBezTo>
                    <a:cubicBezTo>
                      <a:pt x="1345" y="447"/>
                      <a:pt x="1347" y="447"/>
                      <a:pt x="1348" y="447"/>
                    </a:cubicBezTo>
                    <a:cubicBezTo>
                      <a:pt x="1350" y="446"/>
                      <a:pt x="1370" y="428"/>
                      <a:pt x="1370" y="428"/>
                    </a:cubicBezTo>
                    <a:cubicBezTo>
                      <a:pt x="1377" y="421"/>
                      <a:pt x="1369" y="420"/>
                      <a:pt x="1361" y="418"/>
                    </a:cubicBezTo>
                    <a:cubicBezTo>
                      <a:pt x="1360" y="418"/>
                      <a:pt x="1359" y="418"/>
                      <a:pt x="1359" y="418"/>
                    </a:cubicBezTo>
                    <a:cubicBezTo>
                      <a:pt x="1358" y="418"/>
                      <a:pt x="1358" y="417"/>
                      <a:pt x="1357" y="417"/>
                    </a:cubicBezTo>
                    <a:cubicBezTo>
                      <a:pt x="1357" y="417"/>
                      <a:pt x="1356" y="417"/>
                      <a:pt x="1356" y="417"/>
                    </a:cubicBezTo>
                    <a:cubicBezTo>
                      <a:pt x="1355" y="417"/>
                      <a:pt x="1355" y="417"/>
                      <a:pt x="1355" y="417"/>
                    </a:cubicBezTo>
                    <a:cubicBezTo>
                      <a:pt x="1354" y="416"/>
                      <a:pt x="1353" y="416"/>
                      <a:pt x="1353" y="416"/>
                    </a:cubicBezTo>
                    <a:cubicBezTo>
                      <a:pt x="1351" y="415"/>
                      <a:pt x="1350" y="414"/>
                      <a:pt x="1350" y="413"/>
                    </a:cubicBezTo>
                    <a:cubicBezTo>
                      <a:pt x="1349" y="409"/>
                      <a:pt x="1382" y="388"/>
                      <a:pt x="1385" y="376"/>
                    </a:cubicBezTo>
                    <a:cubicBezTo>
                      <a:pt x="1389" y="361"/>
                      <a:pt x="1379" y="349"/>
                      <a:pt x="1370" y="340"/>
                    </a:cubicBezTo>
                    <a:cubicBezTo>
                      <a:pt x="1369" y="340"/>
                      <a:pt x="1368" y="339"/>
                      <a:pt x="1368" y="338"/>
                    </a:cubicBezTo>
                    <a:cubicBezTo>
                      <a:pt x="1366" y="337"/>
                      <a:pt x="1361" y="335"/>
                      <a:pt x="1363" y="334"/>
                    </a:cubicBezTo>
                    <a:cubicBezTo>
                      <a:pt x="1364" y="333"/>
                      <a:pt x="1365" y="333"/>
                      <a:pt x="1367" y="333"/>
                    </a:cubicBezTo>
                    <a:cubicBezTo>
                      <a:pt x="1368" y="333"/>
                      <a:pt x="1369" y="333"/>
                      <a:pt x="1371" y="333"/>
                    </a:cubicBezTo>
                    <a:cubicBezTo>
                      <a:pt x="1372" y="334"/>
                      <a:pt x="1373" y="334"/>
                      <a:pt x="1374" y="334"/>
                    </a:cubicBezTo>
                    <a:cubicBezTo>
                      <a:pt x="1375" y="334"/>
                      <a:pt x="1378" y="334"/>
                      <a:pt x="1383" y="334"/>
                    </a:cubicBezTo>
                    <a:cubicBezTo>
                      <a:pt x="1392" y="334"/>
                      <a:pt x="1405" y="334"/>
                      <a:pt x="1409" y="334"/>
                    </a:cubicBezTo>
                    <a:cubicBezTo>
                      <a:pt x="1409" y="334"/>
                      <a:pt x="1409" y="334"/>
                      <a:pt x="1410" y="334"/>
                    </a:cubicBezTo>
                    <a:cubicBezTo>
                      <a:pt x="1408" y="333"/>
                      <a:pt x="1407" y="332"/>
                      <a:pt x="1406" y="332"/>
                    </a:cubicBezTo>
                    <a:cubicBezTo>
                      <a:pt x="1406" y="331"/>
                      <a:pt x="1406" y="331"/>
                      <a:pt x="1406" y="331"/>
                    </a:cubicBezTo>
                    <a:cubicBezTo>
                      <a:pt x="1406" y="330"/>
                      <a:pt x="1406" y="329"/>
                      <a:pt x="1407" y="329"/>
                    </a:cubicBezTo>
                    <a:cubicBezTo>
                      <a:pt x="1408" y="327"/>
                      <a:pt x="1410" y="326"/>
                      <a:pt x="1413" y="326"/>
                    </a:cubicBezTo>
                    <a:cubicBezTo>
                      <a:pt x="1414" y="326"/>
                      <a:pt x="1415" y="326"/>
                      <a:pt x="1416" y="326"/>
                    </a:cubicBezTo>
                    <a:cubicBezTo>
                      <a:pt x="1428" y="327"/>
                      <a:pt x="1446" y="337"/>
                      <a:pt x="1449" y="336"/>
                    </a:cubicBezTo>
                    <a:cubicBezTo>
                      <a:pt x="1455" y="335"/>
                      <a:pt x="1454" y="329"/>
                      <a:pt x="1451" y="323"/>
                    </a:cubicBezTo>
                    <a:cubicBezTo>
                      <a:pt x="1451" y="322"/>
                      <a:pt x="1450" y="321"/>
                      <a:pt x="1450" y="320"/>
                    </a:cubicBezTo>
                    <a:cubicBezTo>
                      <a:pt x="1450" y="320"/>
                      <a:pt x="1449" y="320"/>
                      <a:pt x="1449" y="319"/>
                    </a:cubicBezTo>
                    <a:cubicBezTo>
                      <a:pt x="1448" y="316"/>
                      <a:pt x="1446" y="314"/>
                      <a:pt x="1446" y="313"/>
                    </a:cubicBezTo>
                    <a:cubicBezTo>
                      <a:pt x="1446" y="311"/>
                      <a:pt x="1446" y="310"/>
                      <a:pt x="1447" y="309"/>
                    </a:cubicBezTo>
                    <a:cubicBezTo>
                      <a:pt x="1447" y="308"/>
                      <a:pt x="1448" y="307"/>
                      <a:pt x="1449" y="305"/>
                    </a:cubicBezTo>
                    <a:cubicBezTo>
                      <a:pt x="1449" y="305"/>
                      <a:pt x="1450" y="304"/>
                      <a:pt x="1451" y="303"/>
                    </a:cubicBezTo>
                    <a:cubicBezTo>
                      <a:pt x="1457" y="296"/>
                      <a:pt x="1466" y="289"/>
                      <a:pt x="1471" y="289"/>
                    </a:cubicBezTo>
                    <a:cubicBezTo>
                      <a:pt x="1472" y="289"/>
                      <a:pt x="1473" y="289"/>
                      <a:pt x="1474" y="289"/>
                    </a:cubicBezTo>
                    <a:cubicBezTo>
                      <a:pt x="1489" y="289"/>
                      <a:pt x="1515" y="308"/>
                      <a:pt x="1535" y="328"/>
                    </a:cubicBezTo>
                    <a:cubicBezTo>
                      <a:pt x="1538" y="331"/>
                      <a:pt x="1540" y="334"/>
                      <a:pt x="1543" y="337"/>
                    </a:cubicBezTo>
                    <a:cubicBezTo>
                      <a:pt x="1545" y="339"/>
                      <a:pt x="1547" y="341"/>
                      <a:pt x="1549" y="343"/>
                    </a:cubicBezTo>
                    <a:cubicBezTo>
                      <a:pt x="1556" y="352"/>
                      <a:pt x="1561" y="360"/>
                      <a:pt x="1564" y="365"/>
                    </a:cubicBezTo>
                    <a:cubicBezTo>
                      <a:pt x="1566" y="372"/>
                      <a:pt x="1563" y="381"/>
                      <a:pt x="1568" y="386"/>
                    </a:cubicBezTo>
                    <a:cubicBezTo>
                      <a:pt x="1570" y="388"/>
                      <a:pt x="1573" y="387"/>
                      <a:pt x="1575" y="387"/>
                    </a:cubicBezTo>
                    <a:cubicBezTo>
                      <a:pt x="1579" y="387"/>
                      <a:pt x="1583" y="387"/>
                      <a:pt x="1588" y="387"/>
                    </a:cubicBezTo>
                    <a:cubicBezTo>
                      <a:pt x="1593" y="386"/>
                      <a:pt x="1600" y="386"/>
                      <a:pt x="1605" y="386"/>
                    </a:cubicBezTo>
                    <a:cubicBezTo>
                      <a:pt x="1614" y="386"/>
                      <a:pt x="1622" y="387"/>
                      <a:pt x="1627" y="389"/>
                    </a:cubicBezTo>
                    <a:cubicBezTo>
                      <a:pt x="1627" y="389"/>
                      <a:pt x="1639" y="400"/>
                      <a:pt x="1639" y="400"/>
                    </a:cubicBezTo>
                    <a:cubicBezTo>
                      <a:pt x="1640" y="400"/>
                      <a:pt x="1640" y="400"/>
                      <a:pt x="1641" y="400"/>
                    </a:cubicBezTo>
                    <a:cubicBezTo>
                      <a:pt x="1641" y="400"/>
                      <a:pt x="1642" y="400"/>
                      <a:pt x="1643" y="400"/>
                    </a:cubicBezTo>
                    <a:cubicBezTo>
                      <a:pt x="1643" y="400"/>
                      <a:pt x="1644" y="400"/>
                      <a:pt x="1645" y="399"/>
                    </a:cubicBezTo>
                    <a:cubicBezTo>
                      <a:pt x="1645" y="399"/>
                      <a:pt x="1646" y="399"/>
                      <a:pt x="1647" y="399"/>
                    </a:cubicBezTo>
                    <a:cubicBezTo>
                      <a:pt x="1659" y="397"/>
                      <a:pt x="1680" y="389"/>
                      <a:pt x="1684" y="386"/>
                    </a:cubicBezTo>
                    <a:cubicBezTo>
                      <a:pt x="1688" y="383"/>
                      <a:pt x="1692" y="369"/>
                      <a:pt x="1697" y="368"/>
                    </a:cubicBezTo>
                    <a:cubicBezTo>
                      <a:pt x="1698" y="368"/>
                      <a:pt x="1700" y="368"/>
                      <a:pt x="1703" y="369"/>
                    </a:cubicBezTo>
                    <a:cubicBezTo>
                      <a:pt x="1720" y="373"/>
                      <a:pt x="1764" y="388"/>
                      <a:pt x="1772" y="392"/>
                    </a:cubicBezTo>
                    <a:cubicBezTo>
                      <a:pt x="1772" y="392"/>
                      <a:pt x="1774" y="394"/>
                      <a:pt x="1776" y="395"/>
                    </a:cubicBezTo>
                    <a:cubicBezTo>
                      <a:pt x="1777" y="396"/>
                      <a:pt x="1777" y="397"/>
                      <a:pt x="1778" y="397"/>
                    </a:cubicBezTo>
                    <a:cubicBezTo>
                      <a:pt x="1784" y="403"/>
                      <a:pt x="1792" y="411"/>
                      <a:pt x="1792" y="410"/>
                    </a:cubicBezTo>
                    <a:cubicBezTo>
                      <a:pt x="1797" y="404"/>
                      <a:pt x="1803" y="405"/>
                      <a:pt x="1809" y="400"/>
                    </a:cubicBezTo>
                    <a:cubicBezTo>
                      <a:pt x="1816" y="392"/>
                      <a:pt x="1815" y="379"/>
                      <a:pt x="1821" y="370"/>
                    </a:cubicBezTo>
                    <a:cubicBezTo>
                      <a:pt x="1823" y="365"/>
                      <a:pt x="1827" y="362"/>
                      <a:pt x="1834" y="360"/>
                    </a:cubicBezTo>
                    <a:cubicBezTo>
                      <a:pt x="1845" y="357"/>
                      <a:pt x="1864" y="359"/>
                      <a:pt x="1870" y="346"/>
                    </a:cubicBezTo>
                    <a:cubicBezTo>
                      <a:pt x="1871" y="344"/>
                      <a:pt x="1872" y="341"/>
                      <a:pt x="1873" y="339"/>
                    </a:cubicBezTo>
                    <a:cubicBezTo>
                      <a:pt x="1873" y="337"/>
                      <a:pt x="1873" y="336"/>
                      <a:pt x="1872" y="334"/>
                    </a:cubicBezTo>
                    <a:cubicBezTo>
                      <a:pt x="1872" y="333"/>
                      <a:pt x="1872" y="331"/>
                      <a:pt x="1871" y="330"/>
                    </a:cubicBezTo>
                    <a:cubicBezTo>
                      <a:pt x="1871" y="329"/>
                      <a:pt x="1871" y="328"/>
                      <a:pt x="1870" y="328"/>
                    </a:cubicBezTo>
                    <a:cubicBezTo>
                      <a:pt x="1870" y="327"/>
                      <a:pt x="1870" y="326"/>
                      <a:pt x="1869" y="325"/>
                    </a:cubicBezTo>
                    <a:cubicBezTo>
                      <a:pt x="1867" y="320"/>
                      <a:pt x="1864" y="314"/>
                      <a:pt x="1864" y="310"/>
                    </a:cubicBezTo>
                    <a:cubicBezTo>
                      <a:pt x="1863" y="296"/>
                      <a:pt x="1870" y="291"/>
                      <a:pt x="1874" y="281"/>
                    </a:cubicBezTo>
                    <a:cubicBezTo>
                      <a:pt x="1876" y="275"/>
                      <a:pt x="1873" y="263"/>
                      <a:pt x="1874" y="256"/>
                    </a:cubicBezTo>
                    <a:cubicBezTo>
                      <a:pt x="1875" y="256"/>
                      <a:pt x="1875" y="255"/>
                      <a:pt x="1876" y="254"/>
                    </a:cubicBezTo>
                    <a:cubicBezTo>
                      <a:pt x="1876" y="253"/>
                      <a:pt x="1877" y="252"/>
                      <a:pt x="1878" y="251"/>
                    </a:cubicBezTo>
                    <a:cubicBezTo>
                      <a:pt x="1879" y="249"/>
                      <a:pt x="1880" y="247"/>
                      <a:pt x="1881" y="246"/>
                    </a:cubicBezTo>
                    <a:cubicBezTo>
                      <a:pt x="1884" y="239"/>
                      <a:pt x="1886" y="232"/>
                      <a:pt x="1887" y="230"/>
                    </a:cubicBezTo>
                    <a:cubicBezTo>
                      <a:pt x="1892" y="226"/>
                      <a:pt x="1927" y="195"/>
                      <a:pt x="1931" y="193"/>
                    </a:cubicBezTo>
                    <a:cubicBezTo>
                      <a:pt x="1950" y="181"/>
                      <a:pt x="1974" y="201"/>
                      <a:pt x="1993" y="194"/>
                    </a:cubicBezTo>
                    <a:cubicBezTo>
                      <a:pt x="2017" y="186"/>
                      <a:pt x="2027" y="171"/>
                      <a:pt x="2051" y="171"/>
                    </a:cubicBezTo>
                    <a:cubicBezTo>
                      <a:pt x="2053" y="171"/>
                      <a:pt x="2055" y="171"/>
                      <a:pt x="2056" y="171"/>
                    </a:cubicBezTo>
                    <a:cubicBezTo>
                      <a:pt x="2058" y="171"/>
                      <a:pt x="2060" y="171"/>
                      <a:pt x="2062" y="171"/>
                    </a:cubicBezTo>
                    <a:cubicBezTo>
                      <a:pt x="2071" y="186"/>
                      <a:pt x="2084" y="196"/>
                      <a:pt x="2098" y="204"/>
                    </a:cubicBezTo>
                    <a:cubicBezTo>
                      <a:pt x="2101" y="205"/>
                      <a:pt x="2104" y="207"/>
                      <a:pt x="2107" y="208"/>
                    </a:cubicBezTo>
                    <a:cubicBezTo>
                      <a:pt x="2109" y="209"/>
                      <a:pt x="2111" y="210"/>
                      <a:pt x="2113" y="211"/>
                    </a:cubicBezTo>
                    <a:cubicBezTo>
                      <a:pt x="2119" y="214"/>
                      <a:pt x="2125" y="216"/>
                      <a:pt x="2131" y="218"/>
                    </a:cubicBezTo>
                    <a:cubicBezTo>
                      <a:pt x="2156" y="228"/>
                      <a:pt x="2178" y="238"/>
                      <a:pt x="2183" y="262"/>
                    </a:cubicBezTo>
                    <a:cubicBezTo>
                      <a:pt x="2187" y="278"/>
                      <a:pt x="2100" y="315"/>
                      <a:pt x="2152" y="334"/>
                    </a:cubicBezTo>
                    <a:cubicBezTo>
                      <a:pt x="2154" y="335"/>
                      <a:pt x="2156" y="336"/>
                      <a:pt x="2158" y="336"/>
                    </a:cubicBezTo>
                    <a:cubicBezTo>
                      <a:pt x="2160" y="337"/>
                      <a:pt x="2163" y="337"/>
                      <a:pt x="2165" y="337"/>
                    </a:cubicBezTo>
                    <a:cubicBezTo>
                      <a:pt x="2181" y="336"/>
                      <a:pt x="2180" y="310"/>
                      <a:pt x="2182" y="297"/>
                    </a:cubicBezTo>
                    <a:cubicBezTo>
                      <a:pt x="2183" y="296"/>
                      <a:pt x="2183" y="295"/>
                      <a:pt x="2183" y="295"/>
                    </a:cubicBezTo>
                    <a:cubicBezTo>
                      <a:pt x="2183" y="293"/>
                      <a:pt x="2184" y="292"/>
                      <a:pt x="2185" y="291"/>
                    </a:cubicBezTo>
                    <a:cubicBezTo>
                      <a:pt x="2196" y="277"/>
                      <a:pt x="2233" y="276"/>
                      <a:pt x="2249" y="265"/>
                    </a:cubicBezTo>
                    <a:cubicBezTo>
                      <a:pt x="2253" y="262"/>
                      <a:pt x="2269" y="247"/>
                      <a:pt x="2259" y="241"/>
                    </a:cubicBezTo>
                    <a:cubicBezTo>
                      <a:pt x="2257" y="240"/>
                      <a:pt x="2252" y="239"/>
                      <a:pt x="2253" y="239"/>
                    </a:cubicBezTo>
                    <a:cubicBezTo>
                      <a:pt x="2253" y="238"/>
                      <a:pt x="2253" y="238"/>
                      <a:pt x="2253" y="238"/>
                    </a:cubicBezTo>
                    <a:cubicBezTo>
                      <a:pt x="2254" y="238"/>
                      <a:pt x="2255" y="238"/>
                      <a:pt x="2256" y="238"/>
                    </a:cubicBezTo>
                    <a:cubicBezTo>
                      <a:pt x="2269" y="237"/>
                      <a:pt x="2297" y="257"/>
                      <a:pt x="2315" y="258"/>
                    </a:cubicBezTo>
                    <a:cubicBezTo>
                      <a:pt x="2316" y="258"/>
                      <a:pt x="2317" y="258"/>
                      <a:pt x="2317" y="258"/>
                    </a:cubicBezTo>
                    <a:cubicBezTo>
                      <a:pt x="2321" y="258"/>
                      <a:pt x="2324" y="256"/>
                      <a:pt x="2326" y="254"/>
                    </a:cubicBezTo>
                    <a:cubicBezTo>
                      <a:pt x="2327" y="253"/>
                      <a:pt x="2328" y="251"/>
                      <a:pt x="2329" y="250"/>
                    </a:cubicBezTo>
                    <a:cubicBezTo>
                      <a:pt x="2330" y="247"/>
                      <a:pt x="2330" y="244"/>
                      <a:pt x="2330" y="240"/>
                    </a:cubicBezTo>
                    <a:cubicBezTo>
                      <a:pt x="2330" y="230"/>
                      <a:pt x="2326" y="225"/>
                      <a:pt x="2322" y="216"/>
                    </a:cubicBezTo>
                    <a:cubicBezTo>
                      <a:pt x="2304" y="213"/>
                      <a:pt x="2288" y="211"/>
                      <a:pt x="2286" y="212"/>
                    </a:cubicBezTo>
                    <a:cubicBezTo>
                      <a:pt x="2281" y="215"/>
                      <a:pt x="2294" y="237"/>
                      <a:pt x="2278" y="236"/>
                    </a:cubicBezTo>
                    <a:cubicBezTo>
                      <a:pt x="2272" y="235"/>
                      <a:pt x="2280" y="234"/>
                      <a:pt x="2282" y="233"/>
                    </a:cubicBezTo>
                    <a:cubicBezTo>
                      <a:pt x="2285" y="229"/>
                      <a:pt x="2283" y="207"/>
                      <a:pt x="2278" y="208"/>
                    </a:cubicBezTo>
                    <a:cubicBezTo>
                      <a:pt x="2261" y="210"/>
                      <a:pt x="2281" y="202"/>
                      <a:pt x="2272" y="201"/>
                    </a:cubicBezTo>
                    <a:cubicBezTo>
                      <a:pt x="2250" y="199"/>
                      <a:pt x="2266" y="240"/>
                      <a:pt x="2256" y="230"/>
                    </a:cubicBezTo>
                    <a:cubicBezTo>
                      <a:pt x="2254" y="228"/>
                      <a:pt x="2252" y="224"/>
                      <a:pt x="2252" y="224"/>
                    </a:cubicBezTo>
                    <a:cubicBezTo>
                      <a:pt x="2249" y="227"/>
                      <a:pt x="2248" y="227"/>
                      <a:pt x="2244" y="229"/>
                    </a:cubicBezTo>
                    <a:cubicBezTo>
                      <a:pt x="2242" y="230"/>
                      <a:pt x="2240" y="233"/>
                      <a:pt x="2239" y="231"/>
                    </a:cubicBezTo>
                    <a:cubicBezTo>
                      <a:pt x="2239" y="229"/>
                      <a:pt x="2253" y="223"/>
                      <a:pt x="2251" y="219"/>
                    </a:cubicBezTo>
                    <a:cubicBezTo>
                      <a:pt x="2249" y="215"/>
                      <a:pt x="2239" y="226"/>
                      <a:pt x="2237" y="226"/>
                    </a:cubicBezTo>
                    <a:cubicBezTo>
                      <a:pt x="2222" y="226"/>
                      <a:pt x="2217" y="223"/>
                      <a:pt x="2205" y="234"/>
                    </a:cubicBezTo>
                    <a:cubicBezTo>
                      <a:pt x="2204" y="235"/>
                      <a:pt x="2201" y="238"/>
                      <a:pt x="2200" y="237"/>
                    </a:cubicBezTo>
                    <a:cubicBezTo>
                      <a:pt x="2198" y="237"/>
                      <a:pt x="2205" y="231"/>
                      <a:pt x="2205" y="230"/>
                    </a:cubicBezTo>
                    <a:cubicBezTo>
                      <a:pt x="2205" y="229"/>
                      <a:pt x="2227" y="214"/>
                      <a:pt x="2225" y="208"/>
                    </a:cubicBezTo>
                    <a:cubicBezTo>
                      <a:pt x="2222" y="197"/>
                      <a:pt x="2203" y="189"/>
                      <a:pt x="2196" y="205"/>
                    </a:cubicBezTo>
                    <a:cubicBezTo>
                      <a:pt x="2195" y="206"/>
                      <a:pt x="2190" y="207"/>
                      <a:pt x="2189" y="205"/>
                    </a:cubicBezTo>
                    <a:cubicBezTo>
                      <a:pt x="2188" y="203"/>
                      <a:pt x="2193" y="203"/>
                      <a:pt x="2194" y="201"/>
                    </a:cubicBezTo>
                    <a:cubicBezTo>
                      <a:pt x="2196" y="194"/>
                      <a:pt x="2229" y="190"/>
                      <a:pt x="2209" y="186"/>
                    </a:cubicBezTo>
                    <a:cubicBezTo>
                      <a:pt x="2205" y="185"/>
                      <a:pt x="2204" y="184"/>
                      <a:pt x="2201" y="182"/>
                    </a:cubicBezTo>
                    <a:cubicBezTo>
                      <a:pt x="2201" y="182"/>
                      <a:pt x="2201" y="182"/>
                      <a:pt x="2201" y="182"/>
                    </a:cubicBezTo>
                    <a:cubicBezTo>
                      <a:pt x="2193" y="181"/>
                      <a:pt x="2175" y="184"/>
                      <a:pt x="2168" y="181"/>
                    </a:cubicBezTo>
                    <a:cubicBezTo>
                      <a:pt x="2167" y="180"/>
                      <a:pt x="2169" y="179"/>
                      <a:pt x="2170" y="179"/>
                    </a:cubicBezTo>
                    <a:cubicBezTo>
                      <a:pt x="2178" y="175"/>
                      <a:pt x="2167" y="177"/>
                      <a:pt x="2168" y="174"/>
                    </a:cubicBezTo>
                    <a:cubicBezTo>
                      <a:pt x="2169" y="174"/>
                      <a:pt x="2169" y="173"/>
                      <a:pt x="2168" y="173"/>
                    </a:cubicBezTo>
                    <a:cubicBezTo>
                      <a:pt x="2162" y="171"/>
                      <a:pt x="2158" y="171"/>
                      <a:pt x="2150" y="171"/>
                    </a:cubicBezTo>
                    <a:cubicBezTo>
                      <a:pt x="2136" y="169"/>
                      <a:pt x="2141" y="170"/>
                      <a:pt x="2143" y="168"/>
                    </a:cubicBezTo>
                    <a:cubicBezTo>
                      <a:pt x="2145" y="165"/>
                      <a:pt x="2133" y="167"/>
                      <a:pt x="2132" y="167"/>
                    </a:cubicBezTo>
                    <a:cubicBezTo>
                      <a:pt x="2109" y="170"/>
                      <a:pt x="2132" y="160"/>
                      <a:pt x="2132" y="159"/>
                    </a:cubicBezTo>
                    <a:cubicBezTo>
                      <a:pt x="2131" y="158"/>
                      <a:pt x="2119" y="157"/>
                      <a:pt x="2120" y="156"/>
                    </a:cubicBezTo>
                    <a:cubicBezTo>
                      <a:pt x="2122" y="154"/>
                      <a:pt x="2126" y="154"/>
                      <a:pt x="2128" y="154"/>
                    </a:cubicBezTo>
                    <a:cubicBezTo>
                      <a:pt x="2139" y="153"/>
                      <a:pt x="2148" y="160"/>
                      <a:pt x="2158" y="162"/>
                    </a:cubicBezTo>
                    <a:cubicBezTo>
                      <a:pt x="2191" y="166"/>
                      <a:pt x="2226" y="174"/>
                      <a:pt x="2260" y="172"/>
                    </a:cubicBezTo>
                    <a:cubicBezTo>
                      <a:pt x="2267" y="171"/>
                      <a:pt x="2282" y="150"/>
                      <a:pt x="2292" y="144"/>
                    </a:cubicBezTo>
                    <a:cubicBezTo>
                      <a:pt x="2313" y="130"/>
                      <a:pt x="2339" y="156"/>
                      <a:pt x="2340" y="124"/>
                    </a:cubicBezTo>
                    <a:cubicBezTo>
                      <a:pt x="2341" y="106"/>
                      <a:pt x="2318" y="117"/>
                      <a:pt x="2317" y="116"/>
                    </a:cubicBezTo>
                    <a:cubicBezTo>
                      <a:pt x="2312" y="116"/>
                      <a:pt x="2308" y="105"/>
                      <a:pt x="2301" y="103"/>
                    </a:cubicBezTo>
                    <a:cubicBezTo>
                      <a:pt x="2297" y="101"/>
                      <a:pt x="2294" y="101"/>
                      <a:pt x="2299" y="98"/>
                    </a:cubicBezTo>
                    <a:cubicBezTo>
                      <a:pt x="2300" y="97"/>
                      <a:pt x="2300" y="96"/>
                      <a:pt x="2299" y="96"/>
                    </a:cubicBezTo>
                    <a:cubicBezTo>
                      <a:pt x="2296" y="94"/>
                      <a:pt x="2290" y="93"/>
                      <a:pt x="2287" y="93"/>
                    </a:cubicBezTo>
                    <a:cubicBezTo>
                      <a:pt x="2276" y="91"/>
                      <a:pt x="2256" y="108"/>
                      <a:pt x="2246" y="96"/>
                    </a:cubicBezTo>
                    <a:cubicBezTo>
                      <a:pt x="2245" y="95"/>
                      <a:pt x="2256" y="97"/>
                      <a:pt x="2258" y="97"/>
                    </a:cubicBezTo>
                    <a:cubicBezTo>
                      <a:pt x="2265" y="98"/>
                      <a:pt x="2276" y="93"/>
                      <a:pt x="2277" y="86"/>
                    </a:cubicBezTo>
                    <a:cubicBezTo>
                      <a:pt x="2277" y="84"/>
                      <a:pt x="2269" y="82"/>
                      <a:pt x="2267" y="81"/>
                    </a:cubicBezTo>
                    <a:cubicBezTo>
                      <a:pt x="2265" y="80"/>
                      <a:pt x="2256" y="81"/>
                      <a:pt x="2254" y="79"/>
                    </a:cubicBezTo>
                    <a:cubicBezTo>
                      <a:pt x="2253" y="77"/>
                      <a:pt x="2271" y="78"/>
                      <a:pt x="2259" y="71"/>
                    </a:cubicBezTo>
                    <a:cubicBezTo>
                      <a:pt x="2254" y="68"/>
                      <a:pt x="2251" y="67"/>
                      <a:pt x="2245" y="68"/>
                    </a:cubicBezTo>
                    <a:cubicBezTo>
                      <a:pt x="2242" y="68"/>
                      <a:pt x="2220" y="90"/>
                      <a:pt x="2217" y="83"/>
                    </a:cubicBezTo>
                    <a:cubicBezTo>
                      <a:pt x="2216" y="81"/>
                      <a:pt x="2233" y="71"/>
                      <a:pt x="2226" y="64"/>
                    </a:cubicBezTo>
                    <a:cubicBezTo>
                      <a:pt x="2220" y="59"/>
                      <a:pt x="2183" y="78"/>
                      <a:pt x="2182" y="77"/>
                    </a:cubicBezTo>
                    <a:cubicBezTo>
                      <a:pt x="2178" y="73"/>
                      <a:pt x="2188" y="71"/>
                      <a:pt x="2189" y="70"/>
                    </a:cubicBezTo>
                    <a:cubicBezTo>
                      <a:pt x="2190" y="68"/>
                      <a:pt x="2186" y="68"/>
                      <a:pt x="2186" y="68"/>
                    </a:cubicBezTo>
                    <a:cubicBezTo>
                      <a:pt x="2183" y="67"/>
                      <a:pt x="2199" y="63"/>
                      <a:pt x="2191" y="64"/>
                    </a:cubicBezTo>
                    <a:cubicBezTo>
                      <a:pt x="2184" y="65"/>
                      <a:pt x="2182" y="65"/>
                      <a:pt x="2188" y="61"/>
                    </a:cubicBezTo>
                    <a:cubicBezTo>
                      <a:pt x="2188" y="60"/>
                      <a:pt x="2193" y="57"/>
                      <a:pt x="2192" y="56"/>
                    </a:cubicBezTo>
                    <a:cubicBezTo>
                      <a:pt x="2188" y="48"/>
                      <a:pt x="2151" y="39"/>
                      <a:pt x="2143" y="40"/>
                    </a:cubicBezTo>
                    <a:cubicBezTo>
                      <a:pt x="2143" y="40"/>
                      <a:pt x="2142" y="40"/>
                      <a:pt x="2141" y="41"/>
                    </a:cubicBezTo>
                    <a:cubicBezTo>
                      <a:pt x="2134" y="44"/>
                      <a:pt x="2116" y="58"/>
                      <a:pt x="2114" y="66"/>
                    </a:cubicBezTo>
                    <a:cubicBezTo>
                      <a:pt x="2113" y="70"/>
                      <a:pt x="2125" y="72"/>
                      <a:pt x="2123" y="74"/>
                    </a:cubicBezTo>
                    <a:cubicBezTo>
                      <a:pt x="2120" y="77"/>
                      <a:pt x="2115" y="72"/>
                      <a:pt x="2113" y="73"/>
                    </a:cubicBezTo>
                    <a:cubicBezTo>
                      <a:pt x="2109" y="76"/>
                      <a:pt x="2107" y="87"/>
                      <a:pt x="2104" y="91"/>
                    </a:cubicBezTo>
                    <a:cubicBezTo>
                      <a:pt x="2104" y="92"/>
                      <a:pt x="2102" y="94"/>
                      <a:pt x="2102" y="95"/>
                    </a:cubicBezTo>
                    <a:cubicBezTo>
                      <a:pt x="2105" y="100"/>
                      <a:pt x="2114" y="98"/>
                      <a:pt x="2117" y="101"/>
                    </a:cubicBezTo>
                    <a:cubicBezTo>
                      <a:pt x="2118" y="101"/>
                      <a:pt x="2114" y="103"/>
                      <a:pt x="2114" y="103"/>
                    </a:cubicBezTo>
                    <a:cubicBezTo>
                      <a:pt x="2110" y="106"/>
                      <a:pt x="2115" y="109"/>
                      <a:pt x="2113" y="111"/>
                    </a:cubicBezTo>
                    <a:cubicBezTo>
                      <a:pt x="2111" y="112"/>
                      <a:pt x="2109" y="102"/>
                      <a:pt x="2100" y="106"/>
                    </a:cubicBezTo>
                    <a:cubicBezTo>
                      <a:pt x="2081" y="115"/>
                      <a:pt x="2092" y="141"/>
                      <a:pt x="2088" y="156"/>
                    </a:cubicBezTo>
                    <a:cubicBezTo>
                      <a:pt x="2087" y="161"/>
                      <a:pt x="2081" y="168"/>
                      <a:pt x="2076" y="171"/>
                    </a:cubicBezTo>
                    <a:cubicBezTo>
                      <a:pt x="2076" y="171"/>
                      <a:pt x="2068" y="172"/>
                      <a:pt x="2068" y="171"/>
                    </a:cubicBezTo>
                    <a:cubicBezTo>
                      <a:pt x="2071" y="168"/>
                      <a:pt x="2079" y="167"/>
                      <a:pt x="2081" y="161"/>
                    </a:cubicBezTo>
                    <a:cubicBezTo>
                      <a:pt x="2086" y="151"/>
                      <a:pt x="2078" y="134"/>
                      <a:pt x="2081" y="123"/>
                    </a:cubicBezTo>
                    <a:cubicBezTo>
                      <a:pt x="2082" y="120"/>
                      <a:pt x="2098" y="101"/>
                      <a:pt x="2097" y="100"/>
                    </a:cubicBezTo>
                    <a:cubicBezTo>
                      <a:pt x="2088" y="95"/>
                      <a:pt x="2080" y="114"/>
                      <a:pt x="2077" y="112"/>
                    </a:cubicBezTo>
                    <a:cubicBezTo>
                      <a:pt x="2075" y="111"/>
                      <a:pt x="2073" y="108"/>
                      <a:pt x="2074" y="107"/>
                    </a:cubicBezTo>
                    <a:cubicBezTo>
                      <a:pt x="2075" y="106"/>
                      <a:pt x="2084" y="102"/>
                      <a:pt x="2083" y="101"/>
                    </a:cubicBezTo>
                    <a:cubicBezTo>
                      <a:pt x="2064" y="95"/>
                      <a:pt x="2058" y="118"/>
                      <a:pt x="2056" y="110"/>
                    </a:cubicBezTo>
                    <a:cubicBezTo>
                      <a:pt x="2056" y="108"/>
                      <a:pt x="2054" y="107"/>
                      <a:pt x="2054" y="105"/>
                    </a:cubicBezTo>
                    <a:cubicBezTo>
                      <a:pt x="2054" y="96"/>
                      <a:pt x="2107" y="86"/>
                      <a:pt x="2094" y="67"/>
                    </a:cubicBezTo>
                    <a:cubicBezTo>
                      <a:pt x="2092" y="66"/>
                      <a:pt x="2090" y="68"/>
                      <a:pt x="2088" y="69"/>
                    </a:cubicBezTo>
                    <a:cubicBezTo>
                      <a:pt x="2083" y="70"/>
                      <a:pt x="2039" y="91"/>
                      <a:pt x="2036" y="85"/>
                    </a:cubicBezTo>
                    <a:cubicBezTo>
                      <a:pt x="2036" y="84"/>
                      <a:pt x="2042" y="83"/>
                      <a:pt x="2043" y="83"/>
                    </a:cubicBezTo>
                    <a:cubicBezTo>
                      <a:pt x="2047" y="81"/>
                      <a:pt x="2079" y="69"/>
                      <a:pt x="2079" y="64"/>
                    </a:cubicBezTo>
                    <a:cubicBezTo>
                      <a:pt x="2079" y="63"/>
                      <a:pt x="2073" y="63"/>
                      <a:pt x="2073" y="63"/>
                    </a:cubicBezTo>
                    <a:cubicBezTo>
                      <a:pt x="2067" y="63"/>
                      <a:pt x="2062" y="58"/>
                      <a:pt x="2056" y="59"/>
                    </a:cubicBezTo>
                    <a:cubicBezTo>
                      <a:pt x="2050" y="61"/>
                      <a:pt x="2044" y="66"/>
                      <a:pt x="2051" y="59"/>
                    </a:cubicBezTo>
                    <a:cubicBezTo>
                      <a:pt x="2054" y="57"/>
                      <a:pt x="2045" y="57"/>
                      <a:pt x="2046" y="56"/>
                    </a:cubicBezTo>
                    <a:cubicBezTo>
                      <a:pt x="2049" y="49"/>
                      <a:pt x="2082" y="59"/>
                      <a:pt x="2090" y="55"/>
                    </a:cubicBezTo>
                    <a:cubicBezTo>
                      <a:pt x="2099" y="51"/>
                      <a:pt x="2086" y="50"/>
                      <a:pt x="2087" y="49"/>
                    </a:cubicBezTo>
                    <a:cubicBezTo>
                      <a:pt x="2089" y="46"/>
                      <a:pt x="2102" y="47"/>
                      <a:pt x="2106" y="44"/>
                    </a:cubicBezTo>
                    <a:cubicBezTo>
                      <a:pt x="2110" y="41"/>
                      <a:pt x="2099" y="41"/>
                      <a:pt x="2100" y="40"/>
                    </a:cubicBezTo>
                    <a:cubicBezTo>
                      <a:pt x="2102" y="39"/>
                      <a:pt x="2123" y="35"/>
                      <a:pt x="2116" y="25"/>
                    </a:cubicBezTo>
                    <a:cubicBezTo>
                      <a:pt x="2108" y="13"/>
                      <a:pt x="2091" y="28"/>
                      <a:pt x="2086" y="25"/>
                    </a:cubicBezTo>
                    <a:cubicBezTo>
                      <a:pt x="2080" y="22"/>
                      <a:pt x="2094" y="15"/>
                      <a:pt x="2089" y="10"/>
                    </a:cubicBezTo>
                    <a:cubicBezTo>
                      <a:pt x="2085" y="5"/>
                      <a:pt x="2063" y="18"/>
                      <a:pt x="2056" y="16"/>
                    </a:cubicBezTo>
                    <a:cubicBezTo>
                      <a:pt x="2054" y="15"/>
                      <a:pt x="2041" y="12"/>
                      <a:pt x="2040" y="11"/>
                    </a:cubicBezTo>
                    <a:cubicBezTo>
                      <a:pt x="2038" y="8"/>
                      <a:pt x="2040" y="0"/>
                      <a:pt x="2036" y="1"/>
                    </a:cubicBezTo>
                    <a:cubicBezTo>
                      <a:pt x="2014" y="10"/>
                      <a:pt x="2035" y="24"/>
                      <a:pt x="2028" y="29"/>
                    </a:cubicBezTo>
                    <a:cubicBezTo>
                      <a:pt x="2026" y="30"/>
                      <a:pt x="1999" y="3"/>
                      <a:pt x="1997" y="20"/>
                    </a:cubicBezTo>
                    <a:cubicBezTo>
                      <a:pt x="1997" y="22"/>
                      <a:pt x="2012" y="27"/>
                      <a:pt x="2009" y="31"/>
                    </a:cubicBezTo>
                    <a:cubicBezTo>
                      <a:pt x="2007" y="34"/>
                      <a:pt x="1984" y="19"/>
                      <a:pt x="1989" y="34"/>
                    </a:cubicBezTo>
                    <a:cubicBezTo>
                      <a:pt x="1991" y="40"/>
                      <a:pt x="2003" y="41"/>
                      <a:pt x="2008" y="40"/>
                    </a:cubicBezTo>
                    <a:cubicBezTo>
                      <a:pt x="2010" y="40"/>
                      <a:pt x="2013" y="34"/>
                      <a:pt x="2014" y="36"/>
                    </a:cubicBezTo>
                    <a:cubicBezTo>
                      <a:pt x="2020" y="43"/>
                      <a:pt x="2020" y="50"/>
                      <a:pt x="2034" y="53"/>
                    </a:cubicBezTo>
                    <a:cubicBezTo>
                      <a:pt x="2037" y="54"/>
                      <a:pt x="2028" y="53"/>
                      <a:pt x="2025" y="52"/>
                    </a:cubicBezTo>
                    <a:cubicBezTo>
                      <a:pt x="2022" y="52"/>
                      <a:pt x="2008" y="47"/>
                      <a:pt x="2006" y="50"/>
                    </a:cubicBezTo>
                    <a:cubicBezTo>
                      <a:pt x="2000" y="58"/>
                      <a:pt x="2009" y="61"/>
                      <a:pt x="2006" y="64"/>
                    </a:cubicBezTo>
                    <a:cubicBezTo>
                      <a:pt x="2005" y="65"/>
                      <a:pt x="1993" y="59"/>
                      <a:pt x="1990" y="63"/>
                    </a:cubicBezTo>
                    <a:cubicBezTo>
                      <a:pt x="1986" y="69"/>
                      <a:pt x="1988" y="70"/>
                      <a:pt x="1986" y="79"/>
                    </a:cubicBezTo>
                    <a:cubicBezTo>
                      <a:pt x="1986" y="82"/>
                      <a:pt x="2000" y="85"/>
                      <a:pt x="2002" y="88"/>
                    </a:cubicBezTo>
                    <a:cubicBezTo>
                      <a:pt x="2003" y="89"/>
                      <a:pt x="1994" y="87"/>
                      <a:pt x="1993" y="87"/>
                    </a:cubicBezTo>
                    <a:cubicBezTo>
                      <a:pt x="1986" y="86"/>
                      <a:pt x="1981" y="82"/>
                      <a:pt x="1976" y="91"/>
                    </a:cubicBezTo>
                    <a:cubicBezTo>
                      <a:pt x="1972" y="98"/>
                      <a:pt x="1988" y="103"/>
                      <a:pt x="1987" y="107"/>
                    </a:cubicBezTo>
                    <a:cubicBezTo>
                      <a:pt x="1986" y="112"/>
                      <a:pt x="1964" y="103"/>
                      <a:pt x="1960" y="105"/>
                    </a:cubicBezTo>
                    <a:cubicBezTo>
                      <a:pt x="1957" y="108"/>
                      <a:pt x="1937" y="132"/>
                      <a:pt x="1934" y="124"/>
                    </a:cubicBezTo>
                    <a:cubicBezTo>
                      <a:pt x="1929" y="111"/>
                      <a:pt x="1954" y="91"/>
                      <a:pt x="1947" y="79"/>
                    </a:cubicBezTo>
                    <a:cubicBezTo>
                      <a:pt x="1945" y="75"/>
                      <a:pt x="1932" y="77"/>
                      <a:pt x="1929" y="78"/>
                    </a:cubicBezTo>
                    <a:cubicBezTo>
                      <a:pt x="1928" y="78"/>
                      <a:pt x="1920" y="81"/>
                      <a:pt x="1919" y="79"/>
                    </a:cubicBezTo>
                    <a:cubicBezTo>
                      <a:pt x="1919" y="74"/>
                      <a:pt x="1943" y="71"/>
                      <a:pt x="1947" y="68"/>
                    </a:cubicBezTo>
                    <a:cubicBezTo>
                      <a:pt x="1954" y="62"/>
                      <a:pt x="1953" y="33"/>
                      <a:pt x="1951" y="29"/>
                    </a:cubicBezTo>
                    <a:cubicBezTo>
                      <a:pt x="1948" y="22"/>
                      <a:pt x="1921" y="44"/>
                      <a:pt x="1919" y="47"/>
                    </a:cubicBezTo>
                    <a:cubicBezTo>
                      <a:pt x="1913" y="54"/>
                      <a:pt x="1906" y="58"/>
                      <a:pt x="1902" y="66"/>
                    </a:cubicBezTo>
                    <a:cubicBezTo>
                      <a:pt x="1901" y="66"/>
                      <a:pt x="1901" y="67"/>
                      <a:pt x="1900" y="68"/>
                    </a:cubicBezTo>
                    <a:cubicBezTo>
                      <a:pt x="1886" y="84"/>
                      <a:pt x="1857" y="105"/>
                      <a:pt x="1840" y="126"/>
                    </a:cubicBezTo>
                    <a:cubicBezTo>
                      <a:pt x="1832" y="135"/>
                      <a:pt x="1855" y="130"/>
                      <a:pt x="1846" y="140"/>
                    </a:cubicBezTo>
                    <a:cubicBezTo>
                      <a:pt x="1840" y="145"/>
                      <a:pt x="1817" y="175"/>
                      <a:pt x="1808" y="169"/>
                    </a:cubicBezTo>
                    <a:cubicBezTo>
                      <a:pt x="1806" y="168"/>
                      <a:pt x="1814" y="162"/>
                      <a:pt x="1811" y="161"/>
                    </a:cubicBezTo>
                    <a:cubicBezTo>
                      <a:pt x="1806" y="161"/>
                      <a:pt x="1799" y="156"/>
                      <a:pt x="1804" y="169"/>
                    </a:cubicBezTo>
                    <a:cubicBezTo>
                      <a:pt x="1805" y="172"/>
                      <a:pt x="1802" y="173"/>
                      <a:pt x="1800" y="173"/>
                    </a:cubicBezTo>
                    <a:cubicBezTo>
                      <a:pt x="1782" y="167"/>
                      <a:pt x="1805" y="138"/>
                      <a:pt x="1814" y="135"/>
                    </a:cubicBezTo>
                    <a:cubicBezTo>
                      <a:pt x="1824" y="131"/>
                      <a:pt x="1808" y="129"/>
                      <a:pt x="1807" y="125"/>
                    </a:cubicBezTo>
                    <a:cubicBezTo>
                      <a:pt x="1807" y="115"/>
                      <a:pt x="1830" y="124"/>
                      <a:pt x="1825" y="109"/>
                    </a:cubicBezTo>
                    <a:cubicBezTo>
                      <a:pt x="1824" y="106"/>
                      <a:pt x="1808" y="113"/>
                      <a:pt x="1806" y="106"/>
                    </a:cubicBezTo>
                    <a:cubicBezTo>
                      <a:pt x="1806" y="103"/>
                      <a:pt x="1828" y="107"/>
                      <a:pt x="1825" y="100"/>
                    </a:cubicBezTo>
                    <a:cubicBezTo>
                      <a:pt x="1823" y="94"/>
                      <a:pt x="1809" y="103"/>
                      <a:pt x="1808" y="100"/>
                    </a:cubicBezTo>
                    <a:cubicBezTo>
                      <a:pt x="1808" y="99"/>
                      <a:pt x="1813" y="96"/>
                      <a:pt x="1814" y="96"/>
                    </a:cubicBezTo>
                    <a:cubicBezTo>
                      <a:pt x="1830" y="86"/>
                      <a:pt x="1884" y="45"/>
                      <a:pt x="1881" y="39"/>
                    </a:cubicBezTo>
                    <a:cubicBezTo>
                      <a:pt x="1878" y="35"/>
                      <a:pt x="1871" y="41"/>
                      <a:pt x="1870" y="43"/>
                    </a:cubicBezTo>
                    <a:cubicBezTo>
                      <a:pt x="1868" y="48"/>
                      <a:pt x="1864" y="39"/>
                      <a:pt x="1863" y="39"/>
                    </a:cubicBezTo>
                    <a:cubicBezTo>
                      <a:pt x="1859" y="38"/>
                      <a:pt x="1847" y="40"/>
                      <a:pt x="1845" y="43"/>
                    </a:cubicBezTo>
                    <a:cubicBezTo>
                      <a:pt x="1844" y="44"/>
                      <a:pt x="1842" y="48"/>
                      <a:pt x="1840" y="47"/>
                    </a:cubicBezTo>
                    <a:cubicBezTo>
                      <a:pt x="1840" y="47"/>
                      <a:pt x="1840" y="47"/>
                      <a:pt x="1840" y="46"/>
                    </a:cubicBezTo>
                    <a:cubicBezTo>
                      <a:pt x="1837" y="44"/>
                      <a:pt x="1855" y="35"/>
                      <a:pt x="1836" y="27"/>
                    </a:cubicBezTo>
                    <a:cubicBezTo>
                      <a:pt x="1835" y="26"/>
                      <a:pt x="1833" y="25"/>
                      <a:pt x="1832" y="26"/>
                    </a:cubicBezTo>
                    <a:cubicBezTo>
                      <a:pt x="1829" y="27"/>
                      <a:pt x="1841" y="56"/>
                      <a:pt x="1822" y="56"/>
                    </a:cubicBezTo>
                    <a:cubicBezTo>
                      <a:pt x="1820" y="56"/>
                      <a:pt x="1823" y="52"/>
                      <a:pt x="1823" y="52"/>
                    </a:cubicBezTo>
                    <a:cubicBezTo>
                      <a:pt x="1825" y="47"/>
                      <a:pt x="1817" y="37"/>
                      <a:pt x="1814" y="34"/>
                    </a:cubicBezTo>
                    <a:cubicBezTo>
                      <a:pt x="1814" y="34"/>
                      <a:pt x="1802" y="45"/>
                      <a:pt x="1793" y="43"/>
                    </a:cubicBezTo>
                    <a:cubicBezTo>
                      <a:pt x="1787" y="41"/>
                      <a:pt x="1809" y="34"/>
                      <a:pt x="1806" y="29"/>
                    </a:cubicBezTo>
                    <a:cubicBezTo>
                      <a:pt x="1800" y="20"/>
                      <a:pt x="1797" y="38"/>
                      <a:pt x="1785" y="37"/>
                    </a:cubicBezTo>
                    <a:cubicBezTo>
                      <a:pt x="1785" y="37"/>
                      <a:pt x="1779" y="19"/>
                      <a:pt x="1764" y="25"/>
                    </a:cubicBezTo>
                    <a:cubicBezTo>
                      <a:pt x="1764" y="26"/>
                      <a:pt x="1774" y="28"/>
                      <a:pt x="1764" y="31"/>
                    </a:cubicBezTo>
                    <a:cubicBezTo>
                      <a:pt x="1760" y="31"/>
                      <a:pt x="1766" y="36"/>
                      <a:pt x="1765" y="37"/>
                    </a:cubicBezTo>
                    <a:cubicBezTo>
                      <a:pt x="1764" y="38"/>
                      <a:pt x="1773" y="41"/>
                      <a:pt x="1774" y="42"/>
                    </a:cubicBezTo>
                    <a:cubicBezTo>
                      <a:pt x="1779" y="45"/>
                      <a:pt x="1764" y="42"/>
                      <a:pt x="1765" y="45"/>
                    </a:cubicBezTo>
                    <a:cubicBezTo>
                      <a:pt x="1765" y="46"/>
                      <a:pt x="1769" y="56"/>
                      <a:pt x="1767" y="57"/>
                    </a:cubicBezTo>
                    <a:cubicBezTo>
                      <a:pt x="1755" y="62"/>
                      <a:pt x="1737" y="25"/>
                      <a:pt x="1733" y="57"/>
                    </a:cubicBezTo>
                    <a:cubicBezTo>
                      <a:pt x="1732" y="60"/>
                      <a:pt x="1741" y="59"/>
                      <a:pt x="1742" y="59"/>
                    </a:cubicBezTo>
                    <a:cubicBezTo>
                      <a:pt x="1755" y="62"/>
                      <a:pt x="1773" y="66"/>
                      <a:pt x="1776" y="79"/>
                    </a:cubicBezTo>
                    <a:cubicBezTo>
                      <a:pt x="1779" y="90"/>
                      <a:pt x="1758" y="78"/>
                      <a:pt x="1756" y="75"/>
                    </a:cubicBezTo>
                    <a:cubicBezTo>
                      <a:pt x="1754" y="73"/>
                      <a:pt x="1744" y="71"/>
                      <a:pt x="1743" y="71"/>
                    </a:cubicBezTo>
                    <a:cubicBezTo>
                      <a:pt x="1733" y="72"/>
                      <a:pt x="1738" y="82"/>
                      <a:pt x="1734" y="86"/>
                    </a:cubicBezTo>
                    <a:cubicBezTo>
                      <a:pt x="1732" y="88"/>
                      <a:pt x="1720" y="91"/>
                      <a:pt x="1720" y="95"/>
                    </a:cubicBezTo>
                    <a:cubicBezTo>
                      <a:pt x="1720" y="104"/>
                      <a:pt x="1750" y="104"/>
                      <a:pt x="1742" y="109"/>
                    </a:cubicBezTo>
                    <a:cubicBezTo>
                      <a:pt x="1740" y="111"/>
                      <a:pt x="1710" y="101"/>
                      <a:pt x="1702" y="103"/>
                    </a:cubicBezTo>
                    <a:cubicBezTo>
                      <a:pt x="1698" y="104"/>
                      <a:pt x="1659" y="128"/>
                      <a:pt x="1663" y="132"/>
                    </a:cubicBezTo>
                    <a:cubicBezTo>
                      <a:pt x="1663" y="132"/>
                      <a:pt x="1676" y="133"/>
                      <a:pt x="1676" y="134"/>
                    </a:cubicBezTo>
                    <a:cubicBezTo>
                      <a:pt x="1676" y="136"/>
                      <a:pt x="1650" y="137"/>
                      <a:pt x="1648" y="141"/>
                    </a:cubicBezTo>
                    <a:cubicBezTo>
                      <a:pt x="1647" y="144"/>
                      <a:pt x="1669" y="140"/>
                      <a:pt x="1669" y="143"/>
                    </a:cubicBezTo>
                    <a:cubicBezTo>
                      <a:pt x="1669" y="147"/>
                      <a:pt x="1646" y="144"/>
                      <a:pt x="1643" y="148"/>
                    </a:cubicBezTo>
                    <a:cubicBezTo>
                      <a:pt x="1641" y="150"/>
                      <a:pt x="1656" y="152"/>
                      <a:pt x="1657" y="152"/>
                    </a:cubicBezTo>
                    <a:cubicBezTo>
                      <a:pt x="1664" y="152"/>
                      <a:pt x="1648" y="155"/>
                      <a:pt x="1648" y="156"/>
                    </a:cubicBezTo>
                    <a:cubicBezTo>
                      <a:pt x="1649" y="159"/>
                      <a:pt x="1657" y="158"/>
                      <a:pt x="1657" y="160"/>
                    </a:cubicBezTo>
                    <a:cubicBezTo>
                      <a:pt x="1661" y="167"/>
                      <a:pt x="1637" y="165"/>
                      <a:pt x="1637" y="168"/>
                    </a:cubicBezTo>
                    <a:cubicBezTo>
                      <a:pt x="1639" y="180"/>
                      <a:pt x="1689" y="177"/>
                      <a:pt x="1657" y="187"/>
                    </a:cubicBezTo>
                    <a:cubicBezTo>
                      <a:pt x="1655" y="188"/>
                      <a:pt x="1651" y="192"/>
                      <a:pt x="1649" y="192"/>
                    </a:cubicBezTo>
                    <a:cubicBezTo>
                      <a:pt x="1649" y="192"/>
                      <a:pt x="1654" y="184"/>
                      <a:pt x="1650" y="183"/>
                    </a:cubicBezTo>
                    <a:cubicBezTo>
                      <a:pt x="1645" y="182"/>
                      <a:pt x="1635" y="192"/>
                      <a:pt x="1630" y="191"/>
                    </a:cubicBezTo>
                    <a:cubicBezTo>
                      <a:pt x="1630" y="191"/>
                      <a:pt x="1634" y="188"/>
                      <a:pt x="1635" y="187"/>
                    </a:cubicBezTo>
                    <a:cubicBezTo>
                      <a:pt x="1637" y="175"/>
                      <a:pt x="1624" y="179"/>
                      <a:pt x="1623" y="177"/>
                    </a:cubicBezTo>
                    <a:cubicBezTo>
                      <a:pt x="1622" y="172"/>
                      <a:pt x="1624" y="163"/>
                      <a:pt x="1623" y="161"/>
                    </a:cubicBezTo>
                    <a:cubicBezTo>
                      <a:pt x="1623" y="161"/>
                      <a:pt x="1622" y="160"/>
                      <a:pt x="1622" y="160"/>
                    </a:cubicBezTo>
                    <a:cubicBezTo>
                      <a:pt x="1620" y="160"/>
                      <a:pt x="1617" y="162"/>
                      <a:pt x="1616" y="163"/>
                    </a:cubicBezTo>
                    <a:cubicBezTo>
                      <a:pt x="1606" y="172"/>
                      <a:pt x="1587" y="172"/>
                      <a:pt x="1574" y="173"/>
                    </a:cubicBezTo>
                    <a:cubicBezTo>
                      <a:pt x="1572" y="173"/>
                      <a:pt x="1558" y="177"/>
                      <a:pt x="1558" y="176"/>
                    </a:cubicBezTo>
                    <a:cubicBezTo>
                      <a:pt x="1558" y="169"/>
                      <a:pt x="1620" y="169"/>
                      <a:pt x="1619" y="151"/>
                    </a:cubicBezTo>
                    <a:cubicBezTo>
                      <a:pt x="1619" y="146"/>
                      <a:pt x="1591" y="148"/>
                      <a:pt x="1587" y="148"/>
                    </a:cubicBezTo>
                    <a:cubicBezTo>
                      <a:pt x="1584" y="148"/>
                      <a:pt x="1576" y="137"/>
                      <a:pt x="1567" y="141"/>
                    </a:cubicBezTo>
                    <a:cubicBezTo>
                      <a:pt x="1566" y="142"/>
                      <a:pt x="1566" y="142"/>
                      <a:pt x="1566" y="142"/>
                    </a:cubicBezTo>
                    <a:cubicBezTo>
                      <a:pt x="1548" y="157"/>
                      <a:pt x="1583" y="159"/>
                      <a:pt x="1582" y="163"/>
                    </a:cubicBezTo>
                    <a:cubicBezTo>
                      <a:pt x="1581" y="167"/>
                      <a:pt x="1573" y="161"/>
                      <a:pt x="1569" y="161"/>
                    </a:cubicBezTo>
                    <a:cubicBezTo>
                      <a:pt x="1566" y="160"/>
                      <a:pt x="1556" y="162"/>
                      <a:pt x="1554" y="161"/>
                    </a:cubicBezTo>
                    <a:cubicBezTo>
                      <a:pt x="1552" y="160"/>
                      <a:pt x="1555" y="158"/>
                      <a:pt x="1556" y="158"/>
                    </a:cubicBezTo>
                    <a:cubicBezTo>
                      <a:pt x="1562" y="155"/>
                      <a:pt x="1554" y="148"/>
                      <a:pt x="1555" y="145"/>
                    </a:cubicBezTo>
                    <a:cubicBezTo>
                      <a:pt x="1556" y="143"/>
                      <a:pt x="1562" y="142"/>
                      <a:pt x="1561" y="138"/>
                    </a:cubicBezTo>
                    <a:cubicBezTo>
                      <a:pt x="1556" y="124"/>
                      <a:pt x="1544" y="145"/>
                      <a:pt x="1543" y="145"/>
                    </a:cubicBezTo>
                    <a:cubicBezTo>
                      <a:pt x="1538" y="144"/>
                      <a:pt x="1546" y="132"/>
                      <a:pt x="1540" y="133"/>
                    </a:cubicBezTo>
                    <a:cubicBezTo>
                      <a:pt x="1537" y="134"/>
                      <a:pt x="1526" y="141"/>
                      <a:pt x="1534" y="134"/>
                    </a:cubicBezTo>
                    <a:cubicBezTo>
                      <a:pt x="1536" y="132"/>
                      <a:pt x="1535" y="131"/>
                      <a:pt x="1533" y="131"/>
                    </a:cubicBezTo>
                    <a:cubicBezTo>
                      <a:pt x="1532" y="131"/>
                      <a:pt x="1531" y="131"/>
                      <a:pt x="1530" y="131"/>
                    </a:cubicBezTo>
                    <a:cubicBezTo>
                      <a:pt x="1527" y="133"/>
                      <a:pt x="1515" y="139"/>
                      <a:pt x="1515" y="143"/>
                    </a:cubicBezTo>
                    <a:cubicBezTo>
                      <a:pt x="1515" y="149"/>
                      <a:pt x="1525" y="147"/>
                      <a:pt x="1520" y="150"/>
                    </a:cubicBezTo>
                    <a:cubicBezTo>
                      <a:pt x="1520" y="150"/>
                      <a:pt x="1522" y="160"/>
                      <a:pt x="1521" y="159"/>
                    </a:cubicBezTo>
                    <a:cubicBezTo>
                      <a:pt x="1513" y="157"/>
                      <a:pt x="1501" y="132"/>
                      <a:pt x="1494" y="131"/>
                    </a:cubicBezTo>
                    <a:cubicBezTo>
                      <a:pt x="1488" y="130"/>
                      <a:pt x="1486" y="159"/>
                      <a:pt x="1482" y="144"/>
                    </a:cubicBezTo>
                    <a:cubicBezTo>
                      <a:pt x="1482" y="142"/>
                      <a:pt x="1484" y="140"/>
                      <a:pt x="1482" y="139"/>
                    </a:cubicBezTo>
                    <a:cubicBezTo>
                      <a:pt x="1480" y="138"/>
                      <a:pt x="1461" y="147"/>
                      <a:pt x="1461" y="150"/>
                    </a:cubicBezTo>
                    <a:cubicBezTo>
                      <a:pt x="1464" y="159"/>
                      <a:pt x="1480" y="152"/>
                      <a:pt x="1487" y="154"/>
                    </a:cubicBezTo>
                    <a:cubicBezTo>
                      <a:pt x="1490" y="155"/>
                      <a:pt x="1483" y="160"/>
                      <a:pt x="1484" y="163"/>
                    </a:cubicBezTo>
                    <a:cubicBezTo>
                      <a:pt x="1484" y="166"/>
                      <a:pt x="1502" y="172"/>
                      <a:pt x="1507" y="173"/>
                    </a:cubicBezTo>
                    <a:cubicBezTo>
                      <a:pt x="1515" y="175"/>
                      <a:pt x="1533" y="161"/>
                      <a:pt x="1541" y="164"/>
                    </a:cubicBezTo>
                    <a:cubicBezTo>
                      <a:pt x="1543" y="165"/>
                      <a:pt x="1537" y="169"/>
                      <a:pt x="1536" y="170"/>
                    </a:cubicBezTo>
                    <a:cubicBezTo>
                      <a:pt x="1534" y="174"/>
                      <a:pt x="1514" y="173"/>
                      <a:pt x="1514" y="177"/>
                    </a:cubicBezTo>
                    <a:cubicBezTo>
                      <a:pt x="1515" y="186"/>
                      <a:pt x="1539" y="175"/>
                      <a:pt x="1543" y="178"/>
                    </a:cubicBezTo>
                    <a:cubicBezTo>
                      <a:pt x="1544" y="179"/>
                      <a:pt x="1537" y="180"/>
                      <a:pt x="1538" y="182"/>
                    </a:cubicBezTo>
                    <a:cubicBezTo>
                      <a:pt x="1545" y="201"/>
                      <a:pt x="1519" y="178"/>
                      <a:pt x="1526" y="188"/>
                    </a:cubicBezTo>
                    <a:cubicBezTo>
                      <a:pt x="1527" y="190"/>
                      <a:pt x="1524" y="190"/>
                      <a:pt x="1524" y="192"/>
                    </a:cubicBezTo>
                    <a:cubicBezTo>
                      <a:pt x="1525" y="201"/>
                      <a:pt x="1531" y="200"/>
                      <a:pt x="1534" y="206"/>
                    </a:cubicBezTo>
                    <a:cubicBezTo>
                      <a:pt x="1537" y="213"/>
                      <a:pt x="1517" y="202"/>
                      <a:pt x="1533" y="212"/>
                    </a:cubicBezTo>
                    <a:cubicBezTo>
                      <a:pt x="1537" y="214"/>
                      <a:pt x="1544" y="224"/>
                      <a:pt x="1538" y="225"/>
                    </a:cubicBezTo>
                    <a:cubicBezTo>
                      <a:pt x="1530" y="226"/>
                      <a:pt x="1488" y="174"/>
                      <a:pt x="1472" y="179"/>
                    </a:cubicBezTo>
                    <a:cubicBezTo>
                      <a:pt x="1471" y="179"/>
                      <a:pt x="1471" y="179"/>
                      <a:pt x="1471" y="179"/>
                    </a:cubicBezTo>
                    <a:cubicBezTo>
                      <a:pt x="1451" y="187"/>
                      <a:pt x="1473" y="194"/>
                      <a:pt x="1472" y="197"/>
                    </a:cubicBezTo>
                    <a:cubicBezTo>
                      <a:pt x="1472" y="200"/>
                      <a:pt x="1463" y="195"/>
                      <a:pt x="1462" y="201"/>
                    </a:cubicBezTo>
                    <a:cubicBezTo>
                      <a:pt x="1462" y="204"/>
                      <a:pt x="1463" y="214"/>
                      <a:pt x="1455" y="213"/>
                    </a:cubicBezTo>
                    <a:cubicBezTo>
                      <a:pt x="1453" y="213"/>
                      <a:pt x="1466" y="201"/>
                      <a:pt x="1451" y="204"/>
                    </a:cubicBezTo>
                    <a:cubicBezTo>
                      <a:pt x="1443" y="205"/>
                      <a:pt x="1448" y="219"/>
                      <a:pt x="1443" y="217"/>
                    </a:cubicBezTo>
                    <a:cubicBezTo>
                      <a:pt x="1434" y="213"/>
                      <a:pt x="1433" y="202"/>
                      <a:pt x="1445" y="196"/>
                    </a:cubicBezTo>
                    <a:cubicBezTo>
                      <a:pt x="1446" y="195"/>
                      <a:pt x="1455" y="189"/>
                      <a:pt x="1448" y="191"/>
                    </a:cubicBezTo>
                    <a:cubicBezTo>
                      <a:pt x="1423" y="200"/>
                      <a:pt x="1431" y="213"/>
                      <a:pt x="1404" y="220"/>
                    </a:cubicBezTo>
                    <a:cubicBezTo>
                      <a:pt x="1403" y="221"/>
                      <a:pt x="1398" y="219"/>
                      <a:pt x="1397" y="221"/>
                    </a:cubicBezTo>
                    <a:cubicBezTo>
                      <a:pt x="1395" y="224"/>
                      <a:pt x="1403" y="226"/>
                      <a:pt x="1403" y="230"/>
                    </a:cubicBezTo>
                    <a:cubicBezTo>
                      <a:pt x="1403" y="234"/>
                      <a:pt x="1396" y="238"/>
                      <a:pt x="1397" y="241"/>
                    </a:cubicBezTo>
                    <a:cubicBezTo>
                      <a:pt x="1398" y="244"/>
                      <a:pt x="1430" y="263"/>
                      <a:pt x="1430" y="264"/>
                    </a:cubicBezTo>
                    <a:cubicBezTo>
                      <a:pt x="1426" y="270"/>
                      <a:pt x="1399" y="248"/>
                      <a:pt x="1396" y="250"/>
                    </a:cubicBezTo>
                    <a:cubicBezTo>
                      <a:pt x="1395" y="250"/>
                      <a:pt x="1394" y="254"/>
                      <a:pt x="1394" y="255"/>
                    </a:cubicBezTo>
                    <a:cubicBezTo>
                      <a:pt x="1393" y="262"/>
                      <a:pt x="1384" y="274"/>
                      <a:pt x="1380" y="280"/>
                    </a:cubicBezTo>
                    <a:cubicBezTo>
                      <a:pt x="1378" y="283"/>
                      <a:pt x="1362" y="290"/>
                      <a:pt x="1358" y="293"/>
                    </a:cubicBezTo>
                    <a:cubicBezTo>
                      <a:pt x="1356" y="295"/>
                      <a:pt x="1350" y="304"/>
                      <a:pt x="1347" y="300"/>
                    </a:cubicBezTo>
                    <a:cubicBezTo>
                      <a:pt x="1344" y="297"/>
                      <a:pt x="1354" y="293"/>
                      <a:pt x="1354" y="290"/>
                    </a:cubicBezTo>
                    <a:cubicBezTo>
                      <a:pt x="1355" y="286"/>
                      <a:pt x="1370" y="275"/>
                      <a:pt x="1377" y="270"/>
                    </a:cubicBezTo>
                    <a:cubicBezTo>
                      <a:pt x="1382" y="266"/>
                      <a:pt x="1374" y="260"/>
                      <a:pt x="1380" y="257"/>
                    </a:cubicBezTo>
                    <a:cubicBezTo>
                      <a:pt x="1388" y="251"/>
                      <a:pt x="1393" y="192"/>
                      <a:pt x="1380" y="187"/>
                    </a:cubicBezTo>
                    <a:cubicBezTo>
                      <a:pt x="1374" y="184"/>
                      <a:pt x="1380" y="206"/>
                      <a:pt x="1372" y="206"/>
                    </a:cubicBezTo>
                    <a:cubicBezTo>
                      <a:pt x="1368" y="206"/>
                      <a:pt x="1370" y="192"/>
                      <a:pt x="1368" y="192"/>
                    </a:cubicBezTo>
                    <a:cubicBezTo>
                      <a:pt x="1364" y="194"/>
                      <a:pt x="1360" y="216"/>
                      <a:pt x="1355" y="220"/>
                    </a:cubicBezTo>
                    <a:cubicBezTo>
                      <a:pt x="1352" y="222"/>
                      <a:pt x="1357" y="211"/>
                      <a:pt x="1353" y="208"/>
                    </a:cubicBezTo>
                    <a:cubicBezTo>
                      <a:pt x="1351" y="206"/>
                      <a:pt x="1339" y="227"/>
                      <a:pt x="1339" y="228"/>
                    </a:cubicBezTo>
                    <a:cubicBezTo>
                      <a:pt x="1334" y="238"/>
                      <a:pt x="1345" y="242"/>
                      <a:pt x="1353" y="245"/>
                    </a:cubicBezTo>
                    <a:cubicBezTo>
                      <a:pt x="1357" y="246"/>
                      <a:pt x="1368" y="250"/>
                      <a:pt x="1364" y="249"/>
                    </a:cubicBezTo>
                    <a:cubicBezTo>
                      <a:pt x="1359" y="248"/>
                      <a:pt x="1335" y="242"/>
                      <a:pt x="1331" y="245"/>
                    </a:cubicBezTo>
                    <a:cubicBezTo>
                      <a:pt x="1327" y="248"/>
                      <a:pt x="1331" y="287"/>
                      <a:pt x="1312" y="279"/>
                    </a:cubicBezTo>
                    <a:cubicBezTo>
                      <a:pt x="1310" y="278"/>
                      <a:pt x="1323" y="269"/>
                      <a:pt x="1323" y="269"/>
                    </a:cubicBezTo>
                    <a:cubicBezTo>
                      <a:pt x="1323" y="257"/>
                      <a:pt x="1325" y="224"/>
                      <a:pt x="1333" y="219"/>
                    </a:cubicBezTo>
                    <a:cubicBezTo>
                      <a:pt x="1334" y="218"/>
                      <a:pt x="1335" y="214"/>
                      <a:pt x="1334" y="213"/>
                    </a:cubicBezTo>
                    <a:cubicBezTo>
                      <a:pt x="1319" y="204"/>
                      <a:pt x="1255" y="229"/>
                      <a:pt x="1260" y="250"/>
                    </a:cubicBezTo>
                    <a:cubicBezTo>
                      <a:pt x="1264" y="266"/>
                      <a:pt x="1284" y="241"/>
                      <a:pt x="1288" y="258"/>
                    </a:cubicBezTo>
                    <a:cubicBezTo>
                      <a:pt x="1289" y="261"/>
                      <a:pt x="1285" y="258"/>
                      <a:pt x="1285" y="258"/>
                    </a:cubicBezTo>
                    <a:cubicBezTo>
                      <a:pt x="1278" y="253"/>
                      <a:pt x="1261" y="261"/>
                      <a:pt x="1265" y="269"/>
                    </a:cubicBezTo>
                    <a:cubicBezTo>
                      <a:pt x="1272" y="286"/>
                      <a:pt x="1292" y="275"/>
                      <a:pt x="1302" y="286"/>
                    </a:cubicBezTo>
                    <a:cubicBezTo>
                      <a:pt x="1307" y="292"/>
                      <a:pt x="1302" y="296"/>
                      <a:pt x="1305" y="301"/>
                    </a:cubicBezTo>
                    <a:cubicBezTo>
                      <a:pt x="1305" y="302"/>
                      <a:pt x="1312" y="305"/>
                      <a:pt x="1310" y="307"/>
                    </a:cubicBezTo>
                    <a:cubicBezTo>
                      <a:pt x="1301" y="313"/>
                      <a:pt x="1287" y="299"/>
                      <a:pt x="1284" y="301"/>
                    </a:cubicBezTo>
                    <a:cubicBezTo>
                      <a:pt x="1283" y="302"/>
                      <a:pt x="1282" y="303"/>
                      <a:pt x="1280" y="302"/>
                    </a:cubicBezTo>
                    <a:cubicBezTo>
                      <a:pt x="1280" y="302"/>
                      <a:pt x="1280" y="302"/>
                      <a:pt x="1280" y="302"/>
                    </a:cubicBezTo>
                    <a:cubicBezTo>
                      <a:pt x="1277" y="295"/>
                      <a:pt x="1304" y="301"/>
                      <a:pt x="1298" y="290"/>
                    </a:cubicBezTo>
                    <a:cubicBezTo>
                      <a:pt x="1294" y="283"/>
                      <a:pt x="1280" y="288"/>
                      <a:pt x="1273" y="284"/>
                    </a:cubicBezTo>
                    <a:cubicBezTo>
                      <a:pt x="1268" y="281"/>
                      <a:pt x="1252" y="267"/>
                      <a:pt x="1251" y="262"/>
                    </a:cubicBezTo>
                    <a:cubicBezTo>
                      <a:pt x="1251" y="261"/>
                      <a:pt x="1257" y="258"/>
                      <a:pt x="1253" y="256"/>
                    </a:cubicBezTo>
                    <a:cubicBezTo>
                      <a:pt x="1247" y="252"/>
                      <a:pt x="1219" y="259"/>
                      <a:pt x="1216" y="269"/>
                    </a:cubicBezTo>
                    <a:cubicBezTo>
                      <a:pt x="1214" y="275"/>
                      <a:pt x="1261" y="290"/>
                      <a:pt x="1262" y="292"/>
                    </a:cubicBezTo>
                    <a:cubicBezTo>
                      <a:pt x="1263" y="293"/>
                      <a:pt x="1267" y="295"/>
                      <a:pt x="1266" y="296"/>
                    </a:cubicBezTo>
                    <a:cubicBezTo>
                      <a:pt x="1266" y="296"/>
                      <a:pt x="1242" y="288"/>
                      <a:pt x="1236" y="292"/>
                    </a:cubicBezTo>
                    <a:cubicBezTo>
                      <a:pt x="1235" y="292"/>
                      <a:pt x="1241" y="308"/>
                      <a:pt x="1229" y="295"/>
                    </a:cubicBezTo>
                    <a:cubicBezTo>
                      <a:pt x="1227" y="293"/>
                      <a:pt x="1230" y="284"/>
                      <a:pt x="1225" y="285"/>
                    </a:cubicBezTo>
                    <a:cubicBezTo>
                      <a:pt x="1222" y="285"/>
                      <a:pt x="1225" y="305"/>
                      <a:pt x="1220" y="304"/>
                    </a:cubicBezTo>
                    <a:cubicBezTo>
                      <a:pt x="1216" y="304"/>
                      <a:pt x="1223" y="288"/>
                      <a:pt x="1219" y="282"/>
                    </a:cubicBezTo>
                    <a:cubicBezTo>
                      <a:pt x="1216" y="277"/>
                      <a:pt x="1212" y="281"/>
                      <a:pt x="1208" y="281"/>
                    </a:cubicBezTo>
                    <a:cubicBezTo>
                      <a:pt x="1206" y="280"/>
                      <a:pt x="1210" y="276"/>
                      <a:pt x="1210" y="273"/>
                    </a:cubicBezTo>
                    <a:cubicBezTo>
                      <a:pt x="1207" y="264"/>
                      <a:pt x="1195" y="262"/>
                      <a:pt x="1189" y="269"/>
                    </a:cubicBezTo>
                    <a:cubicBezTo>
                      <a:pt x="1188" y="271"/>
                      <a:pt x="1193" y="277"/>
                      <a:pt x="1191" y="280"/>
                    </a:cubicBezTo>
                    <a:cubicBezTo>
                      <a:pt x="1186" y="288"/>
                      <a:pt x="1180" y="295"/>
                      <a:pt x="1176" y="303"/>
                    </a:cubicBezTo>
                    <a:cubicBezTo>
                      <a:pt x="1173" y="308"/>
                      <a:pt x="1181" y="304"/>
                      <a:pt x="1184" y="304"/>
                    </a:cubicBezTo>
                    <a:cubicBezTo>
                      <a:pt x="1185" y="305"/>
                      <a:pt x="1182" y="311"/>
                      <a:pt x="1182" y="313"/>
                    </a:cubicBezTo>
                    <a:cubicBezTo>
                      <a:pt x="1182" y="316"/>
                      <a:pt x="1189" y="314"/>
                      <a:pt x="1189" y="317"/>
                    </a:cubicBezTo>
                    <a:cubicBezTo>
                      <a:pt x="1189" y="319"/>
                      <a:pt x="1173" y="318"/>
                      <a:pt x="1171" y="319"/>
                    </a:cubicBezTo>
                    <a:cubicBezTo>
                      <a:pt x="1153" y="328"/>
                      <a:pt x="1152" y="322"/>
                      <a:pt x="1144" y="330"/>
                    </a:cubicBezTo>
                    <a:cubicBezTo>
                      <a:pt x="1129" y="347"/>
                      <a:pt x="1135" y="347"/>
                      <a:pt x="1134" y="348"/>
                    </a:cubicBezTo>
                    <a:cubicBezTo>
                      <a:pt x="1133" y="350"/>
                      <a:pt x="1124" y="352"/>
                      <a:pt x="1125" y="357"/>
                    </a:cubicBezTo>
                    <a:cubicBezTo>
                      <a:pt x="1126" y="359"/>
                      <a:pt x="1130" y="356"/>
                      <a:pt x="1132" y="355"/>
                    </a:cubicBezTo>
                    <a:cubicBezTo>
                      <a:pt x="1143" y="352"/>
                      <a:pt x="1151" y="352"/>
                      <a:pt x="1158" y="358"/>
                    </a:cubicBezTo>
                    <a:cubicBezTo>
                      <a:pt x="1159" y="359"/>
                      <a:pt x="1163" y="361"/>
                      <a:pt x="1162" y="362"/>
                    </a:cubicBezTo>
                    <a:cubicBezTo>
                      <a:pt x="1161" y="364"/>
                      <a:pt x="1134" y="358"/>
                      <a:pt x="1128" y="368"/>
                    </a:cubicBezTo>
                    <a:cubicBezTo>
                      <a:pt x="1127" y="371"/>
                      <a:pt x="1162" y="374"/>
                      <a:pt x="1157" y="381"/>
                    </a:cubicBezTo>
                    <a:cubicBezTo>
                      <a:pt x="1155" y="384"/>
                      <a:pt x="1112" y="361"/>
                      <a:pt x="1108" y="380"/>
                    </a:cubicBezTo>
                    <a:cubicBezTo>
                      <a:pt x="1107" y="382"/>
                      <a:pt x="1142" y="391"/>
                      <a:pt x="1145" y="394"/>
                    </a:cubicBezTo>
                    <a:cubicBezTo>
                      <a:pt x="1145" y="394"/>
                      <a:pt x="1148" y="396"/>
                      <a:pt x="1147" y="396"/>
                    </a:cubicBezTo>
                    <a:cubicBezTo>
                      <a:pt x="1141" y="404"/>
                      <a:pt x="1115" y="386"/>
                      <a:pt x="1110" y="386"/>
                    </a:cubicBezTo>
                    <a:cubicBezTo>
                      <a:pt x="1107" y="386"/>
                      <a:pt x="1090" y="390"/>
                      <a:pt x="1097" y="395"/>
                    </a:cubicBezTo>
                    <a:cubicBezTo>
                      <a:pt x="1106" y="402"/>
                      <a:pt x="1083" y="387"/>
                      <a:pt x="1067" y="394"/>
                    </a:cubicBezTo>
                    <a:cubicBezTo>
                      <a:pt x="1033" y="408"/>
                      <a:pt x="1058" y="409"/>
                      <a:pt x="1054" y="415"/>
                    </a:cubicBezTo>
                    <a:cubicBezTo>
                      <a:pt x="1049" y="422"/>
                      <a:pt x="1034" y="412"/>
                      <a:pt x="1042" y="430"/>
                    </a:cubicBezTo>
                    <a:cubicBezTo>
                      <a:pt x="1047" y="441"/>
                      <a:pt x="1084" y="419"/>
                      <a:pt x="1087" y="420"/>
                    </a:cubicBezTo>
                    <a:cubicBezTo>
                      <a:pt x="1093" y="423"/>
                      <a:pt x="1100" y="427"/>
                      <a:pt x="1089" y="428"/>
                    </a:cubicBezTo>
                    <a:cubicBezTo>
                      <a:pt x="1088" y="428"/>
                      <a:pt x="1086" y="429"/>
                      <a:pt x="1088" y="430"/>
                    </a:cubicBezTo>
                    <a:cubicBezTo>
                      <a:pt x="1105" y="440"/>
                      <a:pt x="1120" y="412"/>
                      <a:pt x="1135" y="416"/>
                    </a:cubicBezTo>
                    <a:cubicBezTo>
                      <a:pt x="1139" y="417"/>
                      <a:pt x="1128" y="427"/>
                      <a:pt x="1129" y="428"/>
                    </a:cubicBezTo>
                    <a:cubicBezTo>
                      <a:pt x="1130" y="430"/>
                      <a:pt x="1139" y="428"/>
                      <a:pt x="1142" y="429"/>
                    </a:cubicBezTo>
                    <a:cubicBezTo>
                      <a:pt x="1150" y="431"/>
                      <a:pt x="1155" y="437"/>
                      <a:pt x="1164" y="438"/>
                    </a:cubicBezTo>
                    <a:cubicBezTo>
                      <a:pt x="1169" y="439"/>
                      <a:pt x="1156" y="439"/>
                      <a:pt x="1152" y="437"/>
                    </a:cubicBezTo>
                    <a:cubicBezTo>
                      <a:pt x="1148" y="435"/>
                      <a:pt x="1123" y="429"/>
                      <a:pt x="1121" y="434"/>
                    </a:cubicBezTo>
                    <a:cubicBezTo>
                      <a:pt x="1120" y="437"/>
                      <a:pt x="1137" y="440"/>
                      <a:pt x="1138" y="442"/>
                    </a:cubicBezTo>
                    <a:cubicBezTo>
                      <a:pt x="1139" y="446"/>
                      <a:pt x="1129" y="444"/>
                      <a:pt x="1128" y="444"/>
                    </a:cubicBezTo>
                    <a:cubicBezTo>
                      <a:pt x="1118" y="439"/>
                      <a:pt x="1111" y="433"/>
                      <a:pt x="1105" y="441"/>
                    </a:cubicBezTo>
                    <a:cubicBezTo>
                      <a:pt x="1099" y="447"/>
                      <a:pt x="1124" y="456"/>
                      <a:pt x="1124" y="462"/>
                    </a:cubicBezTo>
                    <a:cubicBezTo>
                      <a:pt x="1124" y="463"/>
                      <a:pt x="1124" y="463"/>
                      <a:pt x="1124" y="463"/>
                    </a:cubicBezTo>
                    <a:cubicBezTo>
                      <a:pt x="1119" y="465"/>
                      <a:pt x="1118" y="477"/>
                      <a:pt x="1115" y="473"/>
                    </a:cubicBezTo>
                    <a:cubicBezTo>
                      <a:pt x="1114" y="473"/>
                      <a:pt x="1116" y="461"/>
                      <a:pt x="1116" y="460"/>
                    </a:cubicBezTo>
                    <a:cubicBezTo>
                      <a:pt x="1116" y="457"/>
                      <a:pt x="1109" y="456"/>
                      <a:pt x="1107" y="454"/>
                    </a:cubicBezTo>
                    <a:cubicBezTo>
                      <a:pt x="1097" y="449"/>
                      <a:pt x="1105" y="443"/>
                      <a:pt x="1091" y="442"/>
                    </a:cubicBezTo>
                    <a:cubicBezTo>
                      <a:pt x="1086" y="442"/>
                      <a:pt x="1078" y="448"/>
                      <a:pt x="1072" y="449"/>
                    </a:cubicBezTo>
                    <a:cubicBezTo>
                      <a:pt x="1072" y="449"/>
                      <a:pt x="1079" y="442"/>
                      <a:pt x="1072" y="440"/>
                    </a:cubicBezTo>
                    <a:cubicBezTo>
                      <a:pt x="1069" y="440"/>
                      <a:pt x="1068" y="439"/>
                      <a:pt x="1065" y="438"/>
                    </a:cubicBezTo>
                    <a:cubicBezTo>
                      <a:pt x="1062" y="436"/>
                      <a:pt x="1059" y="436"/>
                      <a:pt x="1055" y="437"/>
                    </a:cubicBezTo>
                    <a:cubicBezTo>
                      <a:pt x="1052" y="437"/>
                      <a:pt x="1016" y="441"/>
                      <a:pt x="1017" y="445"/>
                    </a:cubicBezTo>
                    <a:cubicBezTo>
                      <a:pt x="1017" y="446"/>
                      <a:pt x="1023" y="445"/>
                      <a:pt x="1022" y="446"/>
                    </a:cubicBezTo>
                    <a:cubicBezTo>
                      <a:pt x="1021" y="447"/>
                      <a:pt x="1070" y="470"/>
                      <a:pt x="1069" y="479"/>
                    </a:cubicBezTo>
                    <a:cubicBezTo>
                      <a:pt x="1069" y="480"/>
                      <a:pt x="1049" y="471"/>
                      <a:pt x="1048" y="469"/>
                    </a:cubicBezTo>
                    <a:cubicBezTo>
                      <a:pt x="1041" y="458"/>
                      <a:pt x="1017" y="443"/>
                      <a:pt x="1007" y="456"/>
                    </a:cubicBezTo>
                    <a:cubicBezTo>
                      <a:pt x="1006" y="457"/>
                      <a:pt x="1025" y="460"/>
                      <a:pt x="1026" y="462"/>
                    </a:cubicBezTo>
                    <a:cubicBezTo>
                      <a:pt x="1026" y="464"/>
                      <a:pt x="1008" y="464"/>
                      <a:pt x="1012" y="468"/>
                    </a:cubicBezTo>
                    <a:cubicBezTo>
                      <a:pt x="1013" y="469"/>
                      <a:pt x="1017" y="470"/>
                      <a:pt x="1019" y="469"/>
                    </a:cubicBezTo>
                    <a:cubicBezTo>
                      <a:pt x="1023" y="469"/>
                      <a:pt x="1036" y="464"/>
                      <a:pt x="1038" y="466"/>
                    </a:cubicBezTo>
                    <a:cubicBezTo>
                      <a:pt x="1040" y="467"/>
                      <a:pt x="1039" y="469"/>
                      <a:pt x="1044" y="471"/>
                    </a:cubicBezTo>
                    <a:cubicBezTo>
                      <a:pt x="1045" y="471"/>
                      <a:pt x="1047" y="473"/>
                      <a:pt x="1047" y="474"/>
                    </a:cubicBezTo>
                    <a:cubicBezTo>
                      <a:pt x="1047" y="477"/>
                      <a:pt x="1037" y="472"/>
                      <a:pt x="1036" y="472"/>
                    </a:cubicBezTo>
                    <a:cubicBezTo>
                      <a:pt x="1033" y="471"/>
                      <a:pt x="1036" y="478"/>
                      <a:pt x="1033" y="479"/>
                    </a:cubicBezTo>
                    <a:cubicBezTo>
                      <a:pt x="1032" y="479"/>
                      <a:pt x="1019" y="479"/>
                      <a:pt x="1019" y="479"/>
                    </a:cubicBezTo>
                    <a:cubicBezTo>
                      <a:pt x="1019" y="480"/>
                      <a:pt x="1020" y="481"/>
                      <a:pt x="1020" y="481"/>
                    </a:cubicBezTo>
                    <a:cubicBezTo>
                      <a:pt x="1025" y="483"/>
                      <a:pt x="1022" y="486"/>
                      <a:pt x="1027" y="487"/>
                    </a:cubicBezTo>
                    <a:cubicBezTo>
                      <a:pt x="1036" y="488"/>
                      <a:pt x="1050" y="477"/>
                      <a:pt x="1061" y="489"/>
                    </a:cubicBezTo>
                    <a:cubicBezTo>
                      <a:pt x="1062" y="489"/>
                      <a:pt x="1033" y="482"/>
                      <a:pt x="1030" y="494"/>
                    </a:cubicBezTo>
                    <a:cubicBezTo>
                      <a:pt x="1029" y="497"/>
                      <a:pt x="1041" y="495"/>
                      <a:pt x="1042" y="497"/>
                    </a:cubicBezTo>
                    <a:cubicBezTo>
                      <a:pt x="1043" y="499"/>
                      <a:pt x="1036" y="501"/>
                      <a:pt x="1039" y="504"/>
                    </a:cubicBezTo>
                    <a:cubicBezTo>
                      <a:pt x="1040" y="504"/>
                      <a:pt x="1046" y="505"/>
                      <a:pt x="1045" y="505"/>
                    </a:cubicBezTo>
                    <a:cubicBezTo>
                      <a:pt x="1043" y="513"/>
                      <a:pt x="1029" y="493"/>
                      <a:pt x="1027" y="499"/>
                    </a:cubicBezTo>
                    <a:cubicBezTo>
                      <a:pt x="1026" y="501"/>
                      <a:pt x="1045" y="515"/>
                      <a:pt x="1038" y="515"/>
                    </a:cubicBezTo>
                    <a:cubicBezTo>
                      <a:pt x="1031" y="515"/>
                      <a:pt x="1025" y="492"/>
                      <a:pt x="1016" y="499"/>
                    </a:cubicBezTo>
                    <a:cubicBezTo>
                      <a:pt x="1014" y="500"/>
                      <a:pt x="1022" y="502"/>
                      <a:pt x="1021" y="505"/>
                    </a:cubicBezTo>
                    <a:cubicBezTo>
                      <a:pt x="1017" y="514"/>
                      <a:pt x="1025" y="515"/>
                      <a:pt x="1034" y="520"/>
                    </a:cubicBezTo>
                    <a:cubicBezTo>
                      <a:pt x="1035" y="521"/>
                      <a:pt x="1040" y="522"/>
                      <a:pt x="1037" y="525"/>
                    </a:cubicBezTo>
                    <a:cubicBezTo>
                      <a:pt x="1034" y="528"/>
                      <a:pt x="1044" y="531"/>
                      <a:pt x="1043" y="531"/>
                    </a:cubicBezTo>
                    <a:cubicBezTo>
                      <a:pt x="1036" y="534"/>
                      <a:pt x="1004" y="502"/>
                      <a:pt x="1003" y="497"/>
                    </a:cubicBezTo>
                    <a:cubicBezTo>
                      <a:pt x="1001" y="492"/>
                      <a:pt x="1002" y="485"/>
                      <a:pt x="1004" y="481"/>
                    </a:cubicBezTo>
                    <a:cubicBezTo>
                      <a:pt x="1005" y="480"/>
                      <a:pt x="1008" y="475"/>
                      <a:pt x="1007" y="473"/>
                    </a:cubicBezTo>
                    <a:cubicBezTo>
                      <a:pt x="1005" y="471"/>
                      <a:pt x="1002" y="474"/>
                      <a:pt x="1000" y="473"/>
                    </a:cubicBezTo>
                    <a:cubicBezTo>
                      <a:pt x="1000" y="473"/>
                      <a:pt x="1005" y="464"/>
                      <a:pt x="1000" y="462"/>
                    </a:cubicBezTo>
                    <a:cubicBezTo>
                      <a:pt x="989" y="454"/>
                      <a:pt x="998" y="484"/>
                      <a:pt x="969" y="490"/>
                    </a:cubicBezTo>
                    <a:cubicBezTo>
                      <a:pt x="965" y="491"/>
                      <a:pt x="963" y="484"/>
                      <a:pt x="965" y="485"/>
                    </a:cubicBezTo>
                    <a:cubicBezTo>
                      <a:pt x="981" y="485"/>
                      <a:pt x="970" y="478"/>
                      <a:pt x="968" y="474"/>
                    </a:cubicBezTo>
                    <a:cubicBezTo>
                      <a:pt x="967" y="472"/>
                      <a:pt x="963" y="482"/>
                      <a:pt x="960" y="482"/>
                    </a:cubicBezTo>
                    <a:cubicBezTo>
                      <a:pt x="956" y="482"/>
                      <a:pt x="938" y="479"/>
                      <a:pt x="933" y="494"/>
                    </a:cubicBezTo>
                    <a:cubicBezTo>
                      <a:pt x="932" y="499"/>
                      <a:pt x="941" y="499"/>
                      <a:pt x="942" y="500"/>
                    </a:cubicBezTo>
                    <a:cubicBezTo>
                      <a:pt x="945" y="502"/>
                      <a:pt x="945" y="501"/>
                      <a:pt x="946" y="499"/>
                    </a:cubicBezTo>
                    <a:cubicBezTo>
                      <a:pt x="949" y="498"/>
                      <a:pt x="953" y="489"/>
                      <a:pt x="955" y="487"/>
                    </a:cubicBezTo>
                    <a:cubicBezTo>
                      <a:pt x="958" y="486"/>
                      <a:pt x="962" y="494"/>
                      <a:pt x="965" y="494"/>
                    </a:cubicBezTo>
                    <a:cubicBezTo>
                      <a:pt x="971" y="494"/>
                      <a:pt x="977" y="496"/>
                      <a:pt x="981" y="491"/>
                    </a:cubicBezTo>
                    <a:cubicBezTo>
                      <a:pt x="982" y="490"/>
                      <a:pt x="988" y="488"/>
                      <a:pt x="988" y="490"/>
                    </a:cubicBezTo>
                    <a:cubicBezTo>
                      <a:pt x="989" y="493"/>
                      <a:pt x="984" y="491"/>
                      <a:pt x="985" y="494"/>
                    </a:cubicBezTo>
                    <a:cubicBezTo>
                      <a:pt x="988" y="500"/>
                      <a:pt x="1002" y="494"/>
                      <a:pt x="998" y="499"/>
                    </a:cubicBezTo>
                    <a:cubicBezTo>
                      <a:pt x="997" y="499"/>
                      <a:pt x="996" y="499"/>
                      <a:pt x="995" y="499"/>
                    </a:cubicBezTo>
                    <a:cubicBezTo>
                      <a:pt x="994" y="499"/>
                      <a:pt x="998" y="499"/>
                      <a:pt x="997" y="499"/>
                    </a:cubicBezTo>
                    <a:cubicBezTo>
                      <a:pt x="996" y="499"/>
                      <a:pt x="996" y="499"/>
                      <a:pt x="995" y="499"/>
                    </a:cubicBezTo>
                    <a:cubicBezTo>
                      <a:pt x="995" y="499"/>
                      <a:pt x="994" y="498"/>
                      <a:pt x="994" y="499"/>
                    </a:cubicBezTo>
                    <a:cubicBezTo>
                      <a:pt x="988" y="501"/>
                      <a:pt x="991" y="515"/>
                      <a:pt x="984" y="515"/>
                    </a:cubicBezTo>
                    <a:cubicBezTo>
                      <a:pt x="981" y="516"/>
                      <a:pt x="981" y="504"/>
                      <a:pt x="971" y="507"/>
                    </a:cubicBezTo>
                    <a:cubicBezTo>
                      <a:pt x="962" y="511"/>
                      <a:pt x="955" y="523"/>
                      <a:pt x="955" y="523"/>
                    </a:cubicBezTo>
                    <a:cubicBezTo>
                      <a:pt x="950" y="520"/>
                      <a:pt x="959" y="512"/>
                      <a:pt x="957" y="512"/>
                    </a:cubicBezTo>
                    <a:cubicBezTo>
                      <a:pt x="950" y="509"/>
                      <a:pt x="935" y="518"/>
                      <a:pt x="932" y="520"/>
                    </a:cubicBezTo>
                    <a:cubicBezTo>
                      <a:pt x="931" y="521"/>
                      <a:pt x="926" y="527"/>
                      <a:pt x="925" y="525"/>
                    </a:cubicBezTo>
                    <a:cubicBezTo>
                      <a:pt x="923" y="522"/>
                      <a:pt x="928" y="521"/>
                      <a:pt x="928" y="519"/>
                    </a:cubicBezTo>
                    <a:cubicBezTo>
                      <a:pt x="927" y="511"/>
                      <a:pt x="898" y="519"/>
                      <a:pt x="895" y="523"/>
                    </a:cubicBezTo>
                    <a:cubicBezTo>
                      <a:pt x="895" y="524"/>
                      <a:pt x="918" y="521"/>
                      <a:pt x="918" y="523"/>
                    </a:cubicBezTo>
                    <a:cubicBezTo>
                      <a:pt x="917" y="527"/>
                      <a:pt x="885" y="526"/>
                      <a:pt x="886" y="530"/>
                    </a:cubicBezTo>
                    <a:cubicBezTo>
                      <a:pt x="888" y="538"/>
                      <a:pt x="904" y="533"/>
                      <a:pt x="907" y="537"/>
                    </a:cubicBezTo>
                    <a:cubicBezTo>
                      <a:pt x="910" y="540"/>
                      <a:pt x="920" y="536"/>
                      <a:pt x="919" y="540"/>
                    </a:cubicBezTo>
                    <a:cubicBezTo>
                      <a:pt x="918" y="541"/>
                      <a:pt x="913" y="541"/>
                      <a:pt x="913" y="541"/>
                    </a:cubicBezTo>
                    <a:cubicBezTo>
                      <a:pt x="906" y="541"/>
                      <a:pt x="896" y="540"/>
                      <a:pt x="889" y="542"/>
                    </a:cubicBezTo>
                    <a:cubicBezTo>
                      <a:pt x="886" y="543"/>
                      <a:pt x="901" y="545"/>
                      <a:pt x="896" y="547"/>
                    </a:cubicBezTo>
                    <a:cubicBezTo>
                      <a:pt x="894" y="548"/>
                      <a:pt x="883" y="553"/>
                      <a:pt x="885" y="554"/>
                    </a:cubicBezTo>
                    <a:cubicBezTo>
                      <a:pt x="900" y="564"/>
                      <a:pt x="930" y="540"/>
                      <a:pt x="940" y="533"/>
                    </a:cubicBezTo>
                    <a:cubicBezTo>
                      <a:pt x="944" y="530"/>
                      <a:pt x="939" y="523"/>
                      <a:pt x="941" y="522"/>
                    </a:cubicBezTo>
                    <a:cubicBezTo>
                      <a:pt x="945" y="520"/>
                      <a:pt x="943" y="528"/>
                      <a:pt x="944" y="527"/>
                    </a:cubicBezTo>
                    <a:cubicBezTo>
                      <a:pt x="946" y="526"/>
                      <a:pt x="944" y="522"/>
                      <a:pt x="946" y="522"/>
                    </a:cubicBezTo>
                    <a:cubicBezTo>
                      <a:pt x="948" y="522"/>
                      <a:pt x="944" y="531"/>
                      <a:pt x="953" y="534"/>
                    </a:cubicBezTo>
                    <a:cubicBezTo>
                      <a:pt x="968" y="539"/>
                      <a:pt x="971" y="528"/>
                      <a:pt x="983" y="548"/>
                    </a:cubicBezTo>
                    <a:cubicBezTo>
                      <a:pt x="985" y="551"/>
                      <a:pt x="976" y="549"/>
                      <a:pt x="975" y="545"/>
                    </a:cubicBezTo>
                    <a:cubicBezTo>
                      <a:pt x="972" y="539"/>
                      <a:pt x="949" y="535"/>
                      <a:pt x="944" y="540"/>
                    </a:cubicBezTo>
                    <a:cubicBezTo>
                      <a:pt x="941" y="542"/>
                      <a:pt x="965" y="548"/>
                      <a:pt x="967" y="549"/>
                    </a:cubicBezTo>
                    <a:cubicBezTo>
                      <a:pt x="967" y="550"/>
                      <a:pt x="961" y="549"/>
                      <a:pt x="960" y="549"/>
                    </a:cubicBezTo>
                    <a:cubicBezTo>
                      <a:pt x="953" y="545"/>
                      <a:pt x="957" y="551"/>
                      <a:pt x="955" y="550"/>
                    </a:cubicBezTo>
                    <a:cubicBezTo>
                      <a:pt x="937" y="543"/>
                      <a:pt x="924" y="547"/>
                      <a:pt x="924" y="559"/>
                    </a:cubicBezTo>
                    <a:cubicBezTo>
                      <a:pt x="924" y="562"/>
                      <a:pt x="930" y="560"/>
                      <a:pt x="931" y="559"/>
                    </a:cubicBezTo>
                    <a:cubicBezTo>
                      <a:pt x="937" y="554"/>
                      <a:pt x="948" y="560"/>
                      <a:pt x="949" y="565"/>
                    </a:cubicBezTo>
                    <a:cubicBezTo>
                      <a:pt x="950" y="570"/>
                      <a:pt x="938" y="562"/>
                      <a:pt x="933" y="562"/>
                    </a:cubicBezTo>
                    <a:cubicBezTo>
                      <a:pt x="931" y="562"/>
                      <a:pt x="926" y="571"/>
                      <a:pt x="930" y="573"/>
                    </a:cubicBezTo>
                    <a:cubicBezTo>
                      <a:pt x="943" y="582"/>
                      <a:pt x="962" y="571"/>
                      <a:pt x="974" y="566"/>
                    </a:cubicBezTo>
                    <a:cubicBezTo>
                      <a:pt x="976" y="566"/>
                      <a:pt x="988" y="565"/>
                      <a:pt x="988" y="568"/>
                    </a:cubicBezTo>
                    <a:cubicBezTo>
                      <a:pt x="988" y="570"/>
                      <a:pt x="979" y="569"/>
                      <a:pt x="978" y="569"/>
                    </a:cubicBezTo>
                    <a:cubicBezTo>
                      <a:pt x="972" y="570"/>
                      <a:pt x="959" y="575"/>
                      <a:pt x="957" y="582"/>
                    </a:cubicBezTo>
                    <a:cubicBezTo>
                      <a:pt x="955" y="593"/>
                      <a:pt x="971" y="608"/>
                      <a:pt x="970" y="610"/>
                    </a:cubicBezTo>
                    <a:cubicBezTo>
                      <a:pt x="958" y="623"/>
                      <a:pt x="961" y="588"/>
                      <a:pt x="948" y="581"/>
                    </a:cubicBezTo>
                    <a:cubicBezTo>
                      <a:pt x="937" y="577"/>
                      <a:pt x="917" y="589"/>
                      <a:pt x="922" y="585"/>
                    </a:cubicBezTo>
                    <a:cubicBezTo>
                      <a:pt x="924" y="583"/>
                      <a:pt x="925" y="580"/>
                      <a:pt x="925" y="576"/>
                    </a:cubicBezTo>
                    <a:cubicBezTo>
                      <a:pt x="925" y="574"/>
                      <a:pt x="919" y="578"/>
                      <a:pt x="918" y="578"/>
                    </a:cubicBezTo>
                    <a:cubicBezTo>
                      <a:pt x="911" y="581"/>
                      <a:pt x="909" y="581"/>
                      <a:pt x="901" y="581"/>
                    </a:cubicBezTo>
                    <a:cubicBezTo>
                      <a:pt x="901" y="581"/>
                      <a:pt x="898" y="582"/>
                      <a:pt x="898" y="580"/>
                    </a:cubicBezTo>
                    <a:cubicBezTo>
                      <a:pt x="898" y="579"/>
                      <a:pt x="904" y="579"/>
                      <a:pt x="905" y="579"/>
                    </a:cubicBezTo>
                    <a:cubicBezTo>
                      <a:pt x="916" y="576"/>
                      <a:pt x="908" y="572"/>
                      <a:pt x="911" y="572"/>
                    </a:cubicBezTo>
                    <a:cubicBezTo>
                      <a:pt x="914" y="571"/>
                      <a:pt x="920" y="578"/>
                      <a:pt x="922" y="572"/>
                    </a:cubicBezTo>
                    <a:cubicBezTo>
                      <a:pt x="926" y="562"/>
                      <a:pt x="896" y="571"/>
                      <a:pt x="893" y="572"/>
                    </a:cubicBezTo>
                    <a:cubicBezTo>
                      <a:pt x="891" y="573"/>
                      <a:pt x="885" y="577"/>
                      <a:pt x="884" y="578"/>
                    </a:cubicBezTo>
                    <a:cubicBezTo>
                      <a:pt x="879" y="588"/>
                      <a:pt x="912" y="585"/>
                      <a:pt x="913" y="586"/>
                    </a:cubicBezTo>
                    <a:cubicBezTo>
                      <a:pt x="913" y="587"/>
                      <a:pt x="901" y="591"/>
                      <a:pt x="900" y="591"/>
                    </a:cubicBezTo>
                    <a:cubicBezTo>
                      <a:pt x="897" y="591"/>
                      <a:pt x="895" y="597"/>
                      <a:pt x="892" y="597"/>
                    </a:cubicBezTo>
                    <a:cubicBezTo>
                      <a:pt x="892" y="597"/>
                      <a:pt x="887" y="588"/>
                      <a:pt x="878" y="589"/>
                    </a:cubicBezTo>
                    <a:cubicBezTo>
                      <a:pt x="877" y="589"/>
                      <a:pt x="875" y="590"/>
                      <a:pt x="874" y="590"/>
                    </a:cubicBezTo>
                    <a:cubicBezTo>
                      <a:pt x="868" y="597"/>
                      <a:pt x="851" y="611"/>
                      <a:pt x="848" y="617"/>
                    </a:cubicBezTo>
                    <a:cubicBezTo>
                      <a:pt x="848" y="618"/>
                      <a:pt x="861" y="617"/>
                      <a:pt x="863" y="617"/>
                    </a:cubicBezTo>
                    <a:cubicBezTo>
                      <a:pt x="868" y="616"/>
                      <a:pt x="873" y="616"/>
                      <a:pt x="877" y="614"/>
                    </a:cubicBezTo>
                    <a:cubicBezTo>
                      <a:pt x="877" y="613"/>
                      <a:pt x="882" y="611"/>
                      <a:pt x="882" y="612"/>
                    </a:cubicBezTo>
                    <a:cubicBezTo>
                      <a:pt x="882" y="618"/>
                      <a:pt x="875" y="619"/>
                      <a:pt x="874" y="622"/>
                    </a:cubicBezTo>
                    <a:cubicBezTo>
                      <a:pt x="874" y="624"/>
                      <a:pt x="893" y="618"/>
                      <a:pt x="893" y="616"/>
                    </a:cubicBezTo>
                    <a:cubicBezTo>
                      <a:pt x="894" y="614"/>
                      <a:pt x="888" y="616"/>
                      <a:pt x="888" y="614"/>
                    </a:cubicBezTo>
                    <a:cubicBezTo>
                      <a:pt x="889" y="612"/>
                      <a:pt x="900" y="613"/>
                      <a:pt x="901" y="613"/>
                    </a:cubicBezTo>
                    <a:cubicBezTo>
                      <a:pt x="903" y="614"/>
                      <a:pt x="904" y="615"/>
                      <a:pt x="905" y="614"/>
                    </a:cubicBezTo>
                    <a:cubicBezTo>
                      <a:pt x="910" y="612"/>
                      <a:pt x="915" y="606"/>
                      <a:pt x="922" y="607"/>
                    </a:cubicBezTo>
                    <a:cubicBezTo>
                      <a:pt x="926" y="607"/>
                      <a:pt x="911" y="613"/>
                      <a:pt x="914" y="616"/>
                    </a:cubicBezTo>
                    <a:cubicBezTo>
                      <a:pt x="916" y="619"/>
                      <a:pt x="936" y="618"/>
                      <a:pt x="935" y="618"/>
                    </a:cubicBezTo>
                    <a:cubicBezTo>
                      <a:pt x="934" y="620"/>
                      <a:pt x="932" y="622"/>
                      <a:pt x="932" y="622"/>
                    </a:cubicBezTo>
                    <a:cubicBezTo>
                      <a:pt x="935" y="627"/>
                      <a:pt x="941" y="619"/>
                      <a:pt x="944" y="618"/>
                    </a:cubicBezTo>
                    <a:cubicBezTo>
                      <a:pt x="949" y="618"/>
                      <a:pt x="955" y="622"/>
                      <a:pt x="960" y="623"/>
                    </a:cubicBezTo>
                    <a:cubicBezTo>
                      <a:pt x="963" y="623"/>
                      <a:pt x="965" y="623"/>
                      <a:pt x="967" y="623"/>
                    </a:cubicBezTo>
                    <a:cubicBezTo>
                      <a:pt x="967" y="623"/>
                      <a:pt x="968" y="623"/>
                      <a:pt x="968" y="623"/>
                    </a:cubicBezTo>
                    <a:cubicBezTo>
                      <a:pt x="969" y="623"/>
                      <a:pt x="969" y="623"/>
                      <a:pt x="969" y="622"/>
                    </a:cubicBezTo>
                    <a:cubicBezTo>
                      <a:pt x="970" y="622"/>
                      <a:pt x="970" y="622"/>
                      <a:pt x="970" y="622"/>
                    </a:cubicBezTo>
                    <a:cubicBezTo>
                      <a:pt x="971" y="622"/>
                      <a:pt x="971" y="622"/>
                      <a:pt x="971" y="622"/>
                    </a:cubicBezTo>
                    <a:cubicBezTo>
                      <a:pt x="971" y="623"/>
                      <a:pt x="974" y="628"/>
                      <a:pt x="974" y="628"/>
                    </a:cubicBezTo>
                    <a:cubicBezTo>
                      <a:pt x="970" y="634"/>
                      <a:pt x="946" y="618"/>
                      <a:pt x="942" y="624"/>
                    </a:cubicBezTo>
                    <a:cubicBezTo>
                      <a:pt x="941" y="626"/>
                      <a:pt x="950" y="628"/>
                      <a:pt x="951" y="631"/>
                    </a:cubicBezTo>
                    <a:cubicBezTo>
                      <a:pt x="952" y="634"/>
                      <a:pt x="947" y="635"/>
                      <a:pt x="948" y="638"/>
                    </a:cubicBezTo>
                    <a:cubicBezTo>
                      <a:pt x="948" y="641"/>
                      <a:pt x="955" y="644"/>
                      <a:pt x="952" y="645"/>
                    </a:cubicBezTo>
                    <a:cubicBezTo>
                      <a:pt x="946" y="646"/>
                      <a:pt x="934" y="616"/>
                      <a:pt x="911" y="623"/>
                    </a:cubicBezTo>
                    <a:cubicBezTo>
                      <a:pt x="909" y="624"/>
                      <a:pt x="907" y="624"/>
                      <a:pt x="906" y="625"/>
                    </a:cubicBezTo>
                    <a:cubicBezTo>
                      <a:pt x="907" y="624"/>
                      <a:pt x="908" y="623"/>
                      <a:pt x="906" y="622"/>
                    </a:cubicBezTo>
                    <a:cubicBezTo>
                      <a:pt x="903" y="620"/>
                      <a:pt x="865" y="626"/>
                      <a:pt x="865" y="627"/>
                    </a:cubicBezTo>
                    <a:cubicBezTo>
                      <a:pt x="865" y="629"/>
                      <a:pt x="890" y="626"/>
                      <a:pt x="886" y="636"/>
                    </a:cubicBezTo>
                    <a:cubicBezTo>
                      <a:pt x="886" y="637"/>
                      <a:pt x="882" y="631"/>
                      <a:pt x="877" y="631"/>
                    </a:cubicBezTo>
                    <a:cubicBezTo>
                      <a:pt x="872" y="632"/>
                      <a:pt x="867" y="630"/>
                      <a:pt x="861" y="632"/>
                    </a:cubicBezTo>
                    <a:cubicBezTo>
                      <a:pt x="858" y="632"/>
                      <a:pt x="859" y="640"/>
                      <a:pt x="856" y="638"/>
                    </a:cubicBezTo>
                    <a:cubicBezTo>
                      <a:pt x="853" y="637"/>
                      <a:pt x="862" y="630"/>
                      <a:pt x="859" y="629"/>
                    </a:cubicBezTo>
                    <a:cubicBezTo>
                      <a:pt x="857" y="629"/>
                      <a:pt x="849" y="631"/>
                      <a:pt x="848" y="633"/>
                    </a:cubicBezTo>
                    <a:cubicBezTo>
                      <a:pt x="834" y="656"/>
                      <a:pt x="867" y="633"/>
                      <a:pt x="872" y="648"/>
                    </a:cubicBezTo>
                    <a:cubicBezTo>
                      <a:pt x="873" y="650"/>
                      <a:pt x="868" y="648"/>
                      <a:pt x="866" y="648"/>
                    </a:cubicBezTo>
                    <a:cubicBezTo>
                      <a:pt x="833" y="645"/>
                      <a:pt x="851" y="650"/>
                      <a:pt x="841" y="655"/>
                    </a:cubicBezTo>
                    <a:cubicBezTo>
                      <a:pt x="841" y="655"/>
                      <a:pt x="841" y="655"/>
                      <a:pt x="841" y="655"/>
                    </a:cubicBezTo>
                    <a:cubicBezTo>
                      <a:pt x="832" y="662"/>
                      <a:pt x="830" y="664"/>
                      <a:pt x="827" y="650"/>
                    </a:cubicBezTo>
                    <a:cubicBezTo>
                      <a:pt x="827" y="649"/>
                      <a:pt x="825" y="645"/>
                      <a:pt x="823" y="646"/>
                    </a:cubicBezTo>
                    <a:cubicBezTo>
                      <a:pt x="817" y="650"/>
                      <a:pt x="825" y="656"/>
                      <a:pt x="823" y="659"/>
                    </a:cubicBezTo>
                    <a:cubicBezTo>
                      <a:pt x="820" y="664"/>
                      <a:pt x="811" y="669"/>
                      <a:pt x="810" y="664"/>
                    </a:cubicBezTo>
                    <a:cubicBezTo>
                      <a:pt x="809" y="661"/>
                      <a:pt x="818" y="661"/>
                      <a:pt x="817" y="657"/>
                    </a:cubicBezTo>
                    <a:cubicBezTo>
                      <a:pt x="816" y="656"/>
                      <a:pt x="812" y="655"/>
                      <a:pt x="813" y="656"/>
                    </a:cubicBezTo>
                    <a:cubicBezTo>
                      <a:pt x="815" y="658"/>
                      <a:pt x="808" y="657"/>
                      <a:pt x="807" y="659"/>
                    </a:cubicBezTo>
                    <a:cubicBezTo>
                      <a:pt x="806" y="662"/>
                      <a:pt x="802" y="662"/>
                      <a:pt x="799" y="664"/>
                    </a:cubicBezTo>
                    <a:cubicBezTo>
                      <a:pt x="795" y="667"/>
                      <a:pt x="776" y="660"/>
                      <a:pt x="776" y="670"/>
                    </a:cubicBezTo>
                    <a:cubicBezTo>
                      <a:pt x="776" y="672"/>
                      <a:pt x="784" y="670"/>
                      <a:pt x="786" y="671"/>
                    </a:cubicBezTo>
                    <a:cubicBezTo>
                      <a:pt x="793" y="675"/>
                      <a:pt x="792" y="681"/>
                      <a:pt x="803" y="685"/>
                    </a:cubicBezTo>
                    <a:cubicBezTo>
                      <a:pt x="808" y="687"/>
                      <a:pt x="823" y="687"/>
                      <a:pt x="818" y="688"/>
                    </a:cubicBezTo>
                    <a:cubicBezTo>
                      <a:pt x="812" y="689"/>
                      <a:pt x="777" y="681"/>
                      <a:pt x="775" y="688"/>
                    </a:cubicBezTo>
                    <a:cubicBezTo>
                      <a:pt x="774" y="692"/>
                      <a:pt x="798" y="690"/>
                      <a:pt x="797" y="692"/>
                    </a:cubicBezTo>
                    <a:cubicBezTo>
                      <a:pt x="797" y="695"/>
                      <a:pt x="786" y="692"/>
                      <a:pt x="784" y="692"/>
                    </a:cubicBezTo>
                    <a:cubicBezTo>
                      <a:pt x="781" y="692"/>
                      <a:pt x="774" y="698"/>
                      <a:pt x="780" y="700"/>
                    </a:cubicBezTo>
                    <a:cubicBezTo>
                      <a:pt x="781" y="700"/>
                      <a:pt x="810" y="694"/>
                      <a:pt x="810" y="697"/>
                    </a:cubicBezTo>
                    <a:cubicBezTo>
                      <a:pt x="807" y="708"/>
                      <a:pt x="754" y="695"/>
                      <a:pt x="750" y="699"/>
                    </a:cubicBezTo>
                    <a:cubicBezTo>
                      <a:pt x="750" y="700"/>
                      <a:pt x="781" y="707"/>
                      <a:pt x="779" y="711"/>
                    </a:cubicBezTo>
                    <a:cubicBezTo>
                      <a:pt x="778" y="712"/>
                      <a:pt x="756" y="708"/>
                      <a:pt x="754" y="708"/>
                    </a:cubicBezTo>
                    <a:cubicBezTo>
                      <a:pt x="751" y="709"/>
                      <a:pt x="743" y="708"/>
                      <a:pt x="745" y="709"/>
                    </a:cubicBezTo>
                    <a:cubicBezTo>
                      <a:pt x="748" y="712"/>
                      <a:pt x="766" y="711"/>
                      <a:pt x="766" y="714"/>
                    </a:cubicBezTo>
                    <a:cubicBezTo>
                      <a:pt x="766" y="720"/>
                      <a:pt x="745" y="718"/>
                      <a:pt x="748" y="723"/>
                    </a:cubicBezTo>
                    <a:cubicBezTo>
                      <a:pt x="752" y="729"/>
                      <a:pt x="763" y="724"/>
                      <a:pt x="773" y="720"/>
                    </a:cubicBezTo>
                    <a:cubicBezTo>
                      <a:pt x="774" y="719"/>
                      <a:pt x="775" y="719"/>
                      <a:pt x="777" y="718"/>
                    </a:cubicBezTo>
                    <a:cubicBezTo>
                      <a:pt x="781" y="716"/>
                      <a:pt x="785" y="715"/>
                      <a:pt x="787" y="715"/>
                    </a:cubicBezTo>
                    <a:cubicBezTo>
                      <a:pt x="788" y="715"/>
                      <a:pt x="795" y="716"/>
                      <a:pt x="795" y="716"/>
                    </a:cubicBezTo>
                    <a:cubicBezTo>
                      <a:pt x="795" y="717"/>
                      <a:pt x="784" y="716"/>
                      <a:pt x="777" y="718"/>
                    </a:cubicBezTo>
                    <a:cubicBezTo>
                      <a:pt x="775" y="719"/>
                      <a:pt x="774" y="719"/>
                      <a:pt x="773" y="720"/>
                    </a:cubicBezTo>
                    <a:cubicBezTo>
                      <a:pt x="772" y="721"/>
                      <a:pt x="771" y="722"/>
                      <a:pt x="771" y="723"/>
                    </a:cubicBezTo>
                    <a:cubicBezTo>
                      <a:pt x="771" y="724"/>
                      <a:pt x="792" y="727"/>
                      <a:pt x="790" y="730"/>
                    </a:cubicBezTo>
                    <a:cubicBezTo>
                      <a:pt x="788" y="733"/>
                      <a:pt x="761" y="722"/>
                      <a:pt x="753" y="729"/>
                    </a:cubicBezTo>
                    <a:cubicBezTo>
                      <a:pt x="752" y="731"/>
                      <a:pt x="756" y="731"/>
                      <a:pt x="756" y="732"/>
                    </a:cubicBezTo>
                    <a:cubicBezTo>
                      <a:pt x="756" y="737"/>
                      <a:pt x="750" y="739"/>
                      <a:pt x="760" y="738"/>
                    </a:cubicBezTo>
                    <a:cubicBezTo>
                      <a:pt x="760" y="738"/>
                      <a:pt x="767" y="737"/>
                      <a:pt x="765" y="739"/>
                    </a:cubicBezTo>
                    <a:cubicBezTo>
                      <a:pt x="746" y="746"/>
                      <a:pt x="751" y="720"/>
                      <a:pt x="734" y="728"/>
                    </a:cubicBezTo>
                    <a:cubicBezTo>
                      <a:pt x="733" y="728"/>
                      <a:pt x="727" y="728"/>
                      <a:pt x="727" y="729"/>
                    </a:cubicBezTo>
                    <a:cubicBezTo>
                      <a:pt x="727" y="731"/>
                      <a:pt x="743" y="735"/>
                      <a:pt x="745" y="738"/>
                    </a:cubicBezTo>
                    <a:cubicBezTo>
                      <a:pt x="746" y="739"/>
                      <a:pt x="743" y="741"/>
                      <a:pt x="744" y="742"/>
                    </a:cubicBezTo>
                    <a:cubicBezTo>
                      <a:pt x="751" y="752"/>
                      <a:pt x="723" y="753"/>
                      <a:pt x="732" y="759"/>
                    </a:cubicBezTo>
                    <a:cubicBezTo>
                      <a:pt x="733" y="760"/>
                      <a:pt x="737" y="762"/>
                      <a:pt x="739" y="761"/>
                    </a:cubicBezTo>
                    <a:cubicBezTo>
                      <a:pt x="740" y="760"/>
                      <a:pt x="741" y="758"/>
                      <a:pt x="744" y="759"/>
                    </a:cubicBezTo>
                    <a:cubicBezTo>
                      <a:pt x="747" y="760"/>
                      <a:pt x="742" y="762"/>
                      <a:pt x="742" y="763"/>
                    </a:cubicBezTo>
                    <a:cubicBezTo>
                      <a:pt x="743" y="764"/>
                      <a:pt x="748" y="764"/>
                      <a:pt x="749" y="763"/>
                    </a:cubicBezTo>
                    <a:cubicBezTo>
                      <a:pt x="752" y="763"/>
                      <a:pt x="759" y="761"/>
                      <a:pt x="760" y="759"/>
                    </a:cubicBezTo>
                    <a:cubicBezTo>
                      <a:pt x="760" y="758"/>
                      <a:pt x="760" y="758"/>
                      <a:pt x="759" y="757"/>
                    </a:cubicBezTo>
                    <a:cubicBezTo>
                      <a:pt x="754" y="750"/>
                      <a:pt x="760" y="751"/>
                      <a:pt x="761" y="757"/>
                    </a:cubicBezTo>
                    <a:cubicBezTo>
                      <a:pt x="762" y="759"/>
                      <a:pt x="770" y="755"/>
                      <a:pt x="770" y="758"/>
                    </a:cubicBezTo>
                    <a:cubicBezTo>
                      <a:pt x="770" y="758"/>
                      <a:pt x="764" y="759"/>
                      <a:pt x="766" y="761"/>
                    </a:cubicBezTo>
                    <a:cubicBezTo>
                      <a:pt x="767" y="761"/>
                      <a:pt x="779" y="760"/>
                      <a:pt x="778" y="762"/>
                    </a:cubicBezTo>
                    <a:cubicBezTo>
                      <a:pt x="777" y="764"/>
                      <a:pt x="746" y="766"/>
                      <a:pt x="740" y="774"/>
                    </a:cubicBezTo>
                    <a:cubicBezTo>
                      <a:pt x="738" y="775"/>
                      <a:pt x="731" y="778"/>
                      <a:pt x="732" y="780"/>
                    </a:cubicBezTo>
                    <a:cubicBezTo>
                      <a:pt x="735" y="784"/>
                      <a:pt x="742" y="780"/>
                      <a:pt x="745" y="779"/>
                    </a:cubicBezTo>
                    <a:cubicBezTo>
                      <a:pt x="784" y="769"/>
                      <a:pt x="786" y="767"/>
                      <a:pt x="818" y="762"/>
                    </a:cubicBezTo>
                    <a:cubicBezTo>
                      <a:pt x="821" y="762"/>
                      <a:pt x="831" y="755"/>
                      <a:pt x="832" y="758"/>
                    </a:cubicBezTo>
                    <a:cubicBezTo>
                      <a:pt x="833" y="763"/>
                      <a:pt x="824" y="764"/>
                      <a:pt x="823" y="766"/>
                    </a:cubicBezTo>
                    <a:cubicBezTo>
                      <a:pt x="817" y="781"/>
                      <a:pt x="789" y="774"/>
                      <a:pt x="788" y="775"/>
                    </a:cubicBezTo>
                    <a:cubicBezTo>
                      <a:pt x="787" y="776"/>
                      <a:pt x="785" y="778"/>
                      <a:pt x="784" y="780"/>
                    </a:cubicBezTo>
                    <a:cubicBezTo>
                      <a:pt x="783" y="783"/>
                      <a:pt x="805" y="779"/>
                      <a:pt x="804" y="785"/>
                    </a:cubicBezTo>
                    <a:cubicBezTo>
                      <a:pt x="804" y="791"/>
                      <a:pt x="792" y="782"/>
                      <a:pt x="786" y="785"/>
                    </a:cubicBezTo>
                    <a:cubicBezTo>
                      <a:pt x="784" y="787"/>
                      <a:pt x="779" y="794"/>
                      <a:pt x="778" y="793"/>
                    </a:cubicBezTo>
                    <a:cubicBezTo>
                      <a:pt x="778" y="793"/>
                      <a:pt x="776" y="779"/>
                      <a:pt x="779" y="778"/>
                    </a:cubicBezTo>
                    <a:cubicBezTo>
                      <a:pt x="781" y="777"/>
                      <a:pt x="784" y="774"/>
                      <a:pt x="780" y="773"/>
                    </a:cubicBezTo>
                    <a:cubicBezTo>
                      <a:pt x="775" y="771"/>
                      <a:pt x="704" y="794"/>
                      <a:pt x="701" y="798"/>
                    </a:cubicBezTo>
                    <a:cubicBezTo>
                      <a:pt x="695" y="806"/>
                      <a:pt x="733" y="796"/>
                      <a:pt x="734" y="797"/>
                    </a:cubicBezTo>
                    <a:cubicBezTo>
                      <a:pt x="738" y="800"/>
                      <a:pt x="723" y="805"/>
                      <a:pt x="723" y="811"/>
                    </a:cubicBezTo>
                    <a:cubicBezTo>
                      <a:pt x="724" y="817"/>
                      <a:pt x="754" y="818"/>
                      <a:pt x="746" y="832"/>
                    </a:cubicBezTo>
                    <a:cubicBezTo>
                      <a:pt x="745" y="833"/>
                      <a:pt x="734" y="821"/>
                      <a:pt x="733" y="820"/>
                    </a:cubicBezTo>
                    <a:cubicBezTo>
                      <a:pt x="724" y="816"/>
                      <a:pt x="703" y="809"/>
                      <a:pt x="698" y="824"/>
                    </a:cubicBezTo>
                    <a:cubicBezTo>
                      <a:pt x="693" y="842"/>
                      <a:pt x="707" y="829"/>
                      <a:pt x="705" y="841"/>
                    </a:cubicBezTo>
                    <a:cubicBezTo>
                      <a:pt x="704" y="844"/>
                      <a:pt x="700" y="838"/>
                      <a:pt x="699" y="838"/>
                    </a:cubicBezTo>
                    <a:cubicBezTo>
                      <a:pt x="698" y="838"/>
                      <a:pt x="690" y="846"/>
                      <a:pt x="690" y="847"/>
                    </a:cubicBezTo>
                    <a:cubicBezTo>
                      <a:pt x="690" y="853"/>
                      <a:pt x="695" y="858"/>
                      <a:pt x="700" y="861"/>
                    </a:cubicBezTo>
                    <a:cubicBezTo>
                      <a:pt x="702" y="862"/>
                      <a:pt x="712" y="861"/>
                      <a:pt x="711" y="864"/>
                    </a:cubicBezTo>
                    <a:cubicBezTo>
                      <a:pt x="710" y="868"/>
                      <a:pt x="705" y="864"/>
                      <a:pt x="704" y="864"/>
                    </a:cubicBezTo>
                    <a:cubicBezTo>
                      <a:pt x="699" y="863"/>
                      <a:pt x="671" y="837"/>
                      <a:pt x="673" y="871"/>
                    </a:cubicBezTo>
                    <a:cubicBezTo>
                      <a:pt x="673" y="873"/>
                      <a:pt x="676" y="871"/>
                      <a:pt x="677" y="871"/>
                    </a:cubicBezTo>
                    <a:cubicBezTo>
                      <a:pt x="679" y="871"/>
                      <a:pt x="675" y="876"/>
                      <a:pt x="676" y="878"/>
                    </a:cubicBezTo>
                    <a:cubicBezTo>
                      <a:pt x="677" y="883"/>
                      <a:pt x="682" y="881"/>
                      <a:pt x="684" y="878"/>
                    </a:cubicBezTo>
                    <a:cubicBezTo>
                      <a:pt x="690" y="869"/>
                      <a:pt x="689" y="876"/>
                      <a:pt x="684" y="880"/>
                    </a:cubicBezTo>
                    <a:cubicBezTo>
                      <a:pt x="682" y="882"/>
                      <a:pt x="690" y="884"/>
                      <a:pt x="690" y="875"/>
                    </a:cubicBezTo>
                    <a:cubicBezTo>
                      <a:pt x="690" y="875"/>
                      <a:pt x="692" y="871"/>
                      <a:pt x="692" y="871"/>
                    </a:cubicBezTo>
                    <a:cubicBezTo>
                      <a:pt x="694" y="875"/>
                      <a:pt x="690" y="880"/>
                      <a:pt x="691" y="884"/>
                    </a:cubicBezTo>
                    <a:cubicBezTo>
                      <a:pt x="692" y="888"/>
                      <a:pt x="699" y="888"/>
                      <a:pt x="699" y="888"/>
                    </a:cubicBezTo>
                    <a:cubicBezTo>
                      <a:pt x="699" y="889"/>
                      <a:pt x="694" y="891"/>
                      <a:pt x="695" y="891"/>
                    </a:cubicBezTo>
                    <a:cubicBezTo>
                      <a:pt x="696" y="892"/>
                      <a:pt x="711" y="891"/>
                      <a:pt x="710" y="892"/>
                    </a:cubicBezTo>
                    <a:cubicBezTo>
                      <a:pt x="709" y="894"/>
                      <a:pt x="702" y="893"/>
                      <a:pt x="701" y="893"/>
                    </a:cubicBezTo>
                    <a:cubicBezTo>
                      <a:pt x="696" y="893"/>
                      <a:pt x="708" y="905"/>
                      <a:pt x="704" y="906"/>
                    </a:cubicBezTo>
                    <a:cubicBezTo>
                      <a:pt x="694" y="907"/>
                      <a:pt x="694" y="888"/>
                      <a:pt x="684" y="894"/>
                    </a:cubicBezTo>
                    <a:cubicBezTo>
                      <a:pt x="682" y="894"/>
                      <a:pt x="687" y="898"/>
                      <a:pt x="687" y="899"/>
                    </a:cubicBezTo>
                    <a:cubicBezTo>
                      <a:pt x="693" y="905"/>
                      <a:pt x="702" y="910"/>
                      <a:pt x="702" y="911"/>
                    </a:cubicBezTo>
                    <a:cubicBezTo>
                      <a:pt x="701" y="915"/>
                      <a:pt x="698" y="910"/>
                      <a:pt x="697" y="909"/>
                    </a:cubicBezTo>
                    <a:cubicBezTo>
                      <a:pt x="685" y="899"/>
                      <a:pt x="681" y="914"/>
                      <a:pt x="672" y="915"/>
                    </a:cubicBezTo>
                    <a:cubicBezTo>
                      <a:pt x="672" y="916"/>
                      <a:pt x="663" y="926"/>
                      <a:pt x="663" y="926"/>
                    </a:cubicBezTo>
                    <a:cubicBezTo>
                      <a:pt x="665" y="929"/>
                      <a:pt x="671" y="920"/>
                      <a:pt x="674" y="920"/>
                    </a:cubicBezTo>
                    <a:cubicBezTo>
                      <a:pt x="679" y="920"/>
                      <a:pt x="690" y="924"/>
                      <a:pt x="694" y="921"/>
                    </a:cubicBezTo>
                    <a:cubicBezTo>
                      <a:pt x="695" y="920"/>
                      <a:pt x="705" y="922"/>
                      <a:pt x="704" y="923"/>
                    </a:cubicBezTo>
                    <a:cubicBezTo>
                      <a:pt x="704" y="926"/>
                      <a:pt x="678" y="922"/>
                      <a:pt x="675" y="925"/>
                    </a:cubicBezTo>
                    <a:cubicBezTo>
                      <a:pt x="668" y="930"/>
                      <a:pt x="679" y="924"/>
                      <a:pt x="680" y="929"/>
                    </a:cubicBezTo>
                    <a:cubicBezTo>
                      <a:pt x="680" y="931"/>
                      <a:pt x="684" y="930"/>
                      <a:pt x="685" y="931"/>
                    </a:cubicBezTo>
                    <a:cubicBezTo>
                      <a:pt x="687" y="933"/>
                      <a:pt x="675" y="934"/>
                      <a:pt x="674" y="935"/>
                    </a:cubicBezTo>
                    <a:cubicBezTo>
                      <a:pt x="672" y="936"/>
                      <a:pt x="674" y="938"/>
                      <a:pt x="675" y="939"/>
                    </a:cubicBezTo>
                    <a:cubicBezTo>
                      <a:pt x="687" y="946"/>
                      <a:pt x="705" y="927"/>
                      <a:pt x="713" y="920"/>
                    </a:cubicBezTo>
                    <a:cubicBezTo>
                      <a:pt x="715" y="919"/>
                      <a:pt x="726" y="908"/>
                      <a:pt x="725" y="912"/>
                    </a:cubicBezTo>
                    <a:cubicBezTo>
                      <a:pt x="724" y="936"/>
                      <a:pt x="661" y="949"/>
                      <a:pt x="657" y="954"/>
                    </a:cubicBezTo>
                    <a:cubicBezTo>
                      <a:pt x="656" y="956"/>
                      <a:pt x="662" y="962"/>
                      <a:pt x="657" y="962"/>
                    </a:cubicBezTo>
                    <a:cubicBezTo>
                      <a:pt x="656" y="962"/>
                      <a:pt x="656" y="955"/>
                      <a:pt x="653" y="955"/>
                    </a:cubicBezTo>
                    <a:cubicBezTo>
                      <a:pt x="649" y="954"/>
                      <a:pt x="644" y="959"/>
                      <a:pt x="642" y="956"/>
                    </a:cubicBezTo>
                    <a:cubicBezTo>
                      <a:pt x="633" y="943"/>
                      <a:pt x="626" y="963"/>
                      <a:pt x="625" y="964"/>
                    </a:cubicBezTo>
                    <a:cubicBezTo>
                      <a:pt x="614" y="974"/>
                      <a:pt x="607" y="964"/>
                      <a:pt x="599" y="970"/>
                    </a:cubicBezTo>
                    <a:cubicBezTo>
                      <a:pt x="598" y="970"/>
                      <a:pt x="594" y="970"/>
                      <a:pt x="594" y="972"/>
                    </a:cubicBezTo>
                    <a:cubicBezTo>
                      <a:pt x="594" y="973"/>
                      <a:pt x="595" y="974"/>
                      <a:pt x="596" y="974"/>
                    </a:cubicBezTo>
                    <a:cubicBezTo>
                      <a:pt x="599" y="974"/>
                      <a:pt x="601" y="974"/>
                      <a:pt x="603" y="974"/>
                    </a:cubicBezTo>
                    <a:cubicBezTo>
                      <a:pt x="604" y="973"/>
                      <a:pt x="605" y="973"/>
                      <a:pt x="604" y="974"/>
                    </a:cubicBezTo>
                    <a:cubicBezTo>
                      <a:pt x="604" y="974"/>
                      <a:pt x="604" y="974"/>
                      <a:pt x="603" y="974"/>
                    </a:cubicBezTo>
                    <a:cubicBezTo>
                      <a:pt x="601" y="974"/>
                      <a:pt x="597" y="975"/>
                      <a:pt x="596" y="974"/>
                    </a:cubicBezTo>
                    <a:cubicBezTo>
                      <a:pt x="588" y="975"/>
                      <a:pt x="579" y="976"/>
                      <a:pt x="575" y="979"/>
                    </a:cubicBezTo>
                    <a:cubicBezTo>
                      <a:pt x="575" y="980"/>
                      <a:pt x="574" y="981"/>
                      <a:pt x="574" y="982"/>
                    </a:cubicBezTo>
                    <a:cubicBezTo>
                      <a:pt x="574" y="982"/>
                      <a:pt x="574" y="982"/>
                      <a:pt x="574" y="983"/>
                    </a:cubicBezTo>
                    <a:cubicBezTo>
                      <a:pt x="575" y="987"/>
                      <a:pt x="613" y="973"/>
                      <a:pt x="614" y="975"/>
                    </a:cubicBezTo>
                    <a:cubicBezTo>
                      <a:pt x="617" y="979"/>
                      <a:pt x="577" y="984"/>
                      <a:pt x="576" y="985"/>
                    </a:cubicBezTo>
                    <a:cubicBezTo>
                      <a:pt x="567" y="995"/>
                      <a:pt x="589" y="985"/>
                      <a:pt x="590" y="990"/>
                    </a:cubicBezTo>
                    <a:cubicBezTo>
                      <a:pt x="591" y="993"/>
                      <a:pt x="573" y="1001"/>
                      <a:pt x="573" y="1001"/>
                    </a:cubicBezTo>
                    <a:cubicBezTo>
                      <a:pt x="594" y="1005"/>
                      <a:pt x="631" y="953"/>
                      <a:pt x="656" y="967"/>
                    </a:cubicBezTo>
                    <a:cubicBezTo>
                      <a:pt x="657" y="967"/>
                      <a:pt x="661" y="969"/>
                      <a:pt x="661" y="970"/>
                    </a:cubicBezTo>
                    <a:cubicBezTo>
                      <a:pt x="661" y="974"/>
                      <a:pt x="655" y="968"/>
                      <a:pt x="654" y="968"/>
                    </a:cubicBezTo>
                    <a:cubicBezTo>
                      <a:pt x="649" y="966"/>
                      <a:pt x="610" y="978"/>
                      <a:pt x="610" y="985"/>
                    </a:cubicBezTo>
                    <a:cubicBezTo>
                      <a:pt x="610" y="988"/>
                      <a:pt x="622" y="982"/>
                      <a:pt x="621" y="983"/>
                    </a:cubicBezTo>
                    <a:cubicBezTo>
                      <a:pt x="619" y="987"/>
                      <a:pt x="606" y="985"/>
                      <a:pt x="609" y="988"/>
                    </a:cubicBezTo>
                    <a:cubicBezTo>
                      <a:pt x="613" y="992"/>
                      <a:pt x="630" y="987"/>
                      <a:pt x="627" y="992"/>
                    </a:cubicBezTo>
                    <a:cubicBezTo>
                      <a:pt x="624" y="996"/>
                      <a:pt x="605" y="998"/>
                      <a:pt x="596" y="1002"/>
                    </a:cubicBezTo>
                    <a:cubicBezTo>
                      <a:pt x="595" y="1003"/>
                      <a:pt x="587" y="1005"/>
                      <a:pt x="587" y="1006"/>
                    </a:cubicBezTo>
                    <a:cubicBezTo>
                      <a:pt x="592" y="1031"/>
                      <a:pt x="605" y="1020"/>
                      <a:pt x="607" y="1023"/>
                    </a:cubicBezTo>
                    <a:cubicBezTo>
                      <a:pt x="608" y="1025"/>
                      <a:pt x="620" y="1019"/>
                      <a:pt x="621" y="1023"/>
                    </a:cubicBezTo>
                    <a:cubicBezTo>
                      <a:pt x="621" y="1023"/>
                      <a:pt x="607" y="1028"/>
                      <a:pt x="606" y="1029"/>
                    </a:cubicBezTo>
                    <a:cubicBezTo>
                      <a:pt x="600" y="1033"/>
                      <a:pt x="597" y="1026"/>
                      <a:pt x="592" y="1036"/>
                    </a:cubicBezTo>
                    <a:cubicBezTo>
                      <a:pt x="585" y="1048"/>
                      <a:pt x="611" y="1038"/>
                      <a:pt x="610" y="1040"/>
                    </a:cubicBezTo>
                    <a:cubicBezTo>
                      <a:pt x="610" y="1041"/>
                      <a:pt x="588" y="1044"/>
                      <a:pt x="588" y="1044"/>
                    </a:cubicBezTo>
                    <a:cubicBezTo>
                      <a:pt x="586" y="1045"/>
                      <a:pt x="581" y="1054"/>
                      <a:pt x="578" y="1057"/>
                    </a:cubicBezTo>
                    <a:cubicBezTo>
                      <a:pt x="577" y="1058"/>
                      <a:pt x="573" y="1065"/>
                      <a:pt x="571" y="1064"/>
                    </a:cubicBezTo>
                    <a:cubicBezTo>
                      <a:pt x="570" y="1062"/>
                      <a:pt x="582" y="1051"/>
                      <a:pt x="582" y="1047"/>
                    </a:cubicBezTo>
                    <a:cubicBezTo>
                      <a:pt x="581" y="1041"/>
                      <a:pt x="572" y="1045"/>
                      <a:pt x="570" y="1046"/>
                    </a:cubicBezTo>
                    <a:cubicBezTo>
                      <a:pt x="568" y="1047"/>
                      <a:pt x="554" y="1013"/>
                      <a:pt x="544" y="1024"/>
                    </a:cubicBezTo>
                    <a:cubicBezTo>
                      <a:pt x="541" y="1027"/>
                      <a:pt x="551" y="1032"/>
                      <a:pt x="549" y="1036"/>
                    </a:cubicBezTo>
                    <a:cubicBezTo>
                      <a:pt x="547" y="1038"/>
                      <a:pt x="543" y="1037"/>
                      <a:pt x="543" y="1039"/>
                    </a:cubicBezTo>
                    <a:cubicBezTo>
                      <a:pt x="543" y="1042"/>
                      <a:pt x="541" y="1040"/>
                      <a:pt x="541" y="1039"/>
                    </a:cubicBezTo>
                    <a:cubicBezTo>
                      <a:pt x="540" y="1038"/>
                      <a:pt x="537" y="1033"/>
                      <a:pt x="534" y="1035"/>
                    </a:cubicBezTo>
                    <a:cubicBezTo>
                      <a:pt x="532" y="1037"/>
                      <a:pt x="537" y="1043"/>
                      <a:pt x="536" y="1041"/>
                    </a:cubicBezTo>
                    <a:cubicBezTo>
                      <a:pt x="532" y="1039"/>
                      <a:pt x="524" y="1040"/>
                      <a:pt x="521" y="1044"/>
                    </a:cubicBezTo>
                    <a:cubicBezTo>
                      <a:pt x="518" y="1047"/>
                      <a:pt x="529" y="1045"/>
                      <a:pt x="530" y="1045"/>
                    </a:cubicBezTo>
                    <a:cubicBezTo>
                      <a:pt x="534" y="1045"/>
                      <a:pt x="535" y="1051"/>
                      <a:pt x="538" y="1054"/>
                    </a:cubicBezTo>
                    <a:cubicBezTo>
                      <a:pt x="538" y="1054"/>
                      <a:pt x="538" y="1055"/>
                      <a:pt x="539" y="1055"/>
                    </a:cubicBezTo>
                    <a:cubicBezTo>
                      <a:pt x="539" y="1055"/>
                      <a:pt x="539" y="1055"/>
                      <a:pt x="539" y="1055"/>
                    </a:cubicBezTo>
                    <a:cubicBezTo>
                      <a:pt x="539" y="1055"/>
                      <a:pt x="539" y="1056"/>
                      <a:pt x="539" y="1056"/>
                    </a:cubicBezTo>
                    <a:cubicBezTo>
                      <a:pt x="539" y="1056"/>
                      <a:pt x="539" y="1055"/>
                      <a:pt x="539" y="1055"/>
                    </a:cubicBezTo>
                    <a:cubicBezTo>
                      <a:pt x="538" y="1056"/>
                      <a:pt x="538" y="1056"/>
                      <a:pt x="538" y="1056"/>
                    </a:cubicBezTo>
                    <a:cubicBezTo>
                      <a:pt x="537" y="1056"/>
                      <a:pt x="535" y="1057"/>
                      <a:pt x="535" y="1056"/>
                    </a:cubicBezTo>
                    <a:cubicBezTo>
                      <a:pt x="534" y="1056"/>
                      <a:pt x="530" y="1054"/>
                      <a:pt x="529" y="1053"/>
                    </a:cubicBezTo>
                    <a:cubicBezTo>
                      <a:pt x="522" y="1045"/>
                      <a:pt x="506" y="1047"/>
                      <a:pt x="504" y="1050"/>
                    </a:cubicBezTo>
                    <a:cubicBezTo>
                      <a:pt x="500" y="1055"/>
                      <a:pt x="525" y="1053"/>
                      <a:pt x="521" y="1058"/>
                    </a:cubicBezTo>
                    <a:cubicBezTo>
                      <a:pt x="517" y="1063"/>
                      <a:pt x="513" y="1056"/>
                      <a:pt x="509" y="1056"/>
                    </a:cubicBezTo>
                    <a:cubicBezTo>
                      <a:pt x="506" y="1056"/>
                      <a:pt x="514" y="1065"/>
                      <a:pt x="511" y="1061"/>
                    </a:cubicBezTo>
                    <a:cubicBezTo>
                      <a:pt x="501" y="1052"/>
                      <a:pt x="506" y="1067"/>
                      <a:pt x="506" y="1067"/>
                    </a:cubicBezTo>
                    <a:cubicBezTo>
                      <a:pt x="502" y="1074"/>
                      <a:pt x="487" y="1067"/>
                      <a:pt x="484" y="1076"/>
                    </a:cubicBezTo>
                    <a:cubicBezTo>
                      <a:pt x="483" y="1080"/>
                      <a:pt x="500" y="1084"/>
                      <a:pt x="495" y="1084"/>
                    </a:cubicBezTo>
                    <a:cubicBezTo>
                      <a:pt x="482" y="1085"/>
                      <a:pt x="475" y="1080"/>
                      <a:pt x="472" y="1093"/>
                    </a:cubicBezTo>
                    <a:cubicBezTo>
                      <a:pt x="471" y="1096"/>
                      <a:pt x="482" y="1090"/>
                      <a:pt x="482" y="1094"/>
                    </a:cubicBezTo>
                    <a:cubicBezTo>
                      <a:pt x="483" y="1102"/>
                      <a:pt x="464" y="1094"/>
                      <a:pt x="463" y="1095"/>
                    </a:cubicBezTo>
                    <a:cubicBezTo>
                      <a:pt x="458" y="1097"/>
                      <a:pt x="463" y="1106"/>
                      <a:pt x="461" y="1111"/>
                    </a:cubicBezTo>
                    <a:cubicBezTo>
                      <a:pt x="461" y="1112"/>
                      <a:pt x="456" y="1117"/>
                      <a:pt x="457" y="1118"/>
                    </a:cubicBezTo>
                    <a:cubicBezTo>
                      <a:pt x="458" y="1120"/>
                      <a:pt x="474" y="1112"/>
                      <a:pt x="474" y="1114"/>
                    </a:cubicBezTo>
                    <a:cubicBezTo>
                      <a:pt x="474" y="1118"/>
                      <a:pt x="456" y="1122"/>
                      <a:pt x="458" y="1124"/>
                    </a:cubicBezTo>
                    <a:cubicBezTo>
                      <a:pt x="461" y="1127"/>
                      <a:pt x="479" y="1111"/>
                      <a:pt x="480" y="1121"/>
                    </a:cubicBezTo>
                    <a:cubicBezTo>
                      <a:pt x="480" y="1124"/>
                      <a:pt x="473" y="1121"/>
                      <a:pt x="470" y="1123"/>
                    </a:cubicBezTo>
                    <a:cubicBezTo>
                      <a:pt x="466" y="1126"/>
                      <a:pt x="421" y="1140"/>
                      <a:pt x="422" y="1147"/>
                    </a:cubicBezTo>
                    <a:cubicBezTo>
                      <a:pt x="422" y="1149"/>
                      <a:pt x="443" y="1146"/>
                      <a:pt x="443" y="1146"/>
                    </a:cubicBezTo>
                    <a:cubicBezTo>
                      <a:pt x="438" y="1150"/>
                      <a:pt x="415" y="1152"/>
                      <a:pt x="421" y="1162"/>
                    </a:cubicBezTo>
                    <a:cubicBezTo>
                      <a:pt x="423" y="1164"/>
                      <a:pt x="466" y="1143"/>
                      <a:pt x="466" y="1144"/>
                    </a:cubicBezTo>
                    <a:cubicBezTo>
                      <a:pt x="467" y="1145"/>
                      <a:pt x="460" y="1150"/>
                      <a:pt x="464" y="1150"/>
                    </a:cubicBezTo>
                    <a:cubicBezTo>
                      <a:pt x="485" y="1150"/>
                      <a:pt x="447" y="1154"/>
                      <a:pt x="445" y="1158"/>
                    </a:cubicBezTo>
                    <a:cubicBezTo>
                      <a:pt x="441" y="1167"/>
                      <a:pt x="452" y="1168"/>
                      <a:pt x="454" y="1173"/>
                    </a:cubicBezTo>
                    <a:cubicBezTo>
                      <a:pt x="455" y="1175"/>
                      <a:pt x="452" y="1182"/>
                      <a:pt x="455" y="1185"/>
                    </a:cubicBezTo>
                    <a:cubicBezTo>
                      <a:pt x="465" y="1194"/>
                      <a:pt x="558" y="1147"/>
                      <a:pt x="559" y="1136"/>
                    </a:cubicBezTo>
                    <a:cubicBezTo>
                      <a:pt x="560" y="1121"/>
                      <a:pt x="529" y="1132"/>
                      <a:pt x="525" y="1136"/>
                    </a:cubicBezTo>
                    <a:cubicBezTo>
                      <a:pt x="524" y="1136"/>
                      <a:pt x="513" y="1142"/>
                      <a:pt x="514" y="1140"/>
                    </a:cubicBezTo>
                    <a:cubicBezTo>
                      <a:pt x="517" y="1130"/>
                      <a:pt x="554" y="1120"/>
                      <a:pt x="563" y="1114"/>
                    </a:cubicBezTo>
                    <a:cubicBezTo>
                      <a:pt x="569" y="1110"/>
                      <a:pt x="576" y="1090"/>
                      <a:pt x="584" y="1095"/>
                    </a:cubicBezTo>
                    <a:cubicBezTo>
                      <a:pt x="588" y="1097"/>
                      <a:pt x="572" y="1099"/>
                      <a:pt x="573" y="1104"/>
                    </a:cubicBezTo>
                    <a:cubicBezTo>
                      <a:pt x="575" y="1110"/>
                      <a:pt x="595" y="1106"/>
                      <a:pt x="596" y="1109"/>
                    </a:cubicBezTo>
                    <a:cubicBezTo>
                      <a:pt x="597" y="1116"/>
                      <a:pt x="559" y="1120"/>
                      <a:pt x="560" y="1129"/>
                    </a:cubicBezTo>
                    <a:cubicBezTo>
                      <a:pt x="560" y="1138"/>
                      <a:pt x="598" y="1127"/>
                      <a:pt x="593" y="1142"/>
                    </a:cubicBezTo>
                    <a:cubicBezTo>
                      <a:pt x="592" y="1144"/>
                      <a:pt x="532" y="1159"/>
                      <a:pt x="521" y="1178"/>
                    </a:cubicBezTo>
                    <a:cubicBezTo>
                      <a:pt x="521" y="1179"/>
                      <a:pt x="543" y="1169"/>
                      <a:pt x="545" y="1171"/>
                    </a:cubicBezTo>
                    <a:cubicBezTo>
                      <a:pt x="545" y="1172"/>
                      <a:pt x="544" y="1173"/>
                      <a:pt x="544" y="1173"/>
                    </a:cubicBezTo>
                    <a:cubicBezTo>
                      <a:pt x="544" y="1174"/>
                      <a:pt x="543" y="1174"/>
                      <a:pt x="542" y="1174"/>
                    </a:cubicBezTo>
                    <a:cubicBezTo>
                      <a:pt x="538" y="1175"/>
                      <a:pt x="530" y="1184"/>
                      <a:pt x="530" y="1184"/>
                    </a:cubicBezTo>
                    <a:cubicBezTo>
                      <a:pt x="530" y="1192"/>
                      <a:pt x="545" y="1189"/>
                      <a:pt x="544" y="1192"/>
                    </a:cubicBezTo>
                    <a:cubicBezTo>
                      <a:pt x="541" y="1204"/>
                      <a:pt x="486" y="1185"/>
                      <a:pt x="470" y="1197"/>
                    </a:cubicBezTo>
                    <a:cubicBezTo>
                      <a:pt x="460" y="1203"/>
                      <a:pt x="472" y="1207"/>
                      <a:pt x="481" y="1211"/>
                    </a:cubicBezTo>
                    <a:cubicBezTo>
                      <a:pt x="482" y="1211"/>
                      <a:pt x="483" y="1212"/>
                      <a:pt x="483" y="1212"/>
                    </a:cubicBezTo>
                    <a:cubicBezTo>
                      <a:pt x="484" y="1212"/>
                      <a:pt x="485" y="1212"/>
                      <a:pt x="485" y="1213"/>
                    </a:cubicBezTo>
                    <a:cubicBezTo>
                      <a:pt x="489" y="1215"/>
                      <a:pt x="492" y="1218"/>
                      <a:pt x="486" y="1221"/>
                    </a:cubicBezTo>
                    <a:cubicBezTo>
                      <a:pt x="484" y="1223"/>
                      <a:pt x="485" y="1216"/>
                      <a:pt x="485" y="1213"/>
                    </a:cubicBezTo>
                    <a:cubicBezTo>
                      <a:pt x="484" y="1212"/>
                      <a:pt x="482" y="1212"/>
                      <a:pt x="481" y="1211"/>
                    </a:cubicBezTo>
                    <a:cubicBezTo>
                      <a:pt x="475" y="1210"/>
                      <a:pt x="465" y="1206"/>
                      <a:pt x="461" y="1207"/>
                    </a:cubicBezTo>
                    <a:cubicBezTo>
                      <a:pt x="459" y="1207"/>
                      <a:pt x="449" y="1214"/>
                      <a:pt x="448" y="1212"/>
                    </a:cubicBezTo>
                    <a:cubicBezTo>
                      <a:pt x="447" y="1211"/>
                      <a:pt x="453" y="1208"/>
                      <a:pt x="454" y="1207"/>
                    </a:cubicBezTo>
                    <a:cubicBezTo>
                      <a:pt x="461" y="1200"/>
                      <a:pt x="443" y="1167"/>
                      <a:pt x="437" y="1165"/>
                    </a:cubicBezTo>
                    <a:cubicBezTo>
                      <a:pt x="435" y="1164"/>
                      <a:pt x="417" y="1171"/>
                      <a:pt x="417" y="1173"/>
                    </a:cubicBezTo>
                    <a:cubicBezTo>
                      <a:pt x="417" y="1174"/>
                      <a:pt x="417" y="1174"/>
                      <a:pt x="418" y="1174"/>
                    </a:cubicBezTo>
                    <a:cubicBezTo>
                      <a:pt x="419" y="1174"/>
                      <a:pt x="420" y="1175"/>
                      <a:pt x="422" y="1176"/>
                    </a:cubicBezTo>
                    <a:cubicBezTo>
                      <a:pt x="422" y="1176"/>
                      <a:pt x="422" y="1177"/>
                      <a:pt x="422" y="1177"/>
                    </a:cubicBezTo>
                    <a:cubicBezTo>
                      <a:pt x="424" y="1178"/>
                      <a:pt x="425" y="1179"/>
                      <a:pt x="424" y="1180"/>
                    </a:cubicBezTo>
                    <a:cubicBezTo>
                      <a:pt x="424" y="1180"/>
                      <a:pt x="424" y="1181"/>
                      <a:pt x="424" y="1181"/>
                    </a:cubicBezTo>
                    <a:cubicBezTo>
                      <a:pt x="423" y="1180"/>
                      <a:pt x="423" y="1179"/>
                      <a:pt x="422" y="1177"/>
                    </a:cubicBezTo>
                    <a:cubicBezTo>
                      <a:pt x="421" y="1176"/>
                      <a:pt x="419" y="1176"/>
                      <a:pt x="418" y="1174"/>
                    </a:cubicBezTo>
                    <a:cubicBezTo>
                      <a:pt x="414" y="1175"/>
                      <a:pt x="412" y="1184"/>
                      <a:pt x="410" y="1185"/>
                    </a:cubicBezTo>
                    <a:cubicBezTo>
                      <a:pt x="409" y="1185"/>
                      <a:pt x="409" y="1184"/>
                      <a:pt x="408" y="1184"/>
                    </a:cubicBezTo>
                    <a:cubicBezTo>
                      <a:pt x="405" y="1182"/>
                      <a:pt x="409" y="1178"/>
                      <a:pt x="408" y="1177"/>
                    </a:cubicBezTo>
                    <a:cubicBezTo>
                      <a:pt x="406" y="1175"/>
                      <a:pt x="387" y="1186"/>
                      <a:pt x="387" y="1187"/>
                    </a:cubicBezTo>
                    <a:cubicBezTo>
                      <a:pt x="386" y="1189"/>
                      <a:pt x="387" y="1191"/>
                      <a:pt x="389" y="1191"/>
                    </a:cubicBezTo>
                    <a:cubicBezTo>
                      <a:pt x="390" y="1191"/>
                      <a:pt x="399" y="1195"/>
                      <a:pt x="399" y="1192"/>
                    </a:cubicBezTo>
                    <a:cubicBezTo>
                      <a:pt x="400" y="1190"/>
                      <a:pt x="395" y="1186"/>
                      <a:pt x="397" y="1186"/>
                    </a:cubicBezTo>
                    <a:cubicBezTo>
                      <a:pt x="402" y="1187"/>
                      <a:pt x="402" y="1191"/>
                      <a:pt x="410" y="1191"/>
                    </a:cubicBezTo>
                    <a:cubicBezTo>
                      <a:pt x="411" y="1191"/>
                      <a:pt x="417" y="1188"/>
                      <a:pt x="417" y="1190"/>
                    </a:cubicBezTo>
                    <a:cubicBezTo>
                      <a:pt x="417" y="1195"/>
                      <a:pt x="385" y="1190"/>
                      <a:pt x="388" y="1202"/>
                    </a:cubicBezTo>
                    <a:cubicBezTo>
                      <a:pt x="389" y="1208"/>
                      <a:pt x="405" y="1204"/>
                      <a:pt x="410" y="1203"/>
                    </a:cubicBezTo>
                    <a:cubicBezTo>
                      <a:pt x="412" y="1203"/>
                      <a:pt x="416" y="1198"/>
                      <a:pt x="416" y="1200"/>
                    </a:cubicBezTo>
                    <a:cubicBezTo>
                      <a:pt x="417" y="1206"/>
                      <a:pt x="399" y="1206"/>
                      <a:pt x="396" y="1207"/>
                    </a:cubicBezTo>
                    <a:cubicBezTo>
                      <a:pt x="390" y="1209"/>
                      <a:pt x="387" y="1219"/>
                      <a:pt x="382" y="1217"/>
                    </a:cubicBezTo>
                    <a:cubicBezTo>
                      <a:pt x="381" y="1217"/>
                      <a:pt x="390" y="1191"/>
                      <a:pt x="374" y="1191"/>
                    </a:cubicBezTo>
                    <a:cubicBezTo>
                      <a:pt x="371" y="1191"/>
                      <a:pt x="369" y="1201"/>
                      <a:pt x="363" y="1201"/>
                    </a:cubicBezTo>
                    <a:cubicBezTo>
                      <a:pt x="360" y="1202"/>
                      <a:pt x="345" y="1193"/>
                      <a:pt x="341" y="1201"/>
                    </a:cubicBezTo>
                    <a:cubicBezTo>
                      <a:pt x="339" y="1205"/>
                      <a:pt x="355" y="1206"/>
                      <a:pt x="352" y="1210"/>
                    </a:cubicBezTo>
                    <a:cubicBezTo>
                      <a:pt x="346" y="1216"/>
                      <a:pt x="332" y="1211"/>
                      <a:pt x="327" y="1217"/>
                    </a:cubicBezTo>
                    <a:cubicBezTo>
                      <a:pt x="326" y="1217"/>
                      <a:pt x="331" y="1218"/>
                      <a:pt x="331" y="1219"/>
                    </a:cubicBezTo>
                    <a:cubicBezTo>
                      <a:pt x="342" y="1231"/>
                      <a:pt x="344" y="1229"/>
                      <a:pt x="363" y="1229"/>
                    </a:cubicBezTo>
                    <a:cubicBezTo>
                      <a:pt x="364" y="1229"/>
                      <a:pt x="366" y="1229"/>
                      <a:pt x="367" y="1229"/>
                    </a:cubicBezTo>
                    <a:cubicBezTo>
                      <a:pt x="367" y="1229"/>
                      <a:pt x="368" y="1229"/>
                      <a:pt x="368" y="1229"/>
                    </a:cubicBezTo>
                    <a:cubicBezTo>
                      <a:pt x="369" y="1229"/>
                      <a:pt x="367" y="1230"/>
                      <a:pt x="367" y="1230"/>
                    </a:cubicBezTo>
                    <a:cubicBezTo>
                      <a:pt x="361" y="1230"/>
                      <a:pt x="337" y="1231"/>
                      <a:pt x="335" y="1236"/>
                    </a:cubicBezTo>
                    <a:cubicBezTo>
                      <a:pt x="333" y="1241"/>
                      <a:pt x="343" y="1240"/>
                      <a:pt x="341" y="1244"/>
                    </a:cubicBezTo>
                    <a:cubicBezTo>
                      <a:pt x="341" y="1245"/>
                      <a:pt x="339" y="1243"/>
                      <a:pt x="338" y="1242"/>
                    </a:cubicBezTo>
                    <a:cubicBezTo>
                      <a:pt x="333" y="1239"/>
                      <a:pt x="311" y="1235"/>
                      <a:pt x="306" y="1239"/>
                    </a:cubicBezTo>
                    <a:cubicBezTo>
                      <a:pt x="302" y="1241"/>
                      <a:pt x="315" y="1248"/>
                      <a:pt x="311" y="1249"/>
                    </a:cubicBezTo>
                    <a:cubicBezTo>
                      <a:pt x="306" y="1250"/>
                      <a:pt x="300" y="1238"/>
                      <a:pt x="298" y="1242"/>
                    </a:cubicBezTo>
                    <a:cubicBezTo>
                      <a:pt x="293" y="1258"/>
                      <a:pt x="326" y="1257"/>
                      <a:pt x="326" y="1257"/>
                    </a:cubicBezTo>
                    <a:cubicBezTo>
                      <a:pt x="327" y="1260"/>
                      <a:pt x="313" y="1258"/>
                      <a:pt x="313" y="1261"/>
                    </a:cubicBezTo>
                    <a:cubicBezTo>
                      <a:pt x="313" y="1262"/>
                      <a:pt x="315" y="1262"/>
                      <a:pt x="316" y="1262"/>
                    </a:cubicBezTo>
                    <a:cubicBezTo>
                      <a:pt x="319" y="1264"/>
                      <a:pt x="336" y="1257"/>
                      <a:pt x="337" y="1257"/>
                    </a:cubicBezTo>
                    <a:cubicBezTo>
                      <a:pt x="337" y="1258"/>
                      <a:pt x="330" y="1261"/>
                      <a:pt x="330" y="1263"/>
                    </a:cubicBezTo>
                    <a:cubicBezTo>
                      <a:pt x="330" y="1265"/>
                      <a:pt x="346" y="1260"/>
                      <a:pt x="343" y="1264"/>
                    </a:cubicBezTo>
                    <a:cubicBezTo>
                      <a:pt x="340" y="1270"/>
                      <a:pt x="324" y="1262"/>
                      <a:pt x="321" y="1267"/>
                    </a:cubicBezTo>
                    <a:cubicBezTo>
                      <a:pt x="319" y="1272"/>
                      <a:pt x="350" y="1284"/>
                      <a:pt x="347" y="1287"/>
                    </a:cubicBezTo>
                    <a:cubicBezTo>
                      <a:pt x="344" y="1288"/>
                      <a:pt x="326" y="1270"/>
                      <a:pt x="323" y="1276"/>
                    </a:cubicBezTo>
                    <a:cubicBezTo>
                      <a:pt x="322" y="1278"/>
                      <a:pt x="335" y="1279"/>
                      <a:pt x="332" y="1283"/>
                    </a:cubicBezTo>
                    <a:cubicBezTo>
                      <a:pt x="330" y="1286"/>
                      <a:pt x="321" y="1277"/>
                      <a:pt x="319" y="1277"/>
                    </a:cubicBezTo>
                    <a:cubicBezTo>
                      <a:pt x="310" y="1276"/>
                      <a:pt x="293" y="1223"/>
                      <a:pt x="273" y="1259"/>
                    </a:cubicBezTo>
                    <a:cubicBezTo>
                      <a:pt x="272" y="1261"/>
                      <a:pt x="281" y="1254"/>
                      <a:pt x="283" y="1257"/>
                    </a:cubicBezTo>
                    <a:cubicBezTo>
                      <a:pt x="300" y="1280"/>
                      <a:pt x="308" y="1283"/>
                      <a:pt x="333" y="1302"/>
                    </a:cubicBezTo>
                    <a:cubicBezTo>
                      <a:pt x="335" y="1303"/>
                      <a:pt x="335" y="1304"/>
                      <a:pt x="335" y="1306"/>
                    </a:cubicBezTo>
                    <a:cubicBezTo>
                      <a:pt x="335" y="1308"/>
                      <a:pt x="335" y="1310"/>
                      <a:pt x="333" y="1311"/>
                    </a:cubicBezTo>
                    <a:cubicBezTo>
                      <a:pt x="331" y="1313"/>
                      <a:pt x="331" y="1306"/>
                      <a:pt x="329" y="1304"/>
                    </a:cubicBezTo>
                    <a:cubicBezTo>
                      <a:pt x="323" y="1297"/>
                      <a:pt x="305" y="1296"/>
                      <a:pt x="299" y="1288"/>
                    </a:cubicBezTo>
                    <a:cubicBezTo>
                      <a:pt x="292" y="1281"/>
                      <a:pt x="297" y="1271"/>
                      <a:pt x="286" y="1265"/>
                    </a:cubicBezTo>
                    <a:cubicBezTo>
                      <a:pt x="277" y="1260"/>
                      <a:pt x="265" y="1274"/>
                      <a:pt x="255" y="1274"/>
                    </a:cubicBezTo>
                    <a:cubicBezTo>
                      <a:pt x="253" y="1274"/>
                      <a:pt x="267" y="1267"/>
                      <a:pt x="265" y="1264"/>
                    </a:cubicBezTo>
                    <a:cubicBezTo>
                      <a:pt x="257" y="1257"/>
                      <a:pt x="245" y="1272"/>
                      <a:pt x="237" y="1273"/>
                    </a:cubicBezTo>
                    <a:cubicBezTo>
                      <a:pt x="233" y="1274"/>
                      <a:pt x="225" y="1260"/>
                      <a:pt x="219" y="1258"/>
                    </a:cubicBezTo>
                    <a:cubicBezTo>
                      <a:pt x="214" y="1257"/>
                      <a:pt x="187" y="1268"/>
                      <a:pt x="185" y="1273"/>
                    </a:cubicBezTo>
                    <a:cubicBezTo>
                      <a:pt x="181" y="1278"/>
                      <a:pt x="212" y="1285"/>
                      <a:pt x="214" y="1288"/>
                    </a:cubicBezTo>
                    <a:cubicBezTo>
                      <a:pt x="214" y="1288"/>
                      <a:pt x="213" y="1289"/>
                      <a:pt x="212" y="1288"/>
                    </a:cubicBezTo>
                    <a:cubicBezTo>
                      <a:pt x="199" y="1287"/>
                      <a:pt x="190" y="1288"/>
                      <a:pt x="191" y="1301"/>
                    </a:cubicBezTo>
                    <a:cubicBezTo>
                      <a:pt x="191" y="1302"/>
                      <a:pt x="198" y="1301"/>
                      <a:pt x="199" y="1300"/>
                    </a:cubicBezTo>
                    <a:cubicBezTo>
                      <a:pt x="207" y="1299"/>
                      <a:pt x="251" y="1286"/>
                      <a:pt x="256" y="1291"/>
                    </a:cubicBezTo>
                    <a:cubicBezTo>
                      <a:pt x="258" y="1293"/>
                      <a:pt x="250" y="1292"/>
                      <a:pt x="247" y="1293"/>
                    </a:cubicBezTo>
                    <a:cubicBezTo>
                      <a:pt x="236" y="1294"/>
                      <a:pt x="225" y="1306"/>
                      <a:pt x="228" y="1307"/>
                    </a:cubicBezTo>
                    <a:cubicBezTo>
                      <a:pt x="237" y="1311"/>
                      <a:pt x="286" y="1289"/>
                      <a:pt x="291" y="1293"/>
                    </a:cubicBezTo>
                    <a:cubicBezTo>
                      <a:pt x="291" y="1294"/>
                      <a:pt x="286" y="1297"/>
                      <a:pt x="291" y="1299"/>
                    </a:cubicBezTo>
                    <a:cubicBezTo>
                      <a:pt x="293" y="1300"/>
                      <a:pt x="299" y="1303"/>
                      <a:pt x="297" y="1306"/>
                    </a:cubicBezTo>
                    <a:cubicBezTo>
                      <a:pt x="297" y="1307"/>
                      <a:pt x="290" y="1302"/>
                      <a:pt x="288" y="1301"/>
                    </a:cubicBezTo>
                    <a:cubicBezTo>
                      <a:pt x="283" y="1299"/>
                      <a:pt x="244" y="1299"/>
                      <a:pt x="240" y="1311"/>
                    </a:cubicBezTo>
                    <a:cubicBezTo>
                      <a:pt x="239" y="1312"/>
                      <a:pt x="239" y="1313"/>
                      <a:pt x="239" y="1315"/>
                    </a:cubicBezTo>
                    <a:cubicBezTo>
                      <a:pt x="240" y="1316"/>
                      <a:pt x="240" y="1318"/>
                      <a:pt x="240" y="1320"/>
                    </a:cubicBezTo>
                    <a:cubicBezTo>
                      <a:pt x="240" y="1321"/>
                      <a:pt x="240" y="1322"/>
                      <a:pt x="240" y="1321"/>
                    </a:cubicBezTo>
                    <a:cubicBezTo>
                      <a:pt x="239" y="1321"/>
                      <a:pt x="239" y="1320"/>
                      <a:pt x="240" y="1320"/>
                    </a:cubicBezTo>
                    <a:cubicBezTo>
                      <a:pt x="239" y="1319"/>
                      <a:pt x="239" y="1317"/>
                      <a:pt x="239" y="1315"/>
                    </a:cubicBezTo>
                    <a:cubicBezTo>
                      <a:pt x="239" y="1315"/>
                      <a:pt x="239" y="1315"/>
                      <a:pt x="239" y="1314"/>
                    </a:cubicBezTo>
                    <a:cubicBezTo>
                      <a:pt x="232" y="1309"/>
                      <a:pt x="232" y="1319"/>
                      <a:pt x="235" y="1323"/>
                    </a:cubicBezTo>
                    <a:cubicBezTo>
                      <a:pt x="240" y="1328"/>
                      <a:pt x="250" y="1324"/>
                      <a:pt x="256" y="1323"/>
                    </a:cubicBezTo>
                    <a:cubicBezTo>
                      <a:pt x="259" y="1322"/>
                      <a:pt x="267" y="1322"/>
                      <a:pt x="265" y="1323"/>
                    </a:cubicBezTo>
                    <a:cubicBezTo>
                      <a:pt x="260" y="1325"/>
                      <a:pt x="250" y="1324"/>
                      <a:pt x="246" y="1327"/>
                    </a:cubicBezTo>
                    <a:cubicBezTo>
                      <a:pt x="245" y="1328"/>
                      <a:pt x="246" y="1334"/>
                      <a:pt x="243" y="1334"/>
                    </a:cubicBezTo>
                    <a:cubicBezTo>
                      <a:pt x="236" y="1334"/>
                      <a:pt x="223" y="1314"/>
                      <a:pt x="209" y="1315"/>
                    </a:cubicBezTo>
                    <a:cubicBezTo>
                      <a:pt x="204" y="1316"/>
                      <a:pt x="211" y="1327"/>
                      <a:pt x="207" y="1330"/>
                    </a:cubicBezTo>
                    <a:cubicBezTo>
                      <a:pt x="204" y="1331"/>
                      <a:pt x="206" y="1324"/>
                      <a:pt x="205" y="1321"/>
                    </a:cubicBezTo>
                    <a:cubicBezTo>
                      <a:pt x="203" y="1317"/>
                      <a:pt x="200" y="1312"/>
                      <a:pt x="198" y="1312"/>
                    </a:cubicBezTo>
                    <a:cubicBezTo>
                      <a:pt x="186" y="1313"/>
                      <a:pt x="186" y="1322"/>
                      <a:pt x="186" y="1321"/>
                    </a:cubicBezTo>
                    <a:cubicBezTo>
                      <a:pt x="186" y="1319"/>
                      <a:pt x="182" y="1317"/>
                      <a:pt x="181" y="1316"/>
                    </a:cubicBezTo>
                    <a:cubicBezTo>
                      <a:pt x="178" y="1314"/>
                      <a:pt x="174" y="1310"/>
                      <a:pt x="171" y="1312"/>
                    </a:cubicBezTo>
                    <a:cubicBezTo>
                      <a:pt x="162" y="1319"/>
                      <a:pt x="166" y="1320"/>
                      <a:pt x="160" y="1325"/>
                    </a:cubicBezTo>
                    <a:cubicBezTo>
                      <a:pt x="159" y="1326"/>
                      <a:pt x="158" y="1322"/>
                      <a:pt x="157" y="1320"/>
                    </a:cubicBezTo>
                    <a:cubicBezTo>
                      <a:pt x="154" y="1316"/>
                      <a:pt x="137" y="1317"/>
                      <a:pt x="132" y="1320"/>
                    </a:cubicBezTo>
                    <a:cubicBezTo>
                      <a:pt x="131" y="1320"/>
                      <a:pt x="128" y="1322"/>
                      <a:pt x="128" y="1323"/>
                    </a:cubicBezTo>
                    <a:cubicBezTo>
                      <a:pt x="126" y="1330"/>
                      <a:pt x="143" y="1334"/>
                      <a:pt x="158" y="1332"/>
                    </a:cubicBezTo>
                    <a:cubicBezTo>
                      <a:pt x="160" y="1332"/>
                      <a:pt x="166" y="1335"/>
                      <a:pt x="166" y="1335"/>
                    </a:cubicBezTo>
                    <a:cubicBezTo>
                      <a:pt x="161" y="1341"/>
                      <a:pt x="133" y="1331"/>
                      <a:pt x="126" y="1340"/>
                    </a:cubicBezTo>
                    <a:cubicBezTo>
                      <a:pt x="123" y="1343"/>
                      <a:pt x="133" y="1342"/>
                      <a:pt x="137" y="1344"/>
                    </a:cubicBezTo>
                    <a:cubicBezTo>
                      <a:pt x="148" y="1350"/>
                      <a:pt x="158" y="1336"/>
                      <a:pt x="168" y="1337"/>
                    </a:cubicBezTo>
                    <a:cubicBezTo>
                      <a:pt x="192" y="1341"/>
                      <a:pt x="187" y="1359"/>
                      <a:pt x="193" y="1362"/>
                    </a:cubicBezTo>
                    <a:cubicBezTo>
                      <a:pt x="203" y="1366"/>
                      <a:pt x="221" y="1361"/>
                      <a:pt x="228" y="1368"/>
                    </a:cubicBezTo>
                    <a:cubicBezTo>
                      <a:pt x="229" y="1369"/>
                      <a:pt x="233" y="1373"/>
                      <a:pt x="232" y="1374"/>
                    </a:cubicBezTo>
                    <a:cubicBezTo>
                      <a:pt x="231" y="1375"/>
                      <a:pt x="229" y="1372"/>
                      <a:pt x="228" y="1371"/>
                    </a:cubicBezTo>
                    <a:cubicBezTo>
                      <a:pt x="226" y="1368"/>
                      <a:pt x="201" y="1365"/>
                      <a:pt x="198" y="1368"/>
                    </a:cubicBezTo>
                    <a:cubicBezTo>
                      <a:pt x="196" y="1369"/>
                      <a:pt x="198" y="1373"/>
                      <a:pt x="198" y="1375"/>
                    </a:cubicBezTo>
                    <a:cubicBezTo>
                      <a:pt x="199" y="1379"/>
                      <a:pt x="188" y="1401"/>
                      <a:pt x="202" y="1392"/>
                    </a:cubicBezTo>
                    <a:cubicBezTo>
                      <a:pt x="208" y="1387"/>
                      <a:pt x="212" y="1393"/>
                      <a:pt x="210" y="1392"/>
                    </a:cubicBezTo>
                    <a:cubicBezTo>
                      <a:pt x="204" y="1388"/>
                      <a:pt x="199" y="1399"/>
                      <a:pt x="192" y="1394"/>
                    </a:cubicBezTo>
                    <a:cubicBezTo>
                      <a:pt x="191" y="1393"/>
                      <a:pt x="198" y="1338"/>
                      <a:pt x="168" y="1342"/>
                    </a:cubicBezTo>
                    <a:cubicBezTo>
                      <a:pt x="157" y="1343"/>
                      <a:pt x="158" y="1355"/>
                      <a:pt x="157" y="1355"/>
                    </a:cubicBezTo>
                    <a:cubicBezTo>
                      <a:pt x="155" y="1356"/>
                      <a:pt x="144" y="1341"/>
                      <a:pt x="141" y="1353"/>
                    </a:cubicBezTo>
                    <a:cubicBezTo>
                      <a:pt x="138" y="1360"/>
                      <a:pt x="148" y="1368"/>
                      <a:pt x="152" y="1374"/>
                    </a:cubicBezTo>
                    <a:cubicBezTo>
                      <a:pt x="153" y="1376"/>
                      <a:pt x="154" y="1378"/>
                      <a:pt x="154" y="1381"/>
                    </a:cubicBezTo>
                    <a:cubicBezTo>
                      <a:pt x="156" y="1384"/>
                      <a:pt x="156" y="1386"/>
                      <a:pt x="156" y="1387"/>
                    </a:cubicBezTo>
                    <a:cubicBezTo>
                      <a:pt x="156" y="1388"/>
                      <a:pt x="155" y="1389"/>
                      <a:pt x="154" y="1389"/>
                    </a:cubicBezTo>
                    <a:cubicBezTo>
                      <a:pt x="154" y="1391"/>
                      <a:pt x="153" y="1392"/>
                      <a:pt x="153" y="1392"/>
                    </a:cubicBezTo>
                    <a:cubicBezTo>
                      <a:pt x="153" y="1391"/>
                      <a:pt x="153" y="1390"/>
                      <a:pt x="154" y="1389"/>
                    </a:cubicBezTo>
                    <a:cubicBezTo>
                      <a:pt x="154" y="1387"/>
                      <a:pt x="154" y="1384"/>
                      <a:pt x="154" y="1381"/>
                    </a:cubicBezTo>
                    <a:cubicBezTo>
                      <a:pt x="149" y="1371"/>
                      <a:pt x="136" y="1354"/>
                      <a:pt x="134" y="1353"/>
                    </a:cubicBezTo>
                    <a:cubicBezTo>
                      <a:pt x="130" y="1351"/>
                      <a:pt x="102" y="1365"/>
                      <a:pt x="101" y="1370"/>
                    </a:cubicBezTo>
                    <a:cubicBezTo>
                      <a:pt x="100" y="1374"/>
                      <a:pt x="113" y="1378"/>
                      <a:pt x="110" y="1378"/>
                    </a:cubicBezTo>
                    <a:cubicBezTo>
                      <a:pt x="95" y="1379"/>
                      <a:pt x="101" y="1379"/>
                      <a:pt x="113" y="1391"/>
                    </a:cubicBezTo>
                    <a:cubicBezTo>
                      <a:pt x="115" y="1393"/>
                      <a:pt x="140" y="1396"/>
                      <a:pt x="138" y="1399"/>
                    </a:cubicBezTo>
                    <a:cubicBezTo>
                      <a:pt x="138" y="1399"/>
                      <a:pt x="118" y="1396"/>
                      <a:pt x="108" y="1392"/>
                    </a:cubicBezTo>
                    <a:cubicBezTo>
                      <a:pt x="107" y="1391"/>
                      <a:pt x="105" y="1387"/>
                      <a:pt x="103" y="1387"/>
                    </a:cubicBezTo>
                    <a:cubicBezTo>
                      <a:pt x="96" y="1387"/>
                      <a:pt x="98" y="1408"/>
                      <a:pt x="92" y="1405"/>
                    </a:cubicBezTo>
                    <a:cubicBezTo>
                      <a:pt x="92" y="1404"/>
                      <a:pt x="100" y="1386"/>
                      <a:pt x="99" y="1382"/>
                    </a:cubicBezTo>
                    <a:cubicBezTo>
                      <a:pt x="97" y="1377"/>
                      <a:pt x="80" y="1380"/>
                      <a:pt x="77" y="1382"/>
                    </a:cubicBezTo>
                    <a:cubicBezTo>
                      <a:pt x="73" y="1385"/>
                      <a:pt x="88" y="1393"/>
                      <a:pt x="83" y="1395"/>
                    </a:cubicBezTo>
                    <a:cubicBezTo>
                      <a:pt x="78" y="1396"/>
                      <a:pt x="62" y="1370"/>
                      <a:pt x="54" y="1382"/>
                    </a:cubicBezTo>
                    <a:cubicBezTo>
                      <a:pt x="42" y="1397"/>
                      <a:pt x="71" y="1391"/>
                      <a:pt x="70" y="1397"/>
                    </a:cubicBezTo>
                    <a:cubicBezTo>
                      <a:pt x="69" y="1400"/>
                      <a:pt x="64" y="1398"/>
                      <a:pt x="62" y="1400"/>
                    </a:cubicBezTo>
                    <a:cubicBezTo>
                      <a:pt x="62" y="1401"/>
                      <a:pt x="60" y="1407"/>
                      <a:pt x="58" y="1406"/>
                    </a:cubicBezTo>
                    <a:cubicBezTo>
                      <a:pt x="56" y="1406"/>
                      <a:pt x="43" y="1384"/>
                      <a:pt x="41" y="1383"/>
                    </a:cubicBezTo>
                    <a:cubicBezTo>
                      <a:pt x="39" y="1382"/>
                      <a:pt x="29" y="1373"/>
                      <a:pt x="30" y="1378"/>
                    </a:cubicBezTo>
                    <a:cubicBezTo>
                      <a:pt x="30" y="1382"/>
                      <a:pt x="23" y="1377"/>
                      <a:pt x="24" y="1381"/>
                    </a:cubicBezTo>
                    <a:cubicBezTo>
                      <a:pt x="26" y="1397"/>
                      <a:pt x="43" y="1389"/>
                      <a:pt x="53" y="1404"/>
                    </a:cubicBezTo>
                    <a:cubicBezTo>
                      <a:pt x="54" y="1407"/>
                      <a:pt x="47" y="1405"/>
                      <a:pt x="46" y="1404"/>
                    </a:cubicBezTo>
                    <a:cubicBezTo>
                      <a:pt x="44" y="1404"/>
                      <a:pt x="40" y="1414"/>
                      <a:pt x="38" y="1415"/>
                    </a:cubicBezTo>
                    <a:cubicBezTo>
                      <a:pt x="36" y="1415"/>
                      <a:pt x="29" y="1408"/>
                      <a:pt x="29" y="1414"/>
                    </a:cubicBezTo>
                    <a:cubicBezTo>
                      <a:pt x="29" y="1416"/>
                      <a:pt x="25" y="1419"/>
                      <a:pt x="26" y="1420"/>
                    </a:cubicBezTo>
                    <a:cubicBezTo>
                      <a:pt x="28" y="1423"/>
                      <a:pt x="91" y="1413"/>
                      <a:pt x="102" y="1420"/>
                    </a:cubicBezTo>
                    <a:cubicBezTo>
                      <a:pt x="104" y="1421"/>
                      <a:pt x="97" y="1422"/>
                      <a:pt x="96" y="1422"/>
                    </a:cubicBezTo>
                    <a:cubicBezTo>
                      <a:pt x="91" y="1422"/>
                      <a:pt x="74" y="1424"/>
                      <a:pt x="87" y="1428"/>
                    </a:cubicBezTo>
                    <a:cubicBezTo>
                      <a:pt x="89" y="1429"/>
                      <a:pt x="144" y="1433"/>
                      <a:pt x="150" y="1433"/>
                    </a:cubicBezTo>
                    <a:cubicBezTo>
                      <a:pt x="151" y="1433"/>
                      <a:pt x="153" y="1432"/>
                      <a:pt x="154" y="1431"/>
                    </a:cubicBezTo>
                    <a:cubicBezTo>
                      <a:pt x="156" y="1429"/>
                      <a:pt x="157" y="1427"/>
                      <a:pt x="161" y="1426"/>
                    </a:cubicBezTo>
                    <a:cubicBezTo>
                      <a:pt x="162" y="1426"/>
                      <a:pt x="162" y="1426"/>
                      <a:pt x="163" y="1426"/>
                    </a:cubicBezTo>
                    <a:cubicBezTo>
                      <a:pt x="165" y="1426"/>
                      <a:pt x="167" y="1425"/>
                      <a:pt x="170" y="1426"/>
                    </a:cubicBezTo>
                    <a:cubicBezTo>
                      <a:pt x="171" y="1426"/>
                      <a:pt x="179" y="1427"/>
                      <a:pt x="179" y="1427"/>
                    </a:cubicBezTo>
                    <a:cubicBezTo>
                      <a:pt x="178" y="1433"/>
                      <a:pt x="169" y="1428"/>
                      <a:pt x="163" y="1426"/>
                    </a:cubicBezTo>
                    <a:cubicBezTo>
                      <a:pt x="160" y="1428"/>
                      <a:pt x="157" y="1430"/>
                      <a:pt x="154" y="1431"/>
                    </a:cubicBezTo>
                    <a:cubicBezTo>
                      <a:pt x="153" y="1434"/>
                      <a:pt x="151" y="1436"/>
                      <a:pt x="148" y="1436"/>
                    </a:cubicBezTo>
                    <a:cubicBezTo>
                      <a:pt x="139" y="1439"/>
                      <a:pt x="130" y="1431"/>
                      <a:pt x="119" y="1433"/>
                    </a:cubicBezTo>
                    <a:cubicBezTo>
                      <a:pt x="117" y="1433"/>
                      <a:pt x="115" y="1433"/>
                      <a:pt x="113" y="1433"/>
                    </a:cubicBezTo>
                    <a:cubicBezTo>
                      <a:pt x="113" y="1433"/>
                      <a:pt x="111" y="1432"/>
                      <a:pt x="111" y="1432"/>
                    </a:cubicBezTo>
                    <a:cubicBezTo>
                      <a:pt x="110" y="1434"/>
                      <a:pt x="123" y="1440"/>
                      <a:pt x="122" y="1442"/>
                    </a:cubicBezTo>
                    <a:cubicBezTo>
                      <a:pt x="115" y="1448"/>
                      <a:pt x="110" y="1430"/>
                      <a:pt x="103" y="1432"/>
                    </a:cubicBezTo>
                    <a:cubicBezTo>
                      <a:pt x="101" y="1433"/>
                      <a:pt x="102" y="1441"/>
                      <a:pt x="100" y="1443"/>
                    </a:cubicBezTo>
                    <a:cubicBezTo>
                      <a:pt x="94" y="1450"/>
                      <a:pt x="110" y="1425"/>
                      <a:pt x="91" y="1430"/>
                    </a:cubicBezTo>
                    <a:cubicBezTo>
                      <a:pt x="88" y="1431"/>
                      <a:pt x="85" y="1432"/>
                      <a:pt x="81" y="1432"/>
                    </a:cubicBezTo>
                    <a:cubicBezTo>
                      <a:pt x="77" y="1433"/>
                      <a:pt x="67" y="1434"/>
                      <a:pt x="77" y="1431"/>
                    </a:cubicBezTo>
                    <a:cubicBezTo>
                      <a:pt x="78" y="1431"/>
                      <a:pt x="83" y="1431"/>
                      <a:pt x="83" y="1430"/>
                    </a:cubicBezTo>
                    <a:cubicBezTo>
                      <a:pt x="86" y="1426"/>
                      <a:pt x="59" y="1421"/>
                      <a:pt x="58" y="1421"/>
                    </a:cubicBezTo>
                    <a:cubicBezTo>
                      <a:pt x="57" y="1421"/>
                      <a:pt x="57" y="1421"/>
                      <a:pt x="57" y="1421"/>
                    </a:cubicBezTo>
                    <a:cubicBezTo>
                      <a:pt x="56" y="1421"/>
                      <a:pt x="56" y="1421"/>
                      <a:pt x="56" y="1420"/>
                    </a:cubicBezTo>
                    <a:cubicBezTo>
                      <a:pt x="51" y="1420"/>
                      <a:pt x="38" y="1434"/>
                      <a:pt x="25" y="1440"/>
                    </a:cubicBezTo>
                    <a:cubicBezTo>
                      <a:pt x="25" y="1441"/>
                      <a:pt x="22" y="1441"/>
                      <a:pt x="22" y="1442"/>
                    </a:cubicBezTo>
                    <a:cubicBezTo>
                      <a:pt x="22" y="1445"/>
                      <a:pt x="36" y="1440"/>
                      <a:pt x="37" y="1442"/>
                    </a:cubicBezTo>
                    <a:cubicBezTo>
                      <a:pt x="40" y="1444"/>
                      <a:pt x="27" y="1442"/>
                      <a:pt x="28" y="1445"/>
                    </a:cubicBezTo>
                    <a:cubicBezTo>
                      <a:pt x="31" y="1450"/>
                      <a:pt x="0" y="1444"/>
                      <a:pt x="14" y="1461"/>
                    </a:cubicBezTo>
                    <a:cubicBezTo>
                      <a:pt x="15" y="1463"/>
                      <a:pt x="37" y="1462"/>
                      <a:pt x="39" y="1461"/>
                    </a:cubicBezTo>
                    <a:cubicBezTo>
                      <a:pt x="40" y="1461"/>
                      <a:pt x="49" y="1459"/>
                      <a:pt x="49" y="1460"/>
                    </a:cubicBezTo>
                    <a:cubicBezTo>
                      <a:pt x="48" y="1463"/>
                      <a:pt x="25" y="1463"/>
                      <a:pt x="26" y="1465"/>
                    </a:cubicBezTo>
                    <a:cubicBezTo>
                      <a:pt x="28" y="1475"/>
                      <a:pt x="50" y="1460"/>
                      <a:pt x="55" y="1468"/>
                    </a:cubicBezTo>
                    <a:cubicBezTo>
                      <a:pt x="56" y="1470"/>
                      <a:pt x="49" y="1470"/>
                      <a:pt x="49" y="1470"/>
                    </a:cubicBezTo>
                    <a:cubicBezTo>
                      <a:pt x="46" y="1470"/>
                      <a:pt x="40" y="1465"/>
                      <a:pt x="32" y="1471"/>
                    </a:cubicBezTo>
                    <a:cubicBezTo>
                      <a:pt x="27" y="1474"/>
                      <a:pt x="51" y="1468"/>
                      <a:pt x="48" y="1474"/>
                    </a:cubicBezTo>
                    <a:cubicBezTo>
                      <a:pt x="45" y="1478"/>
                      <a:pt x="27" y="1468"/>
                      <a:pt x="28" y="1476"/>
                    </a:cubicBezTo>
                    <a:cubicBezTo>
                      <a:pt x="31" y="1491"/>
                      <a:pt x="84" y="1479"/>
                      <a:pt x="85" y="1484"/>
                    </a:cubicBezTo>
                    <a:cubicBezTo>
                      <a:pt x="86" y="1485"/>
                      <a:pt x="90" y="1487"/>
                      <a:pt x="88" y="1488"/>
                    </a:cubicBezTo>
                    <a:cubicBezTo>
                      <a:pt x="87" y="1490"/>
                      <a:pt x="85" y="1488"/>
                      <a:pt x="84" y="1487"/>
                    </a:cubicBezTo>
                    <a:cubicBezTo>
                      <a:pt x="82" y="1480"/>
                      <a:pt x="64" y="1491"/>
                      <a:pt x="60" y="1490"/>
                    </a:cubicBezTo>
                    <a:cubicBezTo>
                      <a:pt x="54" y="1490"/>
                      <a:pt x="18" y="1480"/>
                      <a:pt x="12" y="1493"/>
                    </a:cubicBezTo>
                    <a:cubicBezTo>
                      <a:pt x="11" y="1495"/>
                      <a:pt x="27" y="1492"/>
                      <a:pt x="28" y="1492"/>
                    </a:cubicBezTo>
                    <a:cubicBezTo>
                      <a:pt x="29" y="1496"/>
                      <a:pt x="8" y="1500"/>
                      <a:pt x="20" y="1507"/>
                    </a:cubicBezTo>
                    <a:cubicBezTo>
                      <a:pt x="25" y="1510"/>
                      <a:pt x="68" y="1487"/>
                      <a:pt x="73" y="1501"/>
                    </a:cubicBezTo>
                    <a:cubicBezTo>
                      <a:pt x="73" y="1501"/>
                      <a:pt x="71" y="1501"/>
                      <a:pt x="70" y="1501"/>
                    </a:cubicBezTo>
                    <a:cubicBezTo>
                      <a:pt x="69" y="1500"/>
                      <a:pt x="67" y="1501"/>
                      <a:pt x="66" y="1501"/>
                    </a:cubicBezTo>
                    <a:cubicBezTo>
                      <a:pt x="64" y="1501"/>
                      <a:pt x="41" y="1501"/>
                      <a:pt x="42" y="1505"/>
                    </a:cubicBezTo>
                    <a:cubicBezTo>
                      <a:pt x="42" y="1507"/>
                      <a:pt x="45" y="1506"/>
                      <a:pt x="46" y="1508"/>
                    </a:cubicBezTo>
                    <a:cubicBezTo>
                      <a:pt x="56" y="1524"/>
                      <a:pt x="41" y="1509"/>
                      <a:pt x="39" y="1507"/>
                    </a:cubicBezTo>
                    <a:cubicBezTo>
                      <a:pt x="38" y="1506"/>
                      <a:pt x="11" y="1513"/>
                      <a:pt x="12" y="1516"/>
                    </a:cubicBezTo>
                    <a:cubicBezTo>
                      <a:pt x="13" y="1519"/>
                      <a:pt x="19" y="1520"/>
                      <a:pt x="21" y="1518"/>
                    </a:cubicBezTo>
                    <a:cubicBezTo>
                      <a:pt x="23" y="1517"/>
                      <a:pt x="25" y="1520"/>
                      <a:pt x="34" y="1523"/>
                    </a:cubicBezTo>
                    <a:cubicBezTo>
                      <a:pt x="34" y="1523"/>
                      <a:pt x="39" y="1526"/>
                      <a:pt x="39" y="1527"/>
                    </a:cubicBezTo>
                    <a:cubicBezTo>
                      <a:pt x="39" y="1530"/>
                      <a:pt x="18" y="1525"/>
                      <a:pt x="21" y="1529"/>
                    </a:cubicBezTo>
                    <a:cubicBezTo>
                      <a:pt x="23" y="1534"/>
                      <a:pt x="30" y="1530"/>
                      <a:pt x="33" y="1531"/>
                    </a:cubicBezTo>
                    <a:cubicBezTo>
                      <a:pt x="42" y="1533"/>
                      <a:pt x="30" y="1534"/>
                      <a:pt x="32" y="1535"/>
                    </a:cubicBezTo>
                    <a:cubicBezTo>
                      <a:pt x="32" y="1535"/>
                      <a:pt x="50" y="1543"/>
                      <a:pt x="52" y="1543"/>
                    </a:cubicBezTo>
                    <a:cubicBezTo>
                      <a:pt x="67" y="1541"/>
                      <a:pt x="102" y="1520"/>
                      <a:pt x="109" y="1524"/>
                    </a:cubicBezTo>
                    <a:cubicBezTo>
                      <a:pt x="111" y="1525"/>
                      <a:pt x="102" y="1529"/>
                      <a:pt x="103" y="1530"/>
                    </a:cubicBezTo>
                    <a:cubicBezTo>
                      <a:pt x="108" y="1538"/>
                      <a:pt x="119" y="1526"/>
                      <a:pt x="122" y="1527"/>
                    </a:cubicBezTo>
                    <a:cubicBezTo>
                      <a:pt x="131" y="1530"/>
                      <a:pt x="136" y="1542"/>
                      <a:pt x="150" y="1534"/>
                    </a:cubicBezTo>
                    <a:cubicBezTo>
                      <a:pt x="156" y="1531"/>
                      <a:pt x="142" y="1520"/>
                      <a:pt x="157" y="1513"/>
                    </a:cubicBezTo>
                    <a:cubicBezTo>
                      <a:pt x="164" y="1509"/>
                      <a:pt x="163" y="1490"/>
                      <a:pt x="169" y="1495"/>
                    </a:cubicBezTo>
                    <a:cubicBezTo>
                      <a:pt x="175" y="1499"/>
                      <a:pt x="155" y="1518"/>
                      <a:pt x="156" y="1521"/>
                    </a:cubicBezTo>
                    <a:cubicBezTo>
                      <a:pt x="159" y="1532"/>
                      <a:pt x="193" y="1524"/>
                      <a:pt x="195" y="1527"/>
                    </a:cubicBezTo>
                    <a:cubicBezTo>
                      <a:pt x="197" y="1530"/>
                      <a:pt x="188" y="1531"/>
                      <a:pt x="188" y="1532"/>
                    </a:cubicBezTo>
                    <a:cubicBezTo>
                      <a:pt x="187" y="1534"/>
                      <a:pt x="191" y="1537"/>
                      <a:pt x="193" y="1536"/>
                    </a:cubicBezTo>
                    <a:cubicBezTo>
                      <a:pt x="199" y="1534"/>
                      <a:pt x="211" y="1527"/>
                      <a:pt x="215" y="1527"/>
                    </a:cubicBezTo>
                    <a:cubicBezTo>
                      <a:pt x="216" y="1527"/>
                      <a:pt x="227" y="1534"/>
                      <a:pt x="227" y="1526"/>
                    </a:cubicBezTo>
                    <a:cubicBezTo>
                      <a:pt x="227" y="1519"/>
                      <a:pt x="210" y="1497"/>
                      <a:pt x="222" y="1500"/>
                    </a:cubicBezTo>
                    <a:cubicBezTo>
                      <a:pt x="226" y="1501"/>
                      <a:pt x="244" y="1477"/>
                      <a:pt x="246" y="1483"/>
                    </a:cubicBezTo>
                    <a:cubicBezTo>
                      <a:pt x="247" y="1484"/>
                      <a:pt x="226" y="1502"/>
                      <a:pt x="225" y="1507"/>
                    </a:cubicBezTo>
                    <a:cubicBezTo>
                      <a:pt x="221" y="1530"/>
                      <a:pt x="253" y="1516"/>
                      <a:pt x="257" y="1520"/>
                    </a:cubicBezTo>
                    <a:cubicBezTo>
                      <a:pt x="257" y="1520"/>
                      <a:pt x="229" y="1529"/>
                      <a:pt x="226" y="1531"/>
                    </a:cubicBezTo>
                    <a:cubicBezTo>
                      <a:pt x="223" y="1533"/>
                      <a:pt x="236" y="1536"/>
                      <a:pt x="234" y="1539"/>
                    </a:cubicBezTo>
                    <a:cubicBezTo>
                      <a:pt x="232" y="1542"/>
                      <a:pt x="225" y="1536"/>
                      <a:pt x="223" y="1535"/>
                    </a:cubicBezTo>
                    <a:cubicBezTo>
                      <a:pt x="215" y="1532"/>
                      <a:pt x="214" y="1538"/>
                      <a:pt x="209" y="1537"/>
                    </a:cubicBezTo>
                    <a:cubicBezTo>
                      <a:pt x="207" y="1537"/>
                      <a:pt x="198" y="1538"/>
                      <a:pt x="196" y="1540"/>
                    </a:cubicBezTo>
                    <a:cubicBezTo>
                      <a:pt x="190" y="1546"/>
                      <a:pt x="211" y="1558"/>
                      <a:pt x="210" y="1566"/>
                    </a:cubicBezTo>
                    <a:cubicBezTo>
                      <a:pt x="210" y="1567"/>
                      <a:pt x="207" y="1575"/>
                      <a:pt x="204" y="1573"/>
                    </a:cubicBezTo>
                    <a:cubicBezTo>
                      <a:pt x="203" y="1573"/>
                      <a:pt x="209" y="1564"/>
                      <a:pt x="205" y="1562"/>
                    </a:cubicBezTo>
                    <a:cubicBezTo>
                      <a:pt x="194" y="1555"/>
                      <a:pt x="194" y="1564"/>
                      <a:pt x="184" y="1563"/>
                    </a:cubicBezTo>
                    <a:cubicBezTo>
                      <a:pt x="178" y="1562"/>
                      <a:pt x="195" y="1557"/>
                      <a:pt x="196" y="1552"/>
                    </a:cubicBezTo>
                    <a:cubicBezTo>
                      <a:pt x="196" y="1546"/>
                      <a:pt x="183" y="1534"/>
                      <a:pt x="180" y="1533"/>
                    </a:cubicBezTo>
                    <a:cubicBezTo>
                      <a:pt x="156" y="1521"/>
                      <a:pt x="154" y="1544"/>
                      <a:pt x="139" y="1552"/>
                    </a:cubicBezTo>
                    <a:cubicBezTo>
                      <a:pt x="135" y="1554"/>
                      <a:pt x="143" y="1543"/>
                      <a:pt x="135" y="1543"/>
                    </a:cubicBezTo>
                    <a:cubicBezTo>
                      <a:pt x="132" y="1544"/>
                      <a:pt x="131" y="1548"/>
                      <a:pt x="128" y="1547"/>
                    </a:cubicBezTo>
                    <a:cubicBezTo>
                      <a:pt x="126" y="1546"/>
                      <a:pt x="131" y="1543"/>
                      <a:pt x="130" y="1541"/>
                    </a:cubicBezTo>
                    <a:cubicBezTo>
                      <a:pt x="121" y="1526"/>
                      <a:pt x="88" y="1544"/>
                      <a:pt x="87" y="1544"/>
                    </a:cubicBezTo>
                    <a:cubicBezTo>
                      <a:pt x="85" y="1544"/>
                      <a:pt x="87" y="1541"/>
                      <a:pt x="87" y="1540"/>
                    </a:cubicBezTo>
                    <a:cubicBezTo>
                      <a:pt x="89" y="1534"/>
                      <a:pt x="77" y="1540"/>
                      <a:pt x="74" y="1540"/>
                    </a:cubicBezTo>
                    <a:cubicBezTo>
                      <a:pt x="69" y="1540"/>
                      <a:pt x="70" y="1542"/>
                      <a:pt x="73" y="1543"/>
                    </a:cubicBezTo>
                    <a:cubicBezTo>
                      <a:pt x="73" y="1544"/>
                      <a:pt x="62" y="1543"/>
                      <a:pt x="59" y="1545"/>
                    </a:cubicBezTo>
                    <a:cubicBezTo>
                      <a:pt x="56" y="1548"/>
                      <a:pt x="60" y="1552"/>
                      <a:pt x="58" y="1554"/>
                    </a:cubicBezTo>
                    <a:cubicBezTo>
                      <a:pt x="54" y="1557"/>
                      <a:pt x="16" y="1527"/>
                      <a:pt x="17" y="1554"/>
                    </a:cubicBezTo>
                    <a:cubicBezTo>
                      <a:pt x="17" y="1557"/>
                      <a:pt x="26" y="1559"/>
                      <a:pt x="28" y="1556"/>
                    </a:cubicBezTo>
                    <a:cubicBezTo>
                      <a:pt x="29" y="1553"/>
                      <a:pt x="24" y="1571"/>
                      <a:pt x="24" y="1570"/>
                    </a:cubicBezTo>
                    <a:cubicBezTo>
                      <a:pt x="18" y="1555"/>
                      <a:pt x="15" y="1558"/>
                      <a:pt x="20" y="1575"/>
                    </a:cubicBezTo>
                    <a:cubicBezTo>
                      <a:pt x="20" y="1575"/>
                      <a:pt x="21" y="1576"/>
                      <a:pt x="21" y="1577"/>
                    </a:cubicBezTo>
                    <a:cubicBezTo>
                      <a:pt x="31" y="1587"/>
                      <a:pt x="50" y="1566"/>
                      <a:pt x="64" y="1571"/>
                    </a:cubicBezTo>
                    <a:cubicBezTo>
                      <a:pt x="65" y="1572"/>
                      <a:pt x="54" y="1573"/>
                      <a:pt x="54" y="1573"/>
                    </a:cubicBezTo>
                    <a:cubicBezTo>
                      <a:pt x="52" y="1574"/>
                      <a:pt x="37" y="1584"/>
                      <a:pt x="38" y="1587"/>
                    </a:cubicBezTo>
                    <a:cubicBezTo>
                      <a:pt x="38" y="1591"/>
                      <a:pt x="47" y="1589"/>
                      <a:pt x="49" y="1591"/>
                    </a:cubicBezTo>
                    <a:cubicBezTo>
                      <a:pt x="51" y="1592"/>
                      <a:pt x="60" y="1606"/>
                      <a:pt x="53" y="1600"/>
                    </a:cubicBezTo>
                    <a:cubicBezTo>
                      <a:pt x="51" y="1598"/>
                      <a:pt x="48" y="1600"/>
                      <a:pt x="50" y="1602"/>
                    </a:cubicBezTo>
                    <a:cubicBezTo>
                      <a:pt x="55" y="1608"/>
                      <a:pt x="50" y="1606"/>
                      <a:pt x="49" y="1606"/>
                    </a:cubicBezTo>
                    <a:cubicBezTo>
                      <a:pt x="46" y="1607"/>
                      <a:pt x="35" y="1586"/>
                      <a:pt x="24" y="1586"/>
                    </a:cubicBezTo>
                    <a:cubicBezTo>
                      <a:pt x="19" y="1587"/>
                      <a:pt x="8" y="1578"/>
                      <a:pt x="10" y="1582"/>
                    </a:cubicBezTo>
                    <a:cubicBezTo>
                      <a:pt x="14" y="1589"/>
                      <a:pt x="24" y="1590"/>
                      <a:pt x="28" y="1594"/>
                    </a:cubicBezTo>
                    <a:cubicBezTo>
                      <a:pt x="33" y="1599"/>
                      <a:pt x="20" y="1593"/>
                      <a:pt x="27" y="1597"/>
                    </a:cubicBezTo>
                    <a:cubicBezTo>
                      <a:pt x="29" y="1599"/>
                      <a:pt x="37" y="1609"/>
                      <a:pt x="37" y="1609"/>
                    </a:cubicBezTo>
                    <a:cubicBezTo>
                      <a:pt x="33" y="1610"/>
                      <a:pt x="30" y="1602"/>
                      <a:pt x="27" y="1602"/>
                    </a:cubicBezTo>
                    <a:cubicBezTo>
                      <a:pt x="26" y="1602"/>
                      <a:pt x="25" y="1602"/>
                      <a:pt x="25" y="1603"/>
                    </a:cubicBezTo>
                    <a:cubicBezTo>
                      <a:pt x="21" y="1621"/>
                      <a:pt x="55" y="1613"/>
                      <a:pt x="63" y="1608"/>
                    </a:cubicBezTo>
                    <a:cubicBezTo>
                      <a:pt x="67" y="1605"/>
                      <a:pt x="61" y="1600"/>
                      <a:pt x="64" y="1598"/>
                    </a:cubicBezTo>
                    <a:cubicBezTo>
                      <a:pt x="79" y="1585"/>
                      <a:pt x="74" y="1597"/>
                      <a:pt x="83" y="1595"/>
                    </a:cubicBezTo>
                    <a:cubicBezTo>
                      <a:pt x="85" y="1594"/>
                      <a:pt x="81" y="1598"/>
                      <a:pt x="81" y="1600"/>
                    </a:cubicBezTo>
                    <a:cubicBezTo>
                      <a:pt x="80" y="1607"/>
                      <a:pt x="82" y="1620"/>
                      <a:pt x="80" y="1630"/>
                    </a:cubicBezTo>
                    <a:cubicBezTo>
                      <a:pt x="80" y="1633"/>
                      <a:pt x="77" y="1636"/>
                      <a:pt x="73" y="1638"/>
                    </a:cubicBezTo>
                    <a:cubicBezTo>
                      <a:pt x="57" y="1643"/>
                      <a:pt x="53" y="1628"/>
                      <a:pt x="42" y="1622"/>
                    </a:cubicBezTo>
                    <a:cubicBezTo>
                      <a:pt x="39" y="1620"/>
                      <a:pt x="35" y="1629"/>
                      <a:pt x="39" y="1632"/>
                    </a:cubicBezTo>
                    <a:cubicBezTo>
                      <a:pt x="42" y="1634"/>
                      <a:pt x="43" y="1638"/>
                      <a:pt x="43" y="1641"/>
                    </a:cubicBezTo>
                    <a:cubicBezTo>
                      <a:pt x="43" y="1646"/>
                      <a:pt x="28" y="1643"/>
                      <a:pt x="30" y="1648"/>
                    </a:cubicBezTo>
                    <a:cubicBezTo>
                      <a:pt x="30" y="1650"/>
                      <a:pt x="36" y="1652"/>
                      <a:pt x="34" y="1652"/>
                    </a:cubicBezTo>
                    <a:cubicBezTo>
                      <a:pt x="22" y="1651"/>
                      <a:pt x="44" y="1659"/>
                      <a:pt x="44" y="1659"/>
                    </a:cubicBezTo>
                    <a:cubicBezTo>
                      <a:pt x="46" y="1660"/>
                      <a:pt x="40" y="1664"/>
                      <a:pt x="39" y="1664"/>
                    </a:cubicBezTo>
                    <a:cubicBezTo>
                      <a:pt x="31" y="1670"/>
                      <a:pt x="46" y="1665"/>
                      <a:pt x="48" y="1666"/>
                    </a:cubicBezTo>
                    <a:cubicBezTo>
                      <a:pt x="49" y="1667"/>
                      <a:pt x="46" y="1679"/>
                      <a:pt x="53" y="1679"/>
                    </a:cubicBezTo>
                    <a:cubicBezTo>
                      <a:pt x="57" y="1679"/>
                      <a:pt x="58" y="1673"/>
                      <a:pt x="68" y="1654"/>
                    </a:cubicBezTo>
                    <a:cubicBezTo>
                      <a:pt x="73" y="1647"/>
                      <a:pt x="81" y="1640"/>
                      <a:pt x="82" y="1642"/>
                    </a:cubicBezTo>
                    <a:cubicBezTo>
                      <a:pt x="84" y="1644"/>
                      <a:pt x="66" y="1660"/>
                      <a:pt x="68" y="1663"/>
                    </a:cubicBezTo>
                    <a:cubicBezTo>
                      <a:pt x="68" y="1665"/>
                      <a:pt x="70" y="1660"/>
                      <a:pt x="72" y="1660"/>
                    </a:cubicBezTo>
                    <a:cubicBezTo>
                      <a:pt x="75" y="1660"/>
                      <a:pt x="72" y="1662"/>
                      <a:pt x="72" y="1663"/>
                    </a:cubicBezTo>
                    <a:cubicBezTo>
                      <a:pt x="68" y="1666"/>
                      <a:pt x="78" y="1662"/>
                      <a:pt x="80" y="1664"/>
                    </a:cubicBezTo>
                    <a:cubicBezTo>
                      <a:pt x="81" y="1664"/>
                      <a:pt x="75" y="1665"/>
                      <a:pt x="75" y="1665"/>
                    </a:cubicBezTo>
                    <a:cubicBezTo>
                      <a:pt x="71" y="1666"/>
                      <a:pt x="63" y="1675"/>
                      <a:pt x="66" y="1677"/>
                    </a:cubicBezTo>
                    <a:cubicBezTo>
                      <a:pt x="75" y="1681"/>
                      <a:pt x="80" y="1662"/>
                      <a:pt x="87" y="1667"/>
                    </a:cubicBezTo>
                    <a:cubicBezTo>
                      <a:pt x="87" y="1667"/>
                      <a:pt x="77" y="1672"/>
                      <a:pt x="80" y="1675"/>
                    </a:cubicBezTo>
                    <a:cubicBezTo>
                      <a:pt x="83" y="1680"/>
                      <a:pt x="77" y="1683"/>
                      <a:pt x="81" y="1686"/>
                    </a:cubicBezTo>
                    <a:cubicBezTo>
                      <a:pt x="81" y="1686"/>
                      <a:pt x="91" y="1682"/>
                      <a:pt x="87" y="1688"/>
                    </a:cubicBezTo>
                    <a:cubicBezTo>
                      <a:pt x="85" y="1689"/>
                      <a:pt x="82" y="1690"/>
                      <a:pt x="80" y="1689"/>
                    </a:cubicBezTo>
                    <a:cubicBezTo>
                      <a:pt x="76" y="1686"/>
                      <a:pt x="78" y="1695"/>
                      <a:pt x="80" y="1697"/>
                    </a:cubicBezTo>
                    <a:cubicBezTo>
                      <a:pt x="83" y="1698"/>
                      <a:pt x="84" y="1701"/>
                      <a:pt x="85" y="1697"/>
                    </a:cubicBezTo>
                    <a:cubicBezTo>
                      <a:pt x="85" y="1694"/>
                      <a:pt x="92" y="1699"/>
                      <a:pt x="95" y="1691"/>
                    </a:cubicBezTo>
                    <a:cubicBezTo>
                      <a:pt x="97" y="1686"/>
                      <a:pt x="90" y="1679"/>
                      <a:pt x="93" y="1674"/>
                    </a:cubicBezTo>
                    <a:cubicBezTo>
                      <a:pt x="96" y="1668"/>
                      <a:pt x="100" y="1661"/>
                      <a:pt x="106" y="1659"/>
                    </a:cubicBezTo>
                    <a:cubicBezTo>
                      <a:pt x="109" y="1658"/>
                      <a:pt x="114" y="1664"/>
                      <a:pt x="116" y="1662"/>
                    </a:cubicBezTo>
                    <a:cubicBezTo>
                      <a:pt x="117" y="1661"/>
                      <a:pt x="120" y="1658"/>
                      <a:pt x="120" y="1657"/>
                    </a:cubicBezTo>
                    <a:cubicBezTo>
                      <a:pt x="120" y="1655"/>
                      <a:pt x="123" y="1648"/>
                      <a:pt x="123" y="1647"/>
                    </a:cubicBezTo>
                    <a:cubicBezTo>
                      <a:pt x="122" y="1646"/>
                      <a:pt x="118" y="1646"/>
                      <a:pt x="117" y="1645"/>
                    </a:cubicBezTo>
                    <a:cubicBezTo>
                      <a:pt x="116" y="1644"/>
                      <a:pt x="125" y="1643"/>
                      <a:pt x="126" y="1643"/>
                    </a:cubicBezTo>
                    <a:cubicBezTo>
                      <a:pt x="128" y="1643"/>
                      <a:pt x="118" y="1631"/>
                      <a:pt x="122" y="1630"/>
                    </a:cubicBezTo>
                    <a:cubicBezTo>
                      <a:pt x="125" y="1629"/>
                      <a:pt x="129" y="1642"/>
                      <a:pt x="133" y="1641"/>
                    </a:cubicBezTo>
                    <a:cubicBezTo>
                      <a:pt x="141" y="1640"/>
                      <a:pt x="162" y="1621"/>
                      <a:pt x="167" y="1623"/>
                    </a:cubicBezTo>
                    <a:cubicBezTo>
                      <a:pt x="170" y="1624"/>
                      <a:pt x="151" y="1635"/>
                      <a:pt x="162" y="1636"/>
                    </a:cubicBezTo>
                    <a:cubicBezTo>
                      <a:pt x="170" y="1637"/>
                      <a:pt x="193" y="1610"/>
                      <a:pt x="196" y="1613"/>
                    </a:cubicBezTo>
                    <a:cubicBezTo>
                      <a:pt x="198" y="1614"/>
                      <a:pt x="186" y="1625"/>
                      <a:pt x="186" y="1625"/>
                    </a:cubicBezTo>
                    <a:cubicBezTo>
                      <a:pt x="187" y="1626"/>
                      <a:pt x="205" y="1625"/>
                      <a:pt x="205" y="1626"/>
                    </a:cubicBezTo>
                    <a:cubicBezTo>
                      <a:pt x="204" y="1632"/>
                      <a:pt x="192" y="1627"/>
                      <a:pt x="189" y="1628"/>
                    </a:cubicBezTo>
                    <a:cubicBezTo>
                      <a:pt x="175" y="1630"/>
                      <a:pt x="176" y="1636"/>
                      <a:pt x="166" y="1642"/>
                    </a:cubicBezTo>
                    <a:cubicBezTo>
                      <a:pt x="156" y="1648"/>
                      <a:pt x="160" y="1683"/>
                      <a:pt x="152" y="1686"/>
                    </a:cubicBezTo>
                    <a:cubicBezTo>
                      <a:pt x="151" y="1687"/>
                      <a:pt x="152" y="1673"/>
                      <a:pt x="152" y="1673"/>
                    </a:cubicBezTo>
                    <a:cubicBezTo>
                      <a:pt x="153" y="1664"/>
                      <a:pt x="164" y="1637"/>
                      <a:pt x="157" y="1636"/>
                    </a:cubicBezTo>
                    <a:cubicBezTo>
                      <a:pt x="148" y="1634"/>
                      <a:pt x="112" y="1667"/>
                      <a:pt x="112" y="1671"/>
                    </a:cubicBezTo>
                    <a:cubicBezTo>
                      <a:pt x="112" y="1689"/>
                      <a:pt x="135" y="1674"/>
                      <a:pt x="132" y="1680"/>
                    </a:cubicBezTo>
                    <a:cubicBezTo>
                      <a:pt x="131" y="1681"/>
                      <a:pt x="125" y="1682"/>
                      <a:pt x="124" y="1682"/>
                    </a:cubicBezTo>
                    <a:cubicBezTo>
                      <a:pt x="100" y="1689"/>
                      <a:pt x="110" y="1698"/>
                      <a:pt x="103" y="1704"/>
                    </a:cubicBezTo>
                    <a:cubicBezTo>
                      <a:pt x="100" y="1706"/>
                      <a:pt x="90" y="1706"/>
                      <a:pt x="85" y="1708"/>
                    </a:cubicBezTo>
                    <a:cubicBezTo>
                      <a:pt x="81" y="1710"/>
                      <a:pt x="85" y="1714"/>
                      <a:pt x="83" y="1716"/>
                    </a:cubicBezTo>
                    <a:cubicBezTo>
                      <a:pt x="82" y="1717"/>
                      <a:pt x="74" y="1718"/>
                      <a:pt x="74" y="1720"/>
                    </a:cubicBezTo>
                    <a:cubicBezTo>
                      <a:pt x="75" y="1722"/>
                      <a:pt x="78" y="1720"/>
                      <a:pt x="79" y="1719"/>
                    </a:cubicBezTo>
                    <a:cubicBezTo>
                      <a:pt x="81" y="1718"/>
                      <a:pt x="84" y="1731"/>
                      <a:pt x="92" y="1731"/>
                    </a:cubicBezTo>
                    <a:cubicBezTo>
                      <a:pt x="97" y="1730"/>
                      <a:pt x="101" y="1713"/>
                      <a:pt x="103" y="1718"/>
                    </a:cubicBezTo>
                    <a:cubicBezTo>
                      <a:pt x="104" y="1721"/>
                      <a:pt x="96" y="1731"/>
                      <a:pt x="105" y="1731"/>
                    </a:cubicBezTo>
                    <a:cubicBezTo>
                      <a:pt x="111" y="1730"/>
                      <a:pt x="127" y="1714"/>
                      <a:pt x="134" y="1718"/>
                    </a:cubicBezTo>
                    <a:cubicBezTo>
                      <a:pt x="134" y="1719"/>
                      <a:pt x="130" y="1722"/>
                      <a:pt x="117" y="1729"/>
                    </a:cubicBezTo>
                    <a:cubicBezTo>
                      <a:pt x="107" y="1736"/>
                      <a:pt x="84" y="1731"/>
                      <a:pt x="83" y="1743"/>
                    </a:cubicBezTo>
                    <a:cubicBezTo>
                      <a:pt x="83" y="1745"/>
                      <a:pt x="105" y="1746"/>
                      <a:pt x="91" y="1747"/>
                    </a:cubicBezTo>
                    <a:cubicBezTo>
                      <a:pt x="84" y="1748"/>
                      <a:pt x="86" y="1755"/>
                      <a:pt x="82" y="1754"/>
                    </a:cubicBezTo>
                    <a:cubicBezTo>
                      <a:pt x="82" y="1754"/>
                      <a:pt x="76" y="1742"/>
                      <a:pt x="68" y="1743"/>
                    </a:cubicBezTo>
                    <a:cubicBezTo>
                      <a:pt x="64" y="1744"/>
                      <a:pt x="64" y="1775"/>
                      <a:pt x="53" y="1768"/>
                    </a:cubicBezTo>
                    <a:cubicBezTo>
                      <a:pt x="49" y="1765"/>
                      <a:pt x="59" y="1761"/>
                      <a:pt x="60" y="1759"/>
                    </a:cubicBezTo>
                    <a:cubicBezTo>
                      <a:pt x="61" y="1756"/>
                      <a:pt x="62" y="1737"/>
                      <a:pt x="61" y="1736"/>
                    </a:cubicBezTo>
                    <a:cubicBezTo>
                      <a:pt x="60" y="1735"/>
                      <a:pt x="58" y="1737"/>
                      <a:pt x="58" y="1738"/>
                    </a:cubicBezTo>
                    <a:cubicBezTo>
                      <a:pt x="54" y="1742"/>
                      <a:pt x="59" y="1757"/>
                      <a:pt x="53" y="1756"/>
                    </a:cubicBezTo>
                    <a:cubicBezTo>
                      <a:pt x="51" y="1755"/>
                      <a:pt x="53" y="1748"/>
                      <a:pt x="50" y="1747"/>
                    </a:cubicBezTo>
                    <a:cubicBezTo>
                      <a:pt x="42" y="1743"/>
                      <a:pt x="44" y="1758"/>
                      <a:pt x="38" y="1766"/>
                    </a:cubicBezTo>
                    <a:cubicBezTo>
                      <a:pt x="37" y="1767"/>
                      <a:pt x="33" y="1764"/>
                      <a:pt x="33" y="1768"/>
                    </a:cubicBezTo>
                    <a:cubicBezTo>
                      <a:pt x="32" y="1772"/>
                      <a:pt x="40" y="1793"/>
                      <a:pt x="45" y="1792"/>
                    </a:cubicBezTo>
                    <a:cubicBezTo>
                      <a:pt x="47" y="1792"/>
                      <a:pt x="46" y="1789"/>
                      <a:pt x="46" y="1788"/>
                    </a:cubicBezTo>
                    <a:cubicBezTo>
                      <a:pt x="46" y="1779"/>
                      <a:pt x="50" y="1781"/>
                      <a:pt x="49" y="1789"/>
                    </a:cubicBezTo>
                    <a:cubicBezTo>
                      <a:pt x="49" y="1791"/>
                      <a:pt x="50" y="1799"/>
                      <a:pt x="52" y="1799"/>
                    </a:cubicBezTo>
                    <a:cubicBezTo>
                      <a:pt x="55" y="1799"/>
                      <a:pt x="50" y="1782"/>
                      <a:pt x="55" y="1782"/>
                    </a:cubicBezTo>
                    <a:cubicBezTo>
                      <a:pt x="59" y="1782"/>
                      <a:pt x="50" y="1806"/>
                      <a:pt x="63" y="1801"/>
                    </a:cubicBezTo>
                    <a:cubicBezTo>
                      <a:pt x="69" y="1798"/>
                      <a:pt x="61" y="1785"/>
                      <a:pt x="66" y="1781"/>
                    </a:cubicBezTo>
                    <a:cubicBezTo>
                      <a:pt x="77" y="1775"/>
                      <a:pt x="69" y="1798"/>
                      <a:pt x="71" y="1799"/>
                    </a:cubicBezTo>
                    <a:cubicBezTo>
                      <a:pt x="75" y="1802"/>
                      <a:pt x="79" y="1792"/>
                      <a:pt x="80" y="1792"/>
                    </a:cubicBezTo>
                    <a:cubicBezTo>
                      <a:pt x="82" y="1792"/>
                      <a:pt x="90" y="1794"/>
                      <a:pt x="92" y="1791"/>
                    </a:cubicBezTo>
                    <a:cubicBezTo>
                      <a:pt x="97" y="1783"/>
                      <a:pt x="84" y="1777"/>
                      <a:pt x="77" y="1781"/>
                    </a:cubicBezTo>
                    <a:cubicBezTo>
                      <a:pt x="77" y="1782"/>
                      <a:pt x="74" y="1784"/>
                      <a:pt x="74" y="1783"/>
                    </a:cubicBezTo>
                    <a:cubicBezTo>
                      <a:pt x="75" y="1774"/>
                      <a:pt x="84" y="1778"/>
                      <a:pt x="88" y="1774"/>
                    </a:cubicBezTo>
                    <a:cubicBezTo>
                      <a:pt x="92" y="1770"/>
                      <a:pt x="83" y="1767"/>
                      <a:pt x="89" y="1764"/>
                    </a:cubicBezTo>
                    <a:cubicBezTo>
                      <a:pt x="89" y="1764"/>
                      <a:pt x="96" y="1772"/>
                      <a:pt x="99" y="1772"/>
                    </a:cubicBezTo>
                    <a:cubicBezTo>
                      <a:pt x="102" y="1773"/>
                      <a:pt x="114" y="1769"/>
                      <a:pt x="116" y="1771"/>
                    </a:cubicBezTo>
                    <a:cubicBezTo>
                      <a:pt x="117" y="1772"/>
                      <a:pt x="114" y="1773"/>
                      <a:pt x="113" y="1774"/>
                    </a:cubicBezTo>
                    <a:cubicBezTo>
                      <a:pt x="109" y="1775"/>
                      <a:pt x="106" y="1776"/>
                      <a:pt x="102" y="1777"/>
                    </a:cubicBezTo>
                    <a:cubicBezTo>
                      <a:pt x="95" y="1778"/>
                      <a:pt x="92" y="1789"/>
                      <a:pt x="100" y="1790"/>
                    </a:cubicBezTo>
                    <a:cubicBezTo>
                      <a:pt x="107" y="1791"/>
                      <a:pt x="103" y="1781"/>
                      <a:pt x="105" y="1779"/>
                    </a:cubicBezTo>
                    <a:cubicBezTo>
                      <a:pt x="106" y="1777"/>
                      <a:pt x="106" y="1783"/>
                      <a:pt x="107" y="1783"/>
                    </a:cubicBezTo>
                    <a:cubicBezTo>
                      <a:pt x="112" y="1785"/>
                      <a:pt x="120" y="1775"/>
                      <a:pt x="123" y="1768"/>
                    </a:cubicBezTo>
                    <a:cubicBezTo>
                      <a:pt x="125" y="1765"/>
                      <a:pt x="130" y="1746"/>
                      <a:pt x="134" y="1747"/>
                    </a:cubicBezTo>
                    <a:cubicBezTo>
                      <a:pt x="140" y="1748"/>
                      <a:pt x="123" y="1764"/>
                      <a:pt x="129" y="1765"/>
                    </a:cubicBezTo>
                    <a:cubicBezTo>
                      <a:pt x="137" y="1767"/>
                      <a:pt x="145" y="1753"/>
                      <a:pt x="155" y="1760"/>
                    </a:cubicBezTo>
                    <a:cubicBezTo>
                      <a:pt x="155" y="1761"/>
                      <a:pt x="148" y="1761"/>
                      <a:pt x="148" y="1761"/>
                    </a:cubicBezTo>
                    <a:cubicBezTo>
                      <a:pt x="144" y="1761"/>
                      <a:pt x="138" y="1765"/>
                      <a:pt x="134" y="1767"/>
                    </a:cubicBezTo>
                    <a:cubicBezTo>
                      <a:pt x="131" y="1768"/>
                      <a:pt x="104" y="1789"/>
                      <a:pt x="106" y="1793"/>
                    </a:cubicBezTo>
                    <a:cubicBezTo>
                      <a:pt x="107" y="1796"/>
                      <a:pt x="111" y="1793"/>
                      <a:pt x="111" y="1791"/>
                    </a:cubicBezTo>
                    <a:cubicBezTo>
                      <a:pt x="111" y="1788"/>
                      <a:pt x="117" y="1794"/>
                      <a:pt x="121" y="1795"/>
                    </a:cubicBezTo>
                    <a:cubicBezTo>
                      <a:pt x="123" y="1795"/>
                      <a:pt x="123" y="1791"/>
                      <a:pt x="123" y="1789"/>
                    </a:cubicBezTo>
                    <a:cubicBezTo>
                      <a:pt x="123" y="1789"/>
                      <a:pt x="123" y="1789"/>
                      <a:pt x="123" y="1789"/>
                    </a:cubicBezTo>
                    <a:cubicBezTo>
                      <a:pt x="123" y="1789"/>
                      <a:pt x="123" y="1788"/>
                      <a:pt x="123" y="1788"/>
                    </a:cubicBezTo>
                    <a:cubicBezTo>
                      <a:pt x="123" y="1788"/>
                      <a:pt x="123" y="1788"/>
                      <a:pt x="123" y="1789"/>
                    </a:cubicBezTo>
                    <a:cubicBezTo>
                      <a:pt x="123" y="1790"/>
                      <a:pt x="123" y="1790"/>
                      <a:pt x="124" y="1791"/>
                    </a:cubicBezTo>
                    <a:cubicBezTo>
                      <a:pt x="128" y="1796"/>
                      <a:pt x="109" y="1802"/>
                      <a:pt x="117" y="1803"/>
                    </a:cubicBezTo>
                    <a:cubicBezTo>
                      <a:pt x="124" y="1804"/>
                      <a:pt x="140" y="1786"/>
                      <a:pt x="147" y="1794"/>
                    </a:cubicBezTo>
                    <a:cubicBezTo>
                      <a:pt x="150" y="1798"/>
                      <a:pt x="139" y="1794"/>
                      <a:pt x="135" y="1797"/>
                    </a:cubicBezTo>
                    <a:cubicBezTo>
                      <a:pt x="127" y="1804"/>
                      <a:pt x="114" y="1807"/>
                      <a:pt x="107" y="1817"/>
                    </a:cubicBezTo>
                    <a:cubicBezTo>
                      <a:pt x="102" y="1822"/>
                      <a:pt x="117" y="1818"/>
                      <a:pt x="117" y="1819"/>
                    </a:cubicBezTo>
                    <a:cubicBezTo>
                      <a:pt x="118" y="1820"/>
                      <a:pt x="94" y="1824"/>
                      <a:pt x="94" y="1830"/>
                    </a:cubicBezTo>
                    <a:cubicBezTo>
                      <a:pt x="94" y="1839"/>
                      <a:pt x="106" y="1836"/>
                      <a:pt x="110" y="1841"/>
                    </a:cubicBezTo>
                    <a:cubicBezTo>
                      <a:pt x="111" y="1842"/>
                      <a:pt x="107" y="1841"/>
                      <a:pt x="107" y="1841"/>
                    </a:cubicBezTo>
                    <a:cubicBezTo>
                      <a:pt x="101" y="1842"/>
                      <a:pt x="106" y="1850"/>
                      <a:pt x="107" y="1853"/>
                    </a:cubicBezTo>
                    <a:cubicBezTo>
                      <a:pt x="110" y="1856"/>
                      <a:pt x="111" y="1849"/>
                      <a:pt x="112" y="1846"/>
                    </a:cubicBezTo>
                    <a:cubicBezTo>
                      <a:pt x="117" y="1839"/>
                      <a:pt x="138" y="1835"/>
                      <a:pt x="146" y="1834"/>
                    </a:cubicBezTo>
                    <a:cubicBezTo>
                      <a:pt x="148" y="1834"/>
                      <a:pt x="162" y="1831"/>
                      <a:pt x="161" y="1833"/>
                    </a:cubicBezTo>
                    <a:cubicBezTo>
                      <a:pt x="158" y="1839"/>
                      <a:pt x="125" y="1841"/>
                      <a:pt x="117" y="1846"/>
                    </a:cubicBezTo>
                    <a:cubicBezTo>
                      <a:pt x="114" y="1848"/>
                      <a:pt x="110" y="1860"/>
                      <a:pt x="120" y="1862"/>
                    </a:cubicBezTo>
                    <a:cubicBezTo>
                      <a:pt x="120" y="1862"/>
                      <a:pt x="128" y="1863"/>
                      <a:pt x="126" y="1864"/>
                    </a:cubicBezTo>
                    <a:cubicBezTo>
                      <a:pt x="111" y="1871"/>
                      <a:pt x="102" y="1846"/>
                      <a:pt x="92" y="1845"/>
                    </a:cubicBezTo>
                    <a:cubicBezTo>
                      <a:pt x="87" y="1845"/>
                      <a:pt x="83" y="1858"/>
                      <a:pt x="80" y="1859"/>
                    </a:cubicBezTo>
                    <a:cubicBezTo>
                      <a:pt x="79" y="1859"/>
                      <a:pt x="80" y="1854"/>
                      <a:pt x="80" y="1853"/>
                    </a:cubicBezTo>
                    <a:cubicBezTo>
                      <a:pt x="79" y="1849"/>
                      <a:pt x="76" y="1833"/>
                      <a:pt x="66" y="1835"/>
                    </a:cubicBezTo>
                    <a:cubicBezTo>
                      <a:pt x="59" y="1837"/>
                      <a:pt x="73" y="1848"/>
                      <a:pt x="73" y="1851"/>
                    </a:cubicBezTo>
                    <a:cubicBezTo>
                      <a:pt x="72" y="1858"/>
                      <a:pt x="63" y="1844"/>
                      <a:pt x="64" y="1849"/>
                    </a:cubicBezTo>
                    <a:cubicBezTo>
                      <a:pt x="66" y="1860"/>
                      <a:pt x="58" y="1864"/>
                      <a:pt x="57" y="1875"/>
                    </a:cubicBezTo>
                    <a:cubicBezTo>
                      <a:pt x="57" y="1884"/>
                      <a:pt x="77" y="1910"/>
                      <a:pt x="84" y="1913"/>
                    </a:cubicBezTo>
                    <a:cubicBezTo>
                      <a:pt x="89" y="1915"/>
                      <a:pt x="98" y="1912"/>
                      <a:pt x="102" y="1915"/>
                    </a:cubicBezTo>
                    <a:cubicBezTo>
                      <a:pt x="111" y="1921"/>
                      <a:pt x="106" y="1929"/>
                      <a:pt x="125" y="1935"/>
                    </a:cubicBezTo>
                    <a:cubicBezTo>
                      <a:pt x="129" y="1937"/>
                      <a:pt x="159" y="1953"/>
                      <a:pt x="162" y="1947"/>
                    </a:cubicBezTo>
                    <a:cubicBezTo>
                      <a:pt x="163" y="1943"/>
                      <a:pt x="158" y="1937"/>
                      <a:pt x="164" y="1936"/>
                    </a:cubicBezTo>
                    <a:cubicBezTo>
                      <a:pt x="166" y="1936"/>
                      <a:pt x="169" y="1935"/>
                      <a:pt x="169" y="1938"/>
                    </a:cubicBezTo>
                    <a:cubicBezTo>
                      <a:pt x="168" y="1942"/>
                      <a:pt x="163" y="1947"/>
                      <a:pt x="167" y="1948"/>
                    </a:cubicBezTo>
                    <a:cubicBezTo>
                      <a:pt x="169" y="1949"/>
                      <a:pt x="180" y="1940"/>
                      <a:pt x="182" y="1943"/>
                    </a:cubicBezTo>
                    <a:cubicBezTo>
                      <a:pt x="182" y="1944"/>
                      <a:pt x="178" y="1945"/>
                      <a:pt x="176" y="1947"/>
                    </a:cubicBezTo>
                    <a:cubicBezTo>
                      <a:pt x="167" y="1952"/>
                      <a:pt x="147" y="1963"/>
                      <a:pt x="159" y="1971"/>
                    </a:cubicBezTo>
                    <a:cubicBezTo>
                      <a:pt x="178" y="1986"/>
                      <a:pt x="169" y="1964"/>
                      <a:pt x="169" y="1958"/>
                    </a:cubicBezTo>
                    <a:cubicBezTo>
                      <a:pt x="170" y="1952"/>
                      <a:pt x="172" y="1963"/>
                      <a:pt x="173" y="1964"/>
                    </a:cubicBezTo>
                    <a:cubicBezTo>
                      <a:pt x="176" y="1965"/>
                      <a:pt x="180" y="1964"/>
                      <a:pt x="178" y="1962"/>
                    </a:cubicBezTo>
                    <a:cubicBezTo>
                      <a:pt x="172" y="1953"/>
                      <a:pt x="178" y="1958"/>
                      <a:pt x="182" y="1961"/>
                    </a:cubicBezTo>
                    <a:cubicBezTo>
                      <a:pt x="186" y="1963"/>
                      <a:pt x="193" y="1959"/>
                      <a:pt x="194" y="1962"/>
                    </a:cubicBezTo>
                    <a:cubicBezTo>
                      <a:pt x="196" y="1965"/>
                      <a:pt x="177" y="1963"/>
                      <a:pt x="177" y="1969"/>
                    </a:cubicBezTo>
                    <a:cubicBezTo>
                      <a:pt x="178" y="1975"/>
                      <a:pt x="188" y="1965"/>
                      <a:pt x="188" y="1970"/>
                    </a:cubicBezTo>
                    <a:cubicBezTo>
                      <a:pt x="188" y="1977"/>
                      <a:pt x="188" y="1974"/>
                      <a:pt x="191" y="1970"/>
                    </a:cubicBezTo>
                    <a:cubicBezTo>
                      <a:pt x="196" y="1964"/>
                      <a:pt x="191" y="1976"/>
                      <a:pt x="191" y="1976"/>
                    </a:cubicBezTo>
                    <a:cubicBezTo>
                      <a:pt x="193" y="1977"/>
                      <a:pt x="207" y="1966"/>
                      <a:pt x="208" y="1968"/>
                    </a:cubicBezTo>
                    <a:cubicBezTo>
                      <a:pt x="210" y="1970"/>
                      <a:pt x="190" y="1981"/>
                      <a:pt x="195" y="1983"/>
                    </a:cubicBezTo>
                    <a:cubicBezTo>
                      <a:pt x="197" y="1984"/>
                      <a:pt x="213" y="1975"/>
                      <a:pt x="217" y="1974"/>
                    </a:cubicBezTo>
                    <a:cubicBezTo>
                      <a:pt x="218" y="1973"/>
                      <a:pt x="217" y="1975"/>
                      <a:pt x="217" y="1976"/>
                    </a:cubicBezTo>
                    <a:cubicBezTo>
                      <a:pt x="217" y="1978"/>
                      <a:pt x="219" y="1977"/>
                      <a:pt x="220" y="1976"/>
                    </a:cubicBezTo>
                    <a:cubicBezTo>
                      <a:pt x="228" y="1974"/>
                      <a:pt x="242" y="1978"/>
                      <a:pt x="251" y="1975"/>
                    </a:cubicBezTo>
                    <a:cubicBezTo>
                      <a:pt x="252" y="1975"/>
                      <a:pt x="252" y="1975"/>
                      <a:pt x="253" y="1976"/>
                    </a:cubicBezTo>
                    <a:cubicBezTo>
                      <a:pt x="254" y="1976"/>
                      <a:pt x="277" y="1971"/>
                      <a:pt x="279" y="1970"/>
                    </a:cubicBezTo>
                    <a:cubicBezTo>
                      <a:pt x="282" y="1967"/>
                      <a:pt x="283" y="1952"/>
                      <a:pt x="285" y="1950"/>
                    </a:cubicBezTo>
                    <a:cubicBezTo>
                      <a:pt x="287" y="1948"/>
                      <a:pt x="291" y="1960"/>
                      <a:pt x="291" y="1960"/>
                    </a:cubicBezTo>
                    <a:cubicBezTo>
                      <a:pt x="280" y="1968"/>
                      <a:pt x="303" y="1965"/>
                      <a:pt x="303" y="1965"/>
                    </a:cubicBezTo>
                    <a:cubicBezTo>
                      <a:pt x="307" y="1963"/>
                      <a:pt x="303" y="1956"/>
                      <a:pt x="306" y="1953"/>
                    </a:cubicBezTo>
                    <a:cubicBezTo>
                      <a:pt x="315" y="1946"/>
                      <a:pt x="328" y="1946"/>
                      <a:pt x="329" y="1945"/>
                    </a:cubicBezTo>
                    <a:cubicBezTo>
                      <a:pt x="331" y="1944"/>
                      <a:pt x="360" y="1914"/>
                      <a:pt x="368" y="1904"/>
                    </a:cubicBezTo>
                    <a:cubicBezTo>
                      <a:pt x="371" y="1900"/>
                      <a:pt x="364" y="1897"/>
                      <a:pt x="366" y="1896"/>
                    </a:cubicBezTo>
                    <a:cubicBezTo>
                      <a:pt x="366" y="1896"/>
                      <a:pt x="387" y="1895"/>
                      <a:pt x="391" y="1887"/>
                    </a:cubicBezTo>
                    <a:cubicBezTo>
                      <a:pt x="393" y="1883"/>
                      <a:pt x="371" y="1886"/>
                      <a:pt x="382" y="1884"/>
                    </a:cubicBezTo>
                    <a:cubicBezTo>
                      <a:pt x="389" y="1883"/>
                      <a:pt x="399" y="1881"/>
                      <a:pt x="386" y="1879"/>
                    </a:cubicBezTo>
                    <a:cubicBezTo>
                      <a:pt x="375" y="1878"/>
                      <a:pt x="414" y="1879"/>
                      <a:pt x="410" y="1870"/>
                    </a:cubicBezTo>
                    <a:cubicBezTo>
                      <a:pt x="410" y="1870"/>
                      <a:pt x="405" y="1871"/>
                      <a:pt x="407" y="1869"/>
                    </a:cubicBezTo>
                    <a:cubicBezTo>
                      <a:pt x="421" y="1855"/>
                      <a:pt x="401" y="1870"/>
                      <a:pt x="398" y="1864"/>
                    </a:cubicBezTo>
                    <a:cubicBezTo>
                      <a:pt x="394" y="1857"/>
                      <a:pt x="406" y="1860"/>
                      <a:pt x="407" y="1860"/>
                    </a:cubicBezTo>
                    <a:cubicBezTo>
                      <a:pt x="412" y="1857"/>
                      <a:pt x="428" y="1847"/>
                      <a:pt x="438" y="1843"/>
                    </a:cubicBezTo>
                    <a:cubicBezTo>
                      <a:pt x="443" y="1841"/>
                      <a:pt x="418" y="1829"/>
                      <a:pt x="422" y="1824"/>
                    </a:cubicBezTo>
                    <a:cubicBezTo>
                      <a:pt x="423" y="1822"/>
                      <a:pt x="427" y="1824"/>
                      <a:pt x="429" y="1823"/>
                    </a:cubicBezTo>
                    <a:cubicBezTo>
                      <a:pt x="431" y="1820"/>
                      <a:pt x="428" y="1831"/>
                      <a:pt x="433" y="1832"/>
                    </a:cubicBezTo>
                    <a:cubicBezTo>
                      <a:pt x="434" y="1832"/>
                      <a:pt x="434" y="1826"/>
                      <a:pt x="436" y="1827"/>
                    </a:cubicBezTo>
                    <a:cubicBezTo>
                      <a:pt x="438" y="1829"/>
                      <a:pt x="439" y="1840"/>
                      <a:pt x="442" y="1833"/>
                    </a:cubicBezTo>
                    <a:cubicBezTo>
                      <a:pt x="442" y="1831"/>
                      <a:pt x="446" y="1836"/>
                      <a:pt x="447" y="1838"/>
                    </a:cubicBezTo>
                    <a:cubicBezTo>
                      <a:pt x="451" y="1843"/>
                      <a:pt x="446" y="1845"/>
                      <a:pt x="448" y="1847"/>
                    </a:cubicBezTo>
                    <a:cubicBezTo>
                      <a:pt x="448" y="1847"/>
                      <a:pt x="448" y="1847"/>
                      <a:pt x="448" y="1847"/>
                    </a:cubicBezTo>
                    <a:cubicBezTo>
                      <a:pt x="464" y="1851"/>
                      <a:pt x="464" y="1836"/>
                      <a:pt x="465" y="1835"/>
                    </a:cubicBezTo>
                    <a:cubicBezTo>
                      <a:pt x="479" y="1830"/>
                      <a:pt x="471" y="1844"/>
                      <a:pt x="482" y="1838"/>
                    </a:cubicBezTo>
                    <a:cubicBezTo>
                      <a:pt x="483" y="1837"/>
                      <a:pt x="484" y="1835"/>
                      <a:pt x="486" y="1835"/>
                    </a:cubicBezTo>
                    <a:cubicBezTo>
                      <a:pt x="487" y="1836"/>
                      <a:pt x="489" y="1833"/>
                      <a:pt x="490" y="1832"/>
                    </a:cubicBezTo>
                    <a:cubicBezTo>
                      <a:pt x="494" y="1825"/>
                      <a:pt x="488" y="1810"/>
                      <a:pt x="495" y="1802"/>
                    </a:cubicBezTo>
                    <a:cubicBezTo>
                      <a:pt x="498" y="1798"/>
                      <a:pt x="503" y="1809"/>
                      <a:pt x="508" y="1798"/>
                    </a:cubicBezTo>
                    <a:cubicBezTo>
                      <a:pt x="510" y="1795"/>
                      <a:pt x="504" y="1794"/>
                      <a:pt x="503" y="1792"/>
                    </a:cubicBezTo>
                    <a:cubicBezTo>
                      <a:pt x="501" y="1788"/>
                      <a:pt x="505" y="1785"/>
                      <a:pt x="506" y="1782"/>
                    </a:cubicBezTo>
                    <a:cubicBezTo>
                      <a:pt x="506" y="1780"/>
                      <a:pt x="490" y="1769"/>
                      <a:pt x="487" y="1766"/>
                    </a:cubicBezTo>
                    <a:cubicBezTo>
                      <a:pt x="487" y="1766"/>
                      <a:pt x="482" y="1762"/>
                      <a:pt x="483" y="1760"/>
                    </a:cubicBezTo>
                    <a:cubicBezTo>
                      <a:pt x="488" y="1757"/>
                      <a:pt x="497" y="1775"/>
                      <a:pt x="495" y="1756"/>
                    </a:cubicBezTo>
                    <a:cubicBezTo>
                      <a:pt x="495" y="1748"/>
                      <a:pt x="482" y="1739"/>
                      <a:pt x="482" y="1736"/>
                    </a:cubicBezTo>
                    <a:cubicBezTo>
                      <a:pt x="483" y="1732"/>
                      <a:pt x="489" y="1737"/>
                      <a:pt x="490" y="1738"/>
                    </a:cubicBezTo>
                    <a:cubicBezTo>
                      <a:pt x="499" y="1747"/>
                      <a:pt x="501" y="1776"/>
                      <a:pt x="515" y="1761"/>
                    </a:cubicBezTo>
                    <a:cubicBezTo>
                      <a:pt x="529" y="1743"/>
                      <a:pt x="477" y="1735"/>
                      <a:pt x="523" y="1711"/>
                    </a:cubicBezTo>
                    <a:cubicBezTo>
                      <a:pt x="533" y="1706"/>
                      <a:pt x="528" y="1732"/>
                      <a:pt x="526" y="1735"/>
                    </a:cubicBezTo>
                    <a:cubicBezTo>
                      <a:pt x="523" y="1740"/>
                      <a:pt x="526" y="1716"/>
                      <a:pt x="520" y="1718"/>
                    </a:cubicBezTo>
                    <a:cubicBezTo>
                      <a:pt x="501" y="1722"/>
                      <a:pt x="528" y="1753"/>
                      <a:pt x="525" y="1772"/>
                    </a:cubicBezTo>
                    <a:cubicBezTo>
                      <a:pt x="524" y="1782"/>
                      <a:pt x="519" y="1760"/>
                      <a:pt x="515" y="1779"/>
                    </a:cubicBezTo>
                    <a:cubicBezTo>
                      <a:pt x="514" y="1781"/>
                      <a:pt x="528" y="1797"/>
                      <a:pt x="527" y="1802"/>
                    </a:cubicBezTo>
                    <a:cubicBezTo>
                      <a:pt x="527" y="1804"/>
                      <a:pt x="527" y="1807"/>
                      <a:pt x="528" y="1809"/>
                    </a:cubicBezTo>
                    <a:cubicBezTo>
                      <a:pt x="529" y="1811"/>
                      <a:pt x="531" y="1809"/>
                      <a:pt x="532" y="1810"/>
                    </a:cubicBezTo>
                    <a:cubicBezTo>
                      <a:pt x="541" y="1819"/>
                      <a:pt x="541" y="1813"/>
                      <a:pt x="543" y="1816"/>
                    </a:cubicBezTo>
                    <a:cubicBezTo>
                      <a:pt x="548" y="1827"/>
                      <a:pt x="543" y="1811"/>
                      <a:pt x="551" y="1815"/>
                    </a:cubicBezTo>
                    <a:cubicBezTo>
                      <a:pt x="554" y="1817"/>
                      <a:pt x="555" y="1824"/>
                      <a:pt x="558" y="1823"/>
                    </a:cubicBezTo>
                    <a:cubicBezTo>
                      <a:pt x="566" y="1821"/>
                      <a:pt x="557" y="1816"/>
                      <a:pt x="567" y="1813"/>
                    </a:cubicBezTo>
                    <a:cubicBezTo>
                      <a:pt x="570" y="1811"/>
                      <a:pt x="565" y="1821"/>
                      <a:pt x="567" y="1823"/>
                    </a:cubicBezTo>
                    <a:cubicBezTo>
                      <a:pt x="573" y="1827"/>
                      <a:pt x="582" y="1818"/>
                      <a:pt x="585" y="1826"/>
                    </a:cubicBezTo>
                    <a:cubicBezTo>
                      <a:pt x="586" y="1827"/>
                      <a:pt x="591" y="1842"/>
                      <a:pt x="590" y="1842"/>
                    </a:cubicBezTo>
                    <a:cubicBezTo>
                      <a:pt x="590" y="1842"/>
                      <a:pt x="590" y="1842"/>
                      <a:pt x="590" y="1842"/>
                    </a:cubicBezTo>
                    <a:cubicBezTo>
                      <a:pt x="591" y="1849"/>
                      <a:pt x="593" y="1857"/>
                      <a:pt x="598" y="1857"/>
                    </a:cubicBezTo>
                    <a:close/>
                    <a:moveTo>
                      <a:pt x="1726" y="229"/>
                    </a:moveTo>
                    <a:cubicBezTo>
                      <a:pt x="1748" y="231"/>
                      <a:pt x="1736" y="244"/>
                      <a:pt x="1728" y="247"/>
                    </a:cubicBezTo>
                    <a:cubicBezTo>
                      <a:pt x="1728" y="247"/>
                      <a:pt x="1728" y="247"/>
                      <a:pt x="1728" y="247"/>
                    </a:cubicBezTo>
                    <a:cubicBezTo>
                      <a:pt x="1718" y="244"/>
                      <a:pt x="1715" y="228"/>
                      <a:pt x="1726" y="229"/>
                    </a:cubicBezTo>
                    <a:close/>
                    <a:moveTo>
                      <a:pt x="1275" y="404"/>
                    </a:moveTo>
                    <a:cubicBezTo>
                      <a:pt x="1281" y="406"/>
                      <a:pt x="1285" y="409"/>
                      <a:pt x="1292" y="410"/>
                    </a:cubicBezTo>
                    <a:cubicBezTo>
                      <a:pt x="1328" y="415"/>
                      <a:pt x="1349" y="440"/>
                      <a:pt x="1346" y="442"/>
                    </a:cubicBezTo>
                    <a:cubicBezTo>
                      <a:pt x="1344" y="442"/>
                      <a:pt x="1343" y="442"/>
                      <a:pt x="1342" y="441"/>
                    </a:cubicBezTo>
                    <a:cubicBezTo>
                      <a:pt x="1322" y="426"/>
                      <a:pt x="1297" y="416"/>
                      <a:pt x="1275" y="405"/>
                    </a:cubicBezTo>
                    <a:cubicBezTo>
                      <a:pt x="1274" y="404"/>
                      <a:pt x="1266" y="402"/>
                      <a:pt x="1266" y="401"/>
                    </a:cubicBezTo>
                    <a:cubicBezTo>
                      <a:pt x="1265" y="398"/>
                      <a:pt x="1272" y="403"/>
                      <a:pt x="1275" y="404"/>
                    </a:cubicBezTo>
                    <a:close/>
                    <a:moveTo>
                      <a:pt x="905" y="627"/>
                    </a:moveTo>
                    <a:cubicBezTo>
                      <a:pt x="901" y="634"/>
                      <a:pt x="916" y="645"/>
                      <a:pt x="900" y="634"/>
                    </a:cubicBezTo>
                    <a:cubicBezTo>
                      <a:pt x="898" y="633"/>
                      <a:pt x="902" y="629"/>
                      <a:pt x="905" y="627"/>
                    </a:cubicBezTo>
                    <a:close/>
                    <a:moveTo>
                      <a:pt x="841" y="695"/>
                    </a:moveTo>
                    <a:cubicBezTo>
                      <a:pt x="842" y="698"/>
                      <a:pt x="840" y="703"/>
                      <a:pt x="837" y="704"/>
                    </a:cubicBezTo>
                    <a:cubicBezTo>
                      <a:pt x="835" y="704"/>
                      <a:pt x="835" y="704"/>
                      <a:pt x="835" y="704"/>
                    </a:cubicBezTo>
                    <a:cubicBezTo>
                      <a:pt x="810" y="705"/>
                      <a:pt x="840" y="692"/>
                      <a:pt x="841" y="695"/>
                    </a:cubicBezTo>
                    <a:close/>
                    <a:moveTo>
                      <a:pt x="819" y="750"/>
                    </a:moveTo>
                    <a:cubicBezTo>
                      <a:pt x="819" y="749"/>
                      <a:pt x="819" y="749"/>
                      <a:pt x="819" y="749"/>
                    </a:cubicBezTo>
                    <a:cubicBezTo>
                      <a:pt x="816" y="745"/>
                      <a:pt x="802" y="747"/>
                      <a:pt x="805" y="743"/>
                    </a:cubicBezTo>
                    <a:cubicBezTo>
                      <a:pt x="807" y="739"/>
                      <a:pt x="822" y="748"/>
                      <a:pt x="824" y="749"/>
                    </a:cubicBezTo>
                    <a:cubicBezTo>
                      <a:pt x="827" y="749"/>
                      <a:pt x="842" y="747"/>
                      <a:pt x="842" y="750"/>
                    </a:cubicBezTo>
                    <a:cubicBezTo>
                      <a:pt x="843" y="751"/>
                      <a:pt x="838" y="750"/>
                      <a:pt x="837" y="750"/>
                    </a:cubicBezTo>
                    <a:cubicBezTo>
                      <a:pt x="826" y="752"/>
                      <a:pt x="820" y="760"/>
                      <a:pt x="819" y="750"/>
                    </a:cubicBezTo>
                    <a:close/>
                    <a:moveTo>
                      <a:pt x="812" y="854"/>
                    </a:moveTo>
                    <a:cubicBezTo>
                      <a:pt x="821" y="848"/>
                      <a:pt x="802" y="841"/>
                      <a:pt x="803" y="834"/>
                    </a:cubicBezTo>
                    <a:cubicBezTo>
                      <a:pt x="803" y="833"/>
                      <a:pt x="814" y="842"/>
                      <a:pt x="816" y="841"/>
                    </a:cubicBezTo>
                    <a:cubicBezTo>
                      <a:pt x="829" y="835"/>
                      <a:pt x="841" y="818"/>
                      <a:pt x="857" y="823"/>
                    </a:cubicBezTo>
                    <a:cubicBezTo>
                      <a:pt x="862" y="824"/>
                      <a:pt x="852" y="827"/>
                      <a:pt x="851" y="827"/>
                    </a:cubicBezTo>
                    <a:cubicBezTo>
                      <a:pt x="844" y="830"/>
                      <a:pt x="836" y="830"/>
                      <a:pt x="833" y="838"/>
                    </a:cubicBezTo>
                    <a:cubicBezTo>
                      <a:pt x="833" y="840"/>
                      <a:pt x="839" y="840"/>
                      <a:pt x="837" y="842"/>
                    </a:cubicBezTo>
                    <a:cubicBezTo>
                      <a:pt x="835" y="845"/>
                      <a:pt x="825" y="845"/>
                      <a:pt x="825" y="849"/>
                    </a:cubicBezTo>
                    <a:cubicBezTo>
                      <a:pt x="824" y="852"/>
                      <a:pt x="844" y="862"/>
                      <a:pt x="825" y="861"/>
                    </a:cubicBezTo>
                    <a:cubicBezTo>
                      <a:pt x="822" y="862"/>
                      <a:pt x="822" y="862"/>
                      <a:pt x="822" y="862"/>
                    </a:cubicBezTo>
                    <a:cubicBezTo>
                      <a:pt x="820" y="861"/>
                      <a:pt x="799" y="857"/>
                      <a:pt x="799" y="857"/>
                    </a:cubicBezTo>
                    <a:cubicBezTo>
                      <a:pt x="799" y="857"/>
                      <a:pt x="811" y="855"/>
                      <a:pt x="812" y="854"/>
                    </a:cubicBezTo>
                    <a:close/>
                    <a:moveTo>
                      <a:pt x="773" y="952"/>
                    </a:moveTo>
                    <a:cubicBezTo>
                      <a:pt x="773" y="952"/>
                      <a:pt x="780" y="960"/>
                      <a:pt x="782" y="960"/>
                    </a:cubicBezTo>
                    <a:cubicBezTo>
                      <a:pt x="789" y="960"/>
                      <a:pt x="797" y="951"/>
                      <a:pt x="803" y="960"/>
                    </a:cubicBezTo>
                    <a:cubicBezTo>
                      <a:pt x="804" y="960"/>
                      <a:pt x="796" y="960"/>
                      <a:pt x="796" y="960"/>
                    </a:cubicBezTo>
                    <a:cubicBezTo>
                      <a:pt x="789" y="960"/>
                      <a:pt x="781" y="973"/>
                      <a:pt x="777" y="967"/>
                    </a:cubicBezTo>
                    <a:cubicBezTo>
                      <a:pt x="777" y="967"/>
                      <a:pt x="777" y="967"/>
                      <a:pt x="777" y="967"/>
                    </a:cubicBezTo>
                    <a:cubicBezTo>
                      <a:pt x="773" y="963"/>
                      <a:pt x="778" y="962"/>
                      <a:pt x="777" y="958"/>
                    </a:cubicBezTo>
                    <a:cubicBezTo>
                      <a:pt x="777" y="957"/>
                      <a:pt x="772" y="954"/>
                      <a:pt x="773" y="952"/>
                    </a:cubicBezTo>
                    <a:close/>
                    <a:moveTo>
                      <a:pt x="778" y="976"/>
                    </a:moveTo>
                    <a:cubicBezTo>
                      <a:pt x="777" y="975"/>
                      <a:pt x="770" y="974"/>
                      <a:pt x="771" y="972"/>
                    </a:cubicBezTo>
                    <a:cubicBezTo>
                      <a:pt x="772" y="970"/>
                      <a:pt x="774" y="973"/>
                      <a:pt x="775" y="972"/>
                    </a:cubicBezTo>
                    <a:cubicBezTo>
                      <a:pt x="777" y="970"/>
                      <a:pt x="785" y="972"/>
                      <a:pt x="785" y="974"/>
                    </a:cubicBezTo>
                    <a:cubicBezTo>
                      <a:pt x="787" y="979"/>
                      <a:pt x="777" y="991"/>
                      <a:pt x="794" y="998"/>
                    </a:cubicBezTo>
                    <a:cubicBezTo>
                      <a:pt x="797" y="999"/>
                      <a:pt x="799" y="1008"/>
                      <a:pt x="793" y="1006"/>
                    </a:cubicBezTo>
                    <a:cubicBezTo>
                      <a:pt x="793" y="1006"/>
                      <a:pt x="793" y="1006"/>
                      <a:pt x="793" y="1006"/>
                    </a:cubicBezTo>
                    <a:cubicBezTo>
                      <a:pt x="783" y="1001"/>
                      <a:pt x="772" y="991"/>
                      <a:pt x="766" y="983"/>
                    </a:cubicBezTo>
                    <a:cubicBezTo>
                      <a:pt x="764" y="979"/>
                      <a:pt x="781" y="979"/>
                      <a:pt x="778" y="976"/>
                    </a:cubicBezTo>
                    <a:close/>
                    <a:moveTo>
                      <a:pt x="749" y="1008"/>
                    </a:moveTo>
                    <a:cubicBezTo>
                      <a:pt x="754" y="986"/>
                      <a:pt x="768" y="999"/>
                      <a:pt x="781" y="1005"/>
                    </a:cubicBezTo>
                    <a:cubicBezTo>
                      <a:pt x="796" y="1014"/>
                      <a:pt x="768" y="1005"/>
                      <a:pt x="761" y="1006"/>
                    </a:cubicBezTo>
                    <a:cubicBezTo>
                      <a:pt x="758" y="1006"/>
                      <a:pt x="753" y="1014"/>
                      <a:pt x="746" y="1012"/>
                    </a:cubicBezTo>
                    <a:cubicBezTo>
                      <a:pt x="746" y="1012"/>
                      <a:pt x="746" y="1012"/>
                      <a:pt x="746" y="1012"/>
                    </a:cubicBezTo>
                    <a:cubicBezTo>
                      <a:pt x="744" y="1007"/>
                      <a:pt x="749" y="1011"/>
                      <a:pt x="749" y="1008"/>
                    </a:cubicBezTo>
                    <a:close/>
                    <a:moveTo>
                      <a:pt x="638" y="1535"/>
                    </a:moveTo>
                    <a:cubicBezTo>
                      <a:pt x="636" y="1536"/>
                      <a:pt x="612" y="1505"/>
                      <a:pt x="621" y="1510"/>
                    </a:cubicBezTo>
                    <a:cubicBezTo>
                      <a:pt x="627" y="1513"/>
                      <a:pt x="631" y="1523"/>
                      <a:pt x="634" y="1528"/>
                    </a:cubicBezTo>
                    <a:cubicBezTo>
                      <a:pt x="634" y="1529"/>
                      <a:pt x="639" y="1535"/>
                      <a:pt x="638" y="1535"/>
                    </a:cubicBezTo>
                    <a:close/>
                    <a:moveTo>
                      <a:pt x="637" y="1348"/>
                    </a:moveTo>
                    <a:cubicBezTo>
                      <a:pt x="640" y="1351"/>
                      <a:pt x="634" y="1393"/>
                      <a:pt x="632" y="1407"/>
                    </a:cubicBezTo>
                    <a:cubicBezTo>
                      <a:pt x="632" y="1408"/>
                      <a:pt x="632" y="1408"/>
                      <a:pt x="632" y="1408"/>
                    </a:cubicBezTo>
                    <a:cubicBezTo>
                      <a:pt x="631" y="1409"/>
                      <a:pt x="633" y="1415"/>
                      <a:pt x="634" y="1416"/>
                    </a:cubicBezTo>
                    <a:cubicBezTo>
                      <a:pt x="635" y="1417"/>
                      <a:pt x="625" y="1401"/>
                      <a:pt x="617" y="1395"/>
                    </a:cubicBezTo>
                    <a:cubicBezTo>
                      <a:pt x="616" y="1393"/>
                      <a:pt x="615" y="1392"/>
                      <a:pt x="615" y="1390"/>
                    </a:cubicBezTo>
                    <a:cubicBezTo>
                      <a:pt x="617" y="1381"/>
                      <a:pt x="629" y="1385"/>
                      <a:pt x="633" y="1363"/>
                    </a:cubicBezTo>
                    <a:cubicBezTo>
                      <a:pt x="634" y="1357"/>
                      <a:pt x="628" y="1339"/>
                      <a:pt x="637" y="1348"/>
                    </a:cubicBezTo>
                    <a:close/>
                    <a:moveTo>
                      <a:pt x="602" y="1106"/>
                    </a:moveTo>
                    <a:cubicBezTo>
                      <a:pt x="603" y="1105"/>
                      <a:pt x="603" y="1105"/>
                      <a:pt x="603" y="1105"/>
                    </a:cubicBezTo>
                    <a:cubicBezTo>
                      <a:pt x="604" y="1104"/>
                      <a:pt x="607" y="1100"/>
                      <a:pt x="606" y="1098"/>
                    </a:cubicBezTo>
                    <a:cubicBezTo>
                      <a:pt x="602" y="1093"/>
                      <a:pt x="671" y="1071"/>
                      <a:pt x="672" y="1073"/>
                    </a:cubicBezTo>
                    <a:cubicBezTo>
                      <a:pt x="673" y="1074"/>
                      <a:pt x="672" y="1075"/>
                      <a:pt x="671" y="1075"/>
                    </a:cubicBezTo>
                    <a:cubicBezTo>
                      <a:pt x="653" y="1083"/>
                      <a:pt x="638" y="1089"/>
                      <a:pt x="617" y="1093"/>
                    </a:cubicBezTo>
                    <a:cubicBezTo>
                      <a:pt x="606" y="1095"/>
                      <a:pt x="611" y="1106"/>
                      <a:pt x="602" y="1107"/>
                    </a:cubicBezTo>
                    <a:cubicBezTo>
                      <a:pt x="602" y="1107"/>
                      <a:pt x="602" y="1107"/>
                      <a:pt x="601" y="1107"/>
                    </a:cubicBezTo>
                    <a:cubicBezTo>
                      <a:pt x="601" y="1106"/>
                      <a:pt x="602" y="1106"/>
                      <a:pt x="602" y="1106"/>
                    </a:cubicBezTo>
                    <a:close/>
                    <a:moveTo>
                      <a:pt x="603" y="1643"/>
                    </a:moveTo>
                    <a:cubicBezTo>
                      <a:pt x="607" y="1645"/>
                      <a:pt x="605" y="1632"/>
                      <a:pt x="608" y="1638"/>
                    </a:cubicBezTo>
                    <a:cubicBezTo>
                      <a:pt x="608" y="1638"/>
                      <a:pt x="608" y="1638"/>
                      <a:pt x="608" y="1638"/>
                    </a:cubicBezTo>
                    <a:cubicBezTo>
                      <a:pt x="611" y="1642"/>
                      <a:pt x="616" y="1655"/>
                      <a:pt x="615" y="1654"/>
                    </a:cubicBezTo>
                    <a:cubicBezTo>
                      <a:pt x="615" y="1654"/>
                      <a:pt x="595" y="1641"/>
                      <a:pt x="603" y="1643"/>
                    </a:cubicBezTo>
                    <a:close/>
                    <a:moveTo>
                      <a:pt x="307" y="1840"/>
                    </a:moveTo>
                    <a:cubicBezTo>
                      <a:pt x="300" y="1844"/>
                      <a:pt x="279" y="1801"/>
                      <a:pt x="290" y="1820"/>
                    </a:cubicBezTo>
                    <a:cubicBezTo>
                      <a:pt x="295" y="1829"/>
                      <a:pt x="307" y="1826"/>
                      <a:pt x="307" y="1839"/>
                    </a:cubicBezTo>
                    <a:lnTo>
                      <a:pt x="307" y="1840"/>
                    </a:lnTo>
                    <a:close/>
                    <a:moveTo>
                      <a:pt x="293" y="1720"/>
                    </a:moveTo>
                    <a:cubicBezTo>
                      <a:pt x="289" y="1724"/>
                      <a:pt x="301" y="1730"/>
                      <a:pt x="303" y="1732"/>
                    </a:cubicBezTo>
                    <a:cubicBezTo>
                      <a:pt x="305" y="1733"/>
                      <a:pt x="298" y="1730"/>
                      <a:pt x="296" y="1729"/>
                    </a:cubicBezTo>
                    <a:cubicBezTo>
                      <a:pt x="293" y="1728"/>
                      <a:pt x="285" y="1724"/>
                      <a:pt x="284" y="1721"/>
                    </a:cubicBezTo>
                    <a:cubicBezTo>
                      <a:pt x="284" y="1718"/>
                      <a:pt x="288" y="1711"/>
                      <a:pt x="287" y="1707"/>
                    </a:cubicBezTo>
                    <a:cubicBezTo>
                      <a:pt x="287" y="1706"/>
                      <a:pt x="286" y="1705"/>
                      <a:pt x="285" y="1705"/>
                    </a:cubicBezTo>
                    <a:cubicBezTo>
                      <a:pt x="285" y="1704"/>
                      <a:pt x="285" y="1704"/>
                      <a:pt x="285" y="1704"/>
                    </a:cubicBezTo>
                    <a:cubicBezTo>
                      <a:pt x="284" y="1704"/>
                      <a:pt x="284" y="1704"/>
                      <a:pt x="284" y="1704"/>
                    </a:cubicBezTo>
                    <a:cubicBezTo>
                      <a:pt x="271" y="1698"/>
                      <a:pt x="281" y="1700"/>
                      <a:pt x="285" y="1705"/>
                    </a:cubicBezTo>
                    <a:cubicBezTo>
                      <a:pt x="293" y="1708"/>
                      <a:pt x="283" y="1713"/>
                      <a:pt x="288" y="1716"/>
                    </a:cubicBezTo>
                    <a:cubicBezTo>
                      <a:pt x="293" y="1719"/>
                      <a:pt x="306" y="1718"/>
                      <a:pt x="311" y="1725"/>
                    </a:cubicBezTo>
                    <a:cubicBezTo>
                      <a:pt x="311" y="1726"/>
                      <a:pt x="293" y="1719"/>
                      <a:pt x="293" y="1720"/>
                    </a:cubicBezTo>
                    <a:close/>
                    <a:moveTo>
                      <a:pt x="327" y="1838"/>
                    </a:moveTo>
                    <a:cubicBezTo>
                      <a:pt x="322" y="1839"/>
                      <a:pt x="320" y="1791"/>
                      <a:pt x="325" y="1796"/>
                    </a:cubicBezTo>
                    <a:cubicBezTo>
                      <a:pt x="325" y="1796"/>
                      <a:pt x="325" y="1796"/>
                      <a:pt x="325" y="1796"/>
                    </a:cubicBezTo>
                    <a:cubicBezTo>
                      <a:pt x="327" y="1797"/>
                      <a:pt x="327" y="1838"/>
                      <a:pt x="327" y="1838"/>
                    </a:cubicBezTo>
                    <a:close/>
                    <a:moveTo>
                      <a:pt x="374" y="1504"/>
                    </a:moveTo>
                    <a:cubicBezTo>
                      <a:pt x="364" y="1510"/>
                      <a:pt x="323" y="1510"/>
                      <a:pt x="311" y="1499"/>
                    </a:cubicBezTo>
                    <a:cubicBezTo>
                      <a:pt x="309" y="1497"/>
                      <a:pt x="315" y="1500"/>
                      <a:pt x="318" y="1500"/>
                    </a:cubicBezTo>
                    <a:cubicBezTo>
                      <a:pt x="322" y="1501"/>
                      <a:pt x="326" y="1501"/>
                      <a:pt x="331" y="1502"/>
                    </a:cubicBezTo>
                    <a:cubicBezTo>
                      <a:pt x="344" y="1503"/>
                      <a:pt x="362" y="1511"/>
                      <a:pt x="373" y="1503"/>
                    </a:cubicBezTo>
                    <a:cubicBezTo>
                      <a:pt x="374" y="1503"/>
                      <a:pt x="374" y="1503"/>
                      <a:pt x="374" y="1503"/>
                    </a:cubicBezTo>
                    <a:cubicBezTo>
                      <a:pt x="378" y="1501"/>
                      <a:pt x="392" y="1496"/>
                      <a:pt x="396" y="1502"/>
                    </a:cubicBezTo>
                    <a:cubicBezTo>
                      <a:pt x="396" y="1503"/>
                      <a:pt x="389" y="1502"/>
                      <a:pt x="389" y="1503"/>
                    </a:cubicBezTo>
                    <a:cubicBezTo>
                      <a:pt x="390" y="1508"/>
                      <a:pt x="378" y="1501"/>
                      <a:pt x="374" y="1504"/>
                    </a:cubicBezTo>
                    <a:close/>
                    <a:moveTo>
                      <a:pt x="405" y="1805"/>
                    </a:moveTo>
                    <a:cubicBezTo>
                      <a:pt x="400" y="1801"/>
                      <a:pt x="392" y="1797"/>
                      <a:pt x="388" y="1792"/>
                    </a:cubicBezTo>
                    <a:cubicBezTo>
                      <a:pt x="384" y="1787"/>
                      <a:pt x="395" y="1786"/>
                      <a:pt x="395" y="1789"/>
                    </a:cubicBezTo>
                    <a:cubicBezTo>
                      <a:pt x="395" y="1789"/>
                      <a:pt x="395" y="1789"/>
                      <a:pt x="395" y="1789"/>
                    </a:cubicBezTo>
                    <a:cubicBezTo>
                      <a:pt x="394" y="1796"/>
                      <a:pt x="414" y="1805"/>
                      <a:pt x="417" y="1813"/>
                    </a:cubicBezTo>
                    <a:cubicBezTo>
                      <a:pt x="419" y="1817"/>
                      <a:pt x="408" y="1809"/>
                      <a:pt x="405" y="1805"/>
                    </a:cubicBezTo>
                    <a:close/>
                    <a:moveTo>
                      <a:pt x="514" y="1218"/>
                    </a:moveTo>
                    <a:cubicBezTo>
                      <a:pt x="524" y="1217"/>
                      <a:pt x="550" y="1216"/>
                      <a:pt x="557" y="1218"/>
                    </a:cubicBezTo>
                    <a:cubicBezTo>
                      <a:pt x="558" y="1219"/>
                      <a:pt x="558" y="1219"/>
                      <a:pt x="558" y="1219"/>
                    </a:cubicBezTo>
                    <a:cubicBezTo>
                      <a:pt x="562" y="1222"/>
                      <a:pt x="553" y="1219"/>
                      <a:pt x="554" y="1223"/>
                    </a:cubicBezTo>
                    <a:cubicBezTo>
                      <a:pt x="557" y="1229"/>
                      <a:pt x="518" y="1219"/>
                      <a:pt x="513" y="1220"/>
                    </a:cubicBezTo>
                    <a:cubicBezTo>
                      <a:pt x="513" y="1220"/>
                      <a:pt x="508" y="1222"/>
                      <a:pt x="508" y="1221"/>
                    </a:cubicBezTo>
                    <a:cubicBezTo>
                      <a:pt x="506" y="1219"/>
                      <a:pt x="514" y="1219"/>
                      <a:pt x="514" y="1218"/>
                    </a:cubicBezTo>
                    <a:close/>
                    <a:moveTo>
                      <a:pt x="485" y="1698"/>
                    </a:moveTo>
                    <a:cubicBezTo>
                      <a:pt x="487" y="1700"/>
                      <a:pt x="489" y="1702"/>
                      <a:pt x="489" y="1705"/>
                    </a:cubicBezTo>
                    <a:cubicBezTo>
                      <a:pt x="495" y="1720"/>
                      <a:pt x="481" y="1692"/>
                      <a:pt x="470" y="1695"/>
                    </a:cubicBezTo>
                    <a:cubicBezTo>
                      <a:pt x="468" y="1696"/>
                      <a:pt x="462" y="1703"/>
                      <a:pt x="462" y="1701"/>
                    </a:cubicBezTo>
                    <a:cubicBezTo>
                      <a:pt x="461" y="1700"/>
                      <a:pt x="462" y="1699"/>
                      <a:pt x="462" y="1698"/>
                    </a:cubicBezTo>
                    <a:cubicBezTo>
                      <a:pt x="476" y="1668"/>
                      <a:pt x="476" y="1692"/>
                      <a:pt x="486" y="1690"/>
                    </a:cubicBezTo>
                    <a:cubicBezTo>
                      <a:pt x="489" y="1689"/>
                      <a:pt x="487" y="1681"/>
                      <a:pt x="492" y="1681"/>
                    </a:cubicBezTo>
                    <a:cubicBezTo>
                      <a:pt x="494" y="1680"/>
                      <a:pt x="485" y="1697"/>
                      <a:pt x="485" y="1697"/>
                    </a:cubicBezTo>
                    <a:lnTo>
                      <a:pt x="485" y="1698"/>
                    </a:lnTo>
                    <a:close/>
                    <a:moveTo>
                      <a:pt x="504" y="1636"/>
                    </a:moveTo>
                    <a:cubicBezTo>
                      <a:pt x="502" y="1641"/>
                      <a:pt x="497" y="1644"/>
                      <a:pt x="496" y="1651"/>
                    </a:cubicBezTo>
                    <a:cubicBezTo>
                      <a:pt x="495" y="1654"/>
                      <a:pt x="501" y="1659"/>
                      <a:pt x="499" y="1661"/>
                    </a:cubicBezTo>
                    <a:cubicBezTo>
                      <a:pt x="499" y="1661"/>
                      <a:pt x="498" y="1662"/>
                      <a:pt x="498" y="1662"/>
                    </a:cubicBezTo>
                    <a:cubicBezTo>
                      <a:pt x="487" y="1661"/>
                      <a:pt x="497" y="1637"/>
                      <a:pt x="496" y="1631"/>
                    </a:cubicBezTo>
                    <a:cubicBezTo>
                      <a:pt x="496" y="1625"/>
                      <a:pt x="483" y="1619"/>
                      <a:pt x="490" y="1612"/>
                    </a:cubicBezTo>
                    <a:cubicBezTo>
                      <a:pt x="490" y="1608"/>
                      <a:pt x="491" y="1604"/>
                      <a:pt x="491" y="1600"/>
                    </a:cubicBezTo>
                    <a:cubicBezTo>
                      <a:pt x="485" y="1591"/>
                      <a:pt x="468" y="1581"/>
                      <a:pt x="480" y="1583"/>
                    </a:cubicBezTo>
                    <a:cubicBezTo>
                      <a:pt x="481" y="1584"/>
                      <a:pt x="481" y="1584"/>
                      <a:pt x="481" y="1584"/>
                    </a:cubicBezTo>
                    <a:cubicBezTo>
                      <a:pt x="489" y="1588"/>
                      <a:pt x="490" y="1594"/>
                      <a:pt x="491" y="1600"/>
                    </a:cubicBezTo>
                    <a:cubicBezTo>
                      <a:pt x="492" y="1602"/>
                      <a:pt x="492" y="1604"/>
                      <a:pt x="493" y="1605"/>
                    </a:cubicBezTo>
                    <a:cubicBezTo>
                      <a:pt x="493" y="1605"/>
                      <a:pt x="493" y="1606"/>
                      <a:pt x="493" y="1606"/>
                    </a:cubicBezTo>
                    <a:cubicBezTo>
                      <a:pt x="493" y="1608"/>
                      <a:pt x="492" y="1610"/>
                      <a:pt x="491" y="1611"/>
                    </a:cubicBezTo>
                    <a:cubicBezTo>
                      <a:pt x="491" y="1611"/>
                      <a:pt x="491" y="1611"/>
                      <a:pt x="490" y="1612"/>
                    </a:cubicBezTo>
                    <a:cubicBezTo>
                      <a:pt x="490" y="1615"/>
                      <a:pt x="490" y="1618"/>
                      <a:pt x="491" y="1621"/>
                    </a:cubicBezTo>
                    <a:cubicBezTo>
                      <a:pt x="492" y="1623"/>
                      <a:pt x="500" y="1625"/>
                      <a:pt x="501" y="1630"/>
                    </a:cubicBezTo>
                    <a:cubicBezTo>
                      <a:pt x="502" y="1632"/>
                      <a:pt x="505" y="1634"/>
                      <a:pt x="504" y="1636"/>
                    </a:cubicBezTo>
                    <a:close/>
                    <a:moveTo>
                      <a:pt x="557" y="1642"/>
                    </a:moveTo>
                    <a:cubicBezTo>
                      <a:pt x="557" y="1641"/>
                      <a:pt x="558" y="1641"/>
                      <a:pt x="558" y="1640"/>
                    </a:cubicBezTo>
                    <a:cubicBezTo>
                      <a:pt x="558" y="1640"/>
                      <a:pt x="558" y="1640"/>
                      <a:pt x="558" y="1640"/>
                    </a:cubicBezTo>
                    <a:cubicBezTo>
                      <a:pt x="559" y="1639"/>
                      <a:pt x="558" y="1640"/>
                      <a:pt x="557" y="1642"/>
                    </a:cubicBezTo>
                    <a:cubicBezTo>
                      <a:pt x="556" y="1649"/>
                      <a:pt x="568" y="1658"/>
                      <a:pt x="561" y="1658"/>
                    </a:cubicBezTo>
                    <a:cubicBezTo>
                      <a:pt x="551" y="1658"/>
                      <a:pt x="555" y="1647"/>
                      <a:pt x="557" y="1642"/>
                    </a:cubicBezTo>
                    <a:close/>
                    <a:moveTo>
                      <a:pt x="574" y="1749"/>
                    </a:moveTo>
                    <a:cubicBezTo>
                      <a:pt x="571" y="1750"/>
                      <a:pt x="570" y="1747"/>
                      <a:pt x="570" y="1745"/>
                    </a:cubicBezTo>
                    <a:cubicBezTo>
                      <a:pt x="569" y="1731"/>
                      <a:pt x="567" y="1722"/>
                      <a:pt x="560" y="1711"/>
                    </a:cubicBezTo>
                    <a:cubicBezTo>
                      <a:pt x="559" y="1709"/>
                      <a:pt x="553" y="1700"/>
                      <a:pt x="559" y="1705"/>
                    </a:cubicBezTo>
                    <a:cubicBezTo>
                      <a:pt x="559" y="1705"/>
                      <a:pt x="559" y="1705"/>
                      <a:pt x="559" y="1705"/>
                    </a:cubicBezTo>
                    <a:cubicBezTo>
                      <a:pt x="562" y="1709"/>
                      <a:pt x="584" y="1745"/>
                      <a:pt x="574" y="1749"/>
                    </a:cubicBezTo>
                    <a:close/>
                    <a:moveTo>
                      <a:pt x="572" y="1625"/>
                    </a:moveTo>
                    <a:cubicBezTo>
                      <a:pt x="572" y="1627"/>
                      <a:pt x="574" y="1638"/>
                      <a:pt x="572" y="1640"/>
                    </a:cubicBezTo>
                    <a:cubicBezTo>
                      <a:pt x="570" y="1641"/>
                      <a:pt x="569" y="1633"/>
                      <a:pt x="568" y="1631"/>
                    </a:cubicBezTo>
                    <a:cubicBezTo>
                      <a:pt x="563" y="1624"/>
                      <a:pt x="569" y="1615"/>
                      <a:pt x="559" y="1607"/>
                    </a:cubicBezTo>
                    <a:cubicBezTo>
                      <a:pt x="550" y="1599"/>
                      <a:pt x="536" y="1595"/>
                      <a:pt x="526" y="1586"/>
                    </a:cubicBezTo>
                    <a:cubicBezTo>
                      <a:pt x="520" y="1581"/>
                      <a:pt x="525" y="1571"/>
                      <a:pt x="519" y="1564"/>
                    </a:cubicBezTo>
                    <a:cubicBezTo>
                      <a:pt x="514" y="1558"/>
                      <a:pt x="498" y="1552"/>
                      <a:pt x="501" y="1543"/>
                    </a:cubicBezTo>
                    <a:cubicBezTo>
                      <a:pt x="501" y="1542"/>
                      <a:pt x="502" y="1540"/>
                      <a:pt x="501" y="1539"/>
                    </a:cubicBezTo>
                    <a:cubicBezTo>
                      <a:pt x="501" y="1539"/>
                      <a:pt x="501" y="1539"/>
                      <a:pt x="501" y="1539"/>
                    </a:cubicBezTo>
                    <a:cubicBezTo>
                      <a:pt x="501" y="1538"/>
                      <a:pt x="500" y="1536"/>
                      <a:pt x="501" y="1536"/>
                    </a:cubicBezTo>
                    <a:cubicBezTo>
                      <a:pt x="501" y="1536"/>
                      <a:pt x="501" y="1537"/>
                      <a:pt x="501" y="1539"/>
                    </a:cubicBezTo>
                    <a:cubicBezTo>
                      <a:pt x="501" y="1539"/>
                      <a:pt x="501" y="1539"/>
                      <a:pt x="501" y="1539"/>
                    </a:cubicBezTo>
                    <a:cubicBezTo>
                      <a:pt x="501" y="1539"/>
                      <a:pt x="501" y="1539"/>
                      <a:pt x="501" y="1539"/>
                    </a:cubicBezTo>
                    <a:cubicBezTo>
                      <a:pt x="502" y="1543"/>
                      <a:pt x="504" y="1549"/>
                      <a:pt x="511" y="1553"/>
                    </a:cubicBezTo>
                    <a:cubicBezTo>
                      <a:pt x="512" y="1553"/>
                      <a:pt x="512" y="1553"/>
                      <a:pt x="512" y="1553"/>
                    </a:cubicBezTo>
                    <a:cubicBezTo>
                      <a:pt x="527" y="1564"/>
                      <a:pt x="522" y="1585"/>
                      <a:pt x="539" y="1588"/>
                    </a:cubicBezTo>
                    <a:cubicBezTo>
                      <a:pt x="558" y="1591"/>
                      <a:pt x="539" y="1570"/>
                      <a:pt x="540" y="1570"/>
                    </a:cubicBezTo>
                    <a:cubicBezTo>
                      <a:pt x="564" y="1573"/>
                      <a:pt x="553" y="1601"/>
                      <a:pt x="569" y="1613"/>
                    </a:cubicBezTo>
                    <a:cubicBezTo>
                      <a:pt x="574" y="1616"/>
                      <a:pt x="575" y="1607"/>
                      <a:pt x="577" y="1612"/>
                    </a:cubicBezTo>
                    <a:cubicBezTo>
                      <a:pt x="577" y="1615"/>
                      <a:pt x="572" y="1620"/>
                      <a:pt x="572" y="1625"/>
                    </a:cubicBezTo>
                    <a:close/>
                    <a:moveTo>
                      <a:pt x="582" y="1496"/>
                    </a:moveTo>
                    <a:cubicBezTo>
                      <a:pt x="571" y="1496"/>
                      <a:pt x="569" y="1452"/>
                      <a:pt x="572" y="1455"/>
                    </a:cubicBezTo>
                    <a:cubicBezTo>
                      <a:pt x="572" y="1455"/>
                      <a:pt x="572" y="1455"/>
                      <a:pt x="572" y="1455"/>
                    </a:cubicBezTo>
                    <a:cubicBezTo>
                      <a:pt x="576" y="1465"/>
                      <a:pt x="573" y="1473"/>
                      <a:pt x="578" y="1484"/>
                    </a:cubicBezTo>
                    <a:cubicBezTo>
                      <a:pt x="578" y="1484"/>
                      <a:pt x="586" y="1496"/>
                      <a:pt x="582" y="149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1" name="Freeform 1087"/>
              <p:cNvSpPr>
                <a:spLocks/>
              </p:cNvSpPr>
              <p:nvPr/>
            </p:nvSpPr>
            <p:spPr bwMode="auto">
              <a:xfrm>
                <a:off x="2436" y="1604"/>
                <a:ext cx="1" cy="4"/>
              </a:xfrm>
              <a:custGeom>
                <a:avLst/>
                <a:gdLst>
                  <a:gd name="T0" fmla="*/ 0 w 1"/>
                  <a:gd name="T1" fmla="*/ 0 h 5"/>
                  <a:gd name="T2" fmla="*/ 1 w 1"/>
                  <a:gd name="T3" fmla="*/ 5 h 5"/>
                  <a:gd name="T4" fmla="*/ 0 w 1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5">
                    <a:moveTo>
                      <a:pt x="0" y="0"/>
                    </a:moveTo>
                    <a:cubicBezTo>
                      <a:pt x="0" y="2"/>
                      <a:pt x="0" y="4"/>
                      <a:pt x="1" y="5"/>
                    </a:cubicBezTo>
                    <a:cubicBezTo>
                      <a:pt x="1" y="3"/>
                      <a:pt x="1" y="1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2" name="Freeform 1088"/>
              <p:cNvSpPr>
                <a:spLocks/>
              </p:cNvSpPr>
              <p:nvPr/>
            </p:nvSpPr>
            <p:spPr bwMode="auto">
              <a:xfrm>
                <a:off x="2360" y="1914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3" name="Freeform 1089"/>
              <p:cNvSpPr>
                <a:spLocks/>
              </p:cNvSpPr>
              <p:nvPr/>
            </p:nvSpPr>
            <p:spPr bwMode="auto">
              <a:xfrm>
                <a:off x="2381" y="1677"/>
                <a:ext cx="6" cy="3"/>
              </a:xfrm>
              <a:custGeom>
                <a:avLst/>
                <a:gdLst>
                  <a:gd name="T0" fmla="*/ 7 w 9"/>
                  <a:gd name="T1" fmla="*/ 0 h 5"/>
                  <a:gd name="T2" fmla="*/ 0 w 9"/>
                  <a:gd name="T3" fmla="*/ 5 h 5"/>
                  <a:gd name="T4" fmla="*/ 9 w 9"/>
                  <a:gd name="T5" fmla="*/ 0 h 5"/>
                  <a:gd name="T6" fmla="*/ 7 w 9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7" y="0"/>
                    </a:moveTo>
                    <a:cubicBezTo>
                      <a:pt x="3" y="1"/>
                      <a:pt x="2" y="3"/>
                      <a:pt x="0" y="5"/>
                    </a:cubicBezTo>
                    <a:cubicBezTo>
                      <a:pt x="3" y="4"/>
                      <a:pt x="6" y="2"/>
                      <a:pt x="9" y="0"/>
                    </a:cubicBezTo>
                    <a:cubicBezTo>
                      <a:pt x="8" y="0"/>
                      <a:pt x="8" y="0"/>
                      <a:pt x="7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4" name="Freeform 1090"/>
              <p:cNvSpPr>
                <a:spLocks/>
              </p:cNvSpPr>
              <p:nvPr/>
            </p:nvSpPr>
            <p:spPr bwMode="auto">
              <a:xfrm>
                <a:off x="2381" y="1648"/>
                <a:ext cx="1" cy="5"/>
              </a:xfrm>
              <a:custGeom>
                <a:avLst/>
                <a:gdLst>
                  <a:gd name="T0" fmla="*/ 0 w 2"/>
                  <a:gd name="T1" fmla="*/ 8 h 8"/>
                  <a:gd name="T2" fmla="*/ 2 w 2"/>
                  <a:gd name="T3" fmla="*/ 6 h 8"/>
                  <a:gd name="T4" fmla="*/ 0 w 2"/>
                  <a:gd name="T5" fmla="*/ 0 h 8"/>
                  <a:gd name="T6" fmla="*/ 0 w 2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8">
                    <a:moveTo>
                      <a:pt x="0" y="8"/>
                    </a:moveTo>
                    <a:cubicBezTo>
                      <a:pt x="1" y="8"/>
                      <a:pt x="2" y="7"/>
                      <a:pt x="2" y="6"/>
                    </a:cubicBezTo>
                    <a:cubicBezTo>
                      <a:pt x="2" y="5"/>
                      <a:pt x="2" y="3"/>
                      <a:pt x="0" y="0"/>
                    </a:cubicBezTo>
                    <a:cubicBezTo>
                      <a:pt x="0" y="3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5" name="Freeform 1091"/>
              <p:cNvSpPr>
                <a:spLocks/>
              </p:cNvSpPr>
              <p:nvPr/>
            </p:nvSpPr>
            <p:spPr bwMode="auto">
              <a:xfrm>
                <a:off x="2787" y="1213"/>
                <a:ext cx="2" cy="1"/>
              </a:xfrm>
              <a:custGeom>
                <a:avLst/>
                <a:gdLst>
                  <a:gd name="T0" fmla="*/ 0 w 4"/>
                  <a:gd name="T1" fmla="*/ 2 h 2"/>
                  <a:gd name="T2" fmla="*/ 4 w 4"/>
                  <a:gd name="T3" fmla="*/ 0 h 2"/>
                  <a:gd name="T4" fmla="*/ 0 w 4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cubicBezTo>
                      <a:pt x="1" y="1"/>
                      <a:pt x="2" y="1"/>
                      <a:pt x="4" y="0"/>
                    </a:cubicBezTo>
                    <a:cubicBezTo>
                      <a:pt x="2" y="1"/>
                      <a:pt x="1" y="1"/>
                      <a:pt x="0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6" name="Freeform 1092"/>
              <p:cNvSpPr>
                <a:spLocks/>
              </p:cNvSpPr>
              <p:nvPr/>
            </p:nvSpPr>
            <p:spPr bwMode="auto">
              <a:xfrm>
                <a:off x="2767" y="1051"/>
                <a:ext cx="26" cy="22"/>
              </a:xfrm>
              <a:custGeom>
                <a:avLst/>
                <a:gdLst>
                  <a:gd name="T0" fmla="*/ 6 w 39"/>
                  <a:gd name="T1" fmla="*/ 21 h 33"/>
                  <a:gd name="T2" fmla="*/ 12 w 39"/>
                  <a:gd name="T3" fmla="*/ 28 h 33"/>
                  <a:gd name="T4" fmla="*/ 13 w 39"/>
                  <a:gd name="T5" fmla="*/ 27 h 33"/>
                  <a:gd name="T6" fmla="*/ 12 w 39"/>
                  <a:gd name="T7" fmla="*/ 7 h 33"/>
                  <a:gd name="T8" fmla="*/ 15 w 39"/>
                  <a:gd name="T9" fmla="*/ 16 h 33"/>
                  <a:gd name="T10" fmla="*/ 1 w 39"/>
                  <a:gd name="T11" fmla="*/ 23 h 33"/>
                  <a:gd name="T12" fmla="*/ 6 w 39"/>
                  <a:gd name="T13" fmla="*/ 2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33">
                    <a:moveTo>
                      <a:pt x="6" y="21"/>
                    </a:moveTo>
                    <a:cubicBezTo>
                      <a:pt x="10" y="23"/>
                      <a:pt x="4" y="33"/>
                      <a:pt x="12" y="28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39" y="0"/>
                      <a:pt x="13" y="0"/>
                      <a:pt x="12" y="7"/>
                    </a:cubicBezTo>
                    <a:cubicBezTo>
                      <a:pt x="11" y="10"/>
                      <a:pt x="18" y="11"/>
                      <a:pt x="15" y="16"/>
                    </a:cubicBezTo>
                    <a:cubicBezTo>
                      <a:pt x="14" y="18"/>
                      <a:pt x="4" y="9"/>
                      <a:pt x="1" y="23"/>
                    </a:cubicBezTo>
                    <a:cubicBezTo>
                      <a:pt x="0" y="31"/>
                      <a:pt x="5" y="21"/>
                      <a:pt x="6" y="2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7" name="Freeform 1093"/>
              <p:cNvSpPr>
                <a:spLocks/>
              </p:cNvSpPr>
              <p:nvPr/>
            </p:nvSpPr>
            <p:spPr bwMode="auto">
              <a:xfrm>
                <a:off x="2781" y="1034"/>
                <a:ext cx="49" cy="32"/>
              </a:xfrm>
              <a:custGeom>
                <a:avLst/>
                <a:gdLst>
                  <a:gd name="T0" fmla="*/ 9 w 74"/>
                  <a:gd name="T1" fmla="*/ 46 h 48"/>
                  <a:gd name="T2" fmla="*/ 10 w 74"/>
                  <a:gd name="T3" fmla="*/ 47 h 48"/>
                  <a:gd name="T4" fmla="*/ 18 w 74"/>
                  <a:gd name="T5" fmla="*/ 35 h 48"/>
                  <a:gd name="T6" fmla="*/ 21 w 74"/>
                  <a:gd name="T7" fmla="*/ 38 h 48"/>
                  <a:gd name="T8" fmla="*/ 28 w 74"/>
                  <a:gd name="T9" fmla="*/ 43 h 48"/>
                  <a:gd name="T10" fmla="*/ 30 w 74"/>
                  <a:gd name="T11" fmla="*/ 34 h 48"/>
                  <a:gd name="T12" fmla="*/ 41 w 74"/>
                  <a:gd name="T13" fmla="*/ 34 h 48"/>
                  <a:gd name="T14" fmla="*/ 34 w 74"/>
                  <a:gd name="T15" fmla="*/ 29 h 48"/>
                  <a:gd name="T16" fmla="*/ 65 w 74"/>
                  <a:gd name="T17" fmla="*/ 14 h 48"/>
                  <a:gd name="T18" fmla="*/ 51 w 74"/>
                  <a:gd name="T19" fmla="*/ 16 h 48"/>
                  <a:gd name="T20" fmla="*/ 11 w 74"/>
                  <a:gd name="T21" fmla="*/ 16 h 48"/>
                  <a:gd name="T22" fmla="*/ 20 w 74"/>
                  <a:gd name="T23" fmla="*/ 19 h 48"/>
                  <a:gd name="T24" fmla="*/ 9 w 74"/>
                  <a:gd name="T25" fmla="*/ 28 h 48"/>
                  <a:gd name="T26" fmla="*/ 8 w 74"/>
                  <a:gd name="T27" fmla="*/ 32 h 48"/>
                  <a:gd name="T28" fmla="*/ 9 w 74"/>
                  <a:gd name="T29" fmla="*/ 32 h 48"/>
                  <a:gd name="T30" fmla="*/ 13 w 74"/>
                  <a:gd name="T31" fmla="*/ 32 h 48"/>
                  <a:gd name="T32" fmla="*/ 9 w 74"/>
                  <a:gd name="T33" fmla="*/ 4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4" h="48">
                    <a:moveTo>
                      <a:pt x="9" y="46"/>
                    </a:moveTo>
                    <a:cubicBezTo>
                      <a:pt x="10" y="47"/>
                      <a:pt x="10" y="47"/>
                      <a:pt x="10" y="47"/>
                    </a:cubicBezTo>
                    <a:cubicBezTo>
                      <a:pt x="18" y="48"/>
                      <a:pt x="10" y="34"/>
                      <a:pt x="18" y="35"/>
                    </a:cubicBezTo>
                    <a:cubicBezTo>
                      <a:pt x="18" y="35"/>
                      <a:pt x="21" y="38"/>
                      <a:pt x="21" y="38"/>
                    </a:cubicBezTo>
                    <a:cubicBezTo>
                      <a:pt x="21" y="41"/>
                      <a:pt x="24" y="45"/>
                      <a:pt x="28" y="43"/>
                    </a:cubicBezTo>
                    <a:cubicBezTo>
                      <a:pt x="29" y="42"/>
                      <a:pt x="26" y="35"/>
                      <a:pt x="30" y="34"/>
                    </a:cubicBezTo>
                    <a:cubicBezTo>
                      <a:pt x="30" y="34"/>
                      <a:pt x="41" y="43"/>
                      <a:pt x="41" y="34"/>
                    </a:cubicBezTo>
                    <a:cubicBezTo>
                      <a:pt x="41" y="31"/>
                      <a:pt x="34" y="29"/>
                      <a:pt x="34" y="29"/>
                    </a:cubicBezTo>
                    <a:cubicBezTo>
                      <a:pt x="35" y="29"/>
                      <a:pt x="74" y="20"/>
                      <a:pt x="65" y="14"/>
                    </a:cubicBezTo>
                    <a:cubicBezTo>
                      <a:pt x="58" y="8"/>
                      <a:pt x="58" y="17"/>
                      <a:pt x="51" y="16"/>
                    </a:cubicBezTo>
                    <a:cubicBezTo>
                      <a:pt x="44" y="15"/>
                      <a:pt x="15" y="0"/>
                      <a:pt x="11" y="16"/>
                    </a:cubicBezTo>
                    <a:cubicBezTo>
                      <a:pt x="11" y="17"/>
                      <a:pt x="19" y="17"/>
                      <a:pt x="20" y="19"/>
                    </a:cubicBezTo>
                    <a:cubicBezTo>
                      <a:pt x="21" y="23"/>
                      <a:pt x="3" y="18"/>
                      <a:pt x="9" y="28"/>
                    </a:cubicBezTo>
                    <a:cubicBezTo>
                      <a:pt x="10" y="29"/>
                      <a:pt x="8" y="31"/>
                      <a:pt x="8" y="32"/>
                    </a:cubicBezTo>
                    <a:cubicBezTo>
                      <a:pt x="8" y="32"/>
                      <a:pt x="8" y="32"/>
                      <a:pt x="9" y="32"/>
                    </a:cubicBezTo>
                    <a:cubicBezTo>
                      <a:pt x="12" y="34"/>
                      <a:pt x="10" y="29"/>
                      <a:pt x="13" y="32"/>
                    </a:cubicBezTo>
                    <a:cubicBezTo>
                      <a:pt x="15" y="34"/>
                      <a:pt x="0" y="39"/>
                      <a:pt x="9" y="4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8" name="Freeform 1094"/>
              <p:cNvSpPr>
                <a:spLocks/>
              </p:cNvSpPr>
              <p:nvPr/>
            </p:nvSpPr>
            <p:spPr bwMode="auto">
              <a:xfrm>
                <a:off x="2735" y="1240"/>
                <a:ext cx="16" cy="11"/>
              </a:xfrm>
              <a:custGeom>
                <a:avLst/>
                <a:gdLst>
                  <a:gd name="T0" fmla="*/ 16 w 24"/>
                  <a:gd name="T1" fmla="*/ 17 h 18"/>
                  <a:gd name="T2" fmla="*/ 24 w 24"/>
                  <a:gd name="T3" fmla="*/ 8 h 18"/>
                  <a:gd name="T4" fmla="*/ 24 w 24"/>
                  <a:gd name="T5" fmla="*/ 8 h 18"/>
                  <a:gd name="T6" fmla="*/ 16 w 24"/>
                  <a:gd name="T7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18">
                    <a:moveTo>
                      <a:pt x="16" y="17"/>
                    </a:moveTo>
                    <a:cubicBezTo>
                      <a:pt x="20" y="18"/>
                      <a:pt x="23" y="11"/>
                      <a:pt x="24" y="8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1" y="0"/>
                      <a:pt x="0" y="15"/>
                      <a:pt x="16" y="1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79" name="Freeform 1095"/>
              <p:cNvSpPr>
                <a:spLocks/>
              </p:cNvSpPr>
              <p:nvPr/>
            </p:nvSpPr>
            <p:spPr bwMode="auto">
              <a:xfrm>
                <a:off x="2745" y="1055"/>
                <a:ext cx="23" cy="37"/>
              </a:xfrm>
              <a:custGeom>
                <a:avLst/>
                <a:gdLst>
                  <a:gd name="T0" fmla="*/ 12 w 36"/>
                  <a:gd name="T1" fmla="*/ 44 h 56"/>
                  <a:gd name="T2" fmla="*/ 20 w 36"/>
                  <a:gd name="T3" fmla="*/ 27 h 56"/>
                  <a:gd name="T4" fmla="*/ 26 w 36"/>
                  <a:gd name="T5" fmla="*/ 32 h 56"/>
                  <a:gd name="T6" fmla="*/ 32 w 36"/>
                  <a:gd name="T7" fmla="*/ 22 h 56"/>
                  <a:gd name="T8" fmla="*/ 31 w 36"/>
                  <a:gd name="T9" fmla="*/ 21 h 56"/>
                  <a:gd name="T10" fmla="*/ 27 w 36"/>
                  <a:gd name="T11" fmla="*/ 18 h 56"/>
                  <a:gd name="T12" fmla="*/ 33 w 36"/>
                  <a:gd name="T13" fmla="*/ 11 h 56"/>
                  <a:gd name="T14" fmla="*/ 26 w 36"/>
                  <a:gd name="T15" fmla="*/ 9 h 56"/>
                  <a:gd name="T16" fmla="*/ 25 w 36"/>
                  <a:gd name="T17" fmla="*/ 9 h 56"/>
                  <a:gd name="T18" fmla="*/ 24 w 36"/>
                  <a:gd name="T19" fmla="*/ 11 h 56"/>
                  <a:gd name="T20" fmla="*/ 2 w 36"/>
                  <a:gd name="T21" fmla="*/ 51 h 56"/>
                  <a:gd name="T22" fmla="*/ 12 w 36"/>
                  <a:gd name="T23" fmla="*/ 4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6">
                    <a:moveTo>
                      <a:pt x="12" y="44"/>
                    </a:moveTo>
                    <a:cubicBezTo>
                      <a:pt x="33" y="36"/>
                      <a:pt x="14" y="32"/>
                      <a:pt x="20" y="27"/>
                    </a:cubicBezTo>
                    <a:cubicBezTo>
                      <a:pt x="22" y="26"/>
                      <a:pt x="23" y="32"/>
                      <a:pt x="26" y="32"/>
                    </a:cubicBezTo>
                    <a:cubicBezTo>
                      <a:pt x="30" y="32"/>
                      <a:pt x="36" y="28"/>
                      <a:pt x="32" y="22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30" y="14"/>
                      <a:pt x="27" y="23"/>
                      <a:pt x="27" y="18"/>
                    </a:cubicBezTo>
                    <a:cubicBezTo>
                      <a:pt x="27" y="14"/>
                      <a:pt x="30" y="13"/>
                      <a:pt x="33" y="11"/>
                    </a:cubicBezTo>
                    <a:cubicBezTo>
                      <a:pt x="34" y="10"/>
                      <a:pt x="26" y="0"/>
                      <a:pt x="26" y="9"/>
                    </a:cubicBezTo>
                    <a:cubicBezTo>
                      <a:pt x="26" y="9"/>
                      <a:pt x="26" y="9"/>
                      <a:pt x="25" y="9"/>
                    </a:cubicBezTo>
                    <a:cubicBezTo>
                      <a:pt x="25" y="10"/>
                      <a:pt x="25" y="11"/>
                      <a:pt x="24" y="11"/>
                    </a:cubicBezTo>
                    <a:cubicBezTo>
                      <a:pt x="18" y="19"/>
                      <a:pt x="0" y="49"/>
                      <a:pt x="2" y="51"/>
                    </a:cubicBezTo>
                    <a:cubicBezTo>
                      <a:pt x="6" y="56"/>
                      <a:pt x="10" y="45"/>
                      <a:pt x="12" y="4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0" name="Freeform 1096"/>
              <p:cNvSpPr>
                <a:spLocks/>
              </p:cNvSpPr>
              <p:nvPr/>
            </p:nvSpPr>
            <p:spPr bwMode="auto">
              <a:xfrm>
                <a:off x="2815" y="1034"/>
                <a:ext cx="21" cy="9"/>
              </a:xfrm>
              <a:custGeom>
                <a:avLst/>
                <a:gdLst>
                  <a:gd name="T0" fmla="*/ 8 w 32"/>
                  <a:gd name="T1" fmla="*/ 7 h 14"/>
                  <a:gd name="T2" fmla="*/ 19 w 32"/>
                  <a:gd name="T3" fmla="*/ 14 h 14"/>
                  <a:gd name="T4" fmla="*/ 19 w 32"/>
                  <a:gd name="T5" fmla="*/ 14 h 14"/>
                  <a:gd name="T6" fmla="*/ 24 w 32"/>
                  <a:gd name="T7" fmla="*/ 12 h 14"/>
                  <a:gd name="T8" fmla="*/ 8 w 32"/>
                  <a:gd name="T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14">
                    <a:moveTo>
                      <a:pt x="8" y="7"/>
                    </a:moveTo>
                    <a:cubicBezTo>
                      <a:pt x="11" y="9"/>
                      <a:pt x="15" y="12"/>
                      <a:pt x="19" y="14"/>
                    </a:cubicBezTo>
                    <a:cubicBezTo>
                      <a:pt x="19" y="14"/>
                      <a:pt x="19" y="14"/>
                      <a:pt x="19" y="14"/>
                    </a:cubicBezTo>
                    <a:cubicBezTo>
                      <a:pt x="22" y="14"/>
                      <a:pt x="22" y="14"/>
                      <a:pt x="24" y="12"/>
                    </a:cubicBezTo>
                    <a:cubicBezTo>
                      <a:pt x="32" y="1"/>
                      <a:pt x="0" y="0"/>
                      <a:pt x="8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1" name="Freeform 1097"/>
              <p:cNvSpPr>
                <a:spLocks/>
              </p:cNvSpPr>
              <p:nvPr/>
            </p:nvSpPr>
            <p:spPr bwMode="auto">
              <a:xfrm>
                <a:off x="2869" y="971"/>
                <a:ext cx="11" cy="7"/>
              </a:xfrm>
              <a:custGeom>
                <a:avLst/>
                <a:gdLst>
                  <a:gd name="T0" fmla="*/ 8 w 18"/>
                  <a:gd name="T1" fmla="*/ 10 h 10"/>
                  <a:gd name="T2" fmla="*/ 8 w 18"/>
                  <a:gd name="T3" fmla="*/ 10 h 10"/>
                  <a:gd name="T4" fmla="*/ 8 w 18"/>
                  <a:gd name="T5" fmla="*/ 2 h 10"/>
                  <a:gd name="T6" fmla="*/ 8 w 18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10">
                    <a:moveTo>
                      <a:pt x="8" y="10"/>
                    </a:moveTo>
                    <a:cubicBezTo>
                      <a:pt x="8" y="10"/>
                      <a:pt x="8" y="10"/>
                      <a:pt x="8" y="10"/>
                    </a:cubicBezTo>
                    <a:cubicBezTo>
                      <a:pt x="18" y="10"/>
                      <a:pt x="13" y="3"/>
                      <a:pt x="8" y="2"/>
                    </a:cubicBezTo>
                    <a:cubicBezTo>
                      <a:pt x="1" y="0"/>
                      <a:pt x="0" y="9"/>
                      <a:pt x="8" y="1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2" name="Freeform 1098"/>
              <p:cNvSpPr>
                <a:spLocks/>
              </p:cNvSpPr>
              <p:nvPr/>
            </p:nvSpPr>
            <p:spPr bwMode="auto">
              <a:xfrm>
                <a:off x="2837" y="963"/>
                <a:ext cx="62" cy="51"/>
              </a:xfrm>
              <a:custGeom>
                <a:avLst/>
                <a:gdLst>
                  <a:gd name="T0" fmla="*/ 28 w 95"/>
                  <a:gd name="T1" fmla="*/ 57 h 78"/>
                  <a:gd name="T2" fmla="*/ 30 w 95"/>
                  <a:gd name="T3" fmla="*/ 51 h 78"/>
                  <a:gd name="T4" fmla="*/ 63 w 95"/>
                  <a:gd name="T5" fmla="*/ 48 h 78"/>
                  <a:gd name="T6" fmla="*/ 62 w 95"/>
                  <a:gd name="T7" fmla="*/ 42 h 78"/>
                  <a:gd name="T8" fmla="*/ 73 w 95"/>
                  <a:gd name="T9" fmla="*/ 52 h 78"/>
                  <a:gd name="T10" fmla="*/ 41 w 95"/>
                  <a:gd name="T11" fmla="*/ 65 h 78"/>
                  <a:gd name="T12" fmla="*/ 41 w 95"/>
                  <a:gd name="T13" fmla="*/ 65 h 78"/>
                  <a:gd name="T14" fmla="*/ 93 w 95"/>
                  <a:gd name="T15" fmla="*/ 55 h 78"/>
                  <a:gd name="T16" fmla="*/ 83 w 95"/>
                  <a:gd name="T17" fmla="*/ 43 h 78"/>
                  <a:gd name="T18" fmla="*/ 92 w 95"/>
                  <a:gd name="T19" fmla="*/ 29 h 78"/>
                  <a:gd name="T20" fmla="*/ 79 w 95"/>
                  <a:gd name="T21" fmla="*/ 32 h 78"/>
                  <a:gd name="T22" fmla="*/ 84 w 95"/>
                  <a:gd name="T23" fmla="*/ 18 h 78"/>
                  <a:gd name="T24" fmla="*/ 76 w 95"/>
                  <a:gd name="T25" fmla="*/ 21 h 78"/>
                  <a:gd name="T26" fmla="*/ 71 w 95"/>
                  <a:gd name="T27" fmla="*/ 3 h 78"/>
                  <a:gd name="T28" fmla="*/ 59 w 95"/>
                  <a:gd name="T29" fmla="*/ 12 h 78"/>
                  <a:gd name="T30" fmla="*/ 72 w 95"/>
                  <a:gd name="T31" fmla="*/ 34 h 78"/>
                  <a:gd name="T32" fmla="*/ 63 w 95"/>
                  <a:gd name="T33" fmla="*/ 28 h 78"/>
                  <a:gd name="T34" fmla="*/ 58 w 95"/>
                  <a:gd name="T35" fmla="*/ 34 h 78"/>
                  <a:gd name="T36" fmla="*/ 54 w 95"/>
                  <a:gd name="T37" fmla="*/ 27 h 78"/>
                  <a:gd name="T38" fmla="*/ 50 w 95"/>
                  <a:gd name="T39" fmla="*/ 43 h 78"/>
                  <a:gd name="T40" fmla="*/ 43 w 95"/>
                  <a:gd name="T41" fmla="*/ 38 h 78"/>
                  <a:gd name="T42" fmla="*/ 30 w 95"/>
                  <a:gd name="T43" fmla="*/ 43 h 78"/>
                  <a:gd name="T44" fmla="*/ 26 w 95"/>
                  <a:gd name="T45" fmla="*/ 32 h 78"/>
                  <a:gd name="T46" fmla="*/ 23 w 95"/>
                  <a:gd name="T47" fmla="*/ 47 h 78"/>
                  <a:gd name="T48" fmla="*/ 19 w 95"/>
                  <a:gd name="T49" fmla="*/ 37 h 78"/>
                  <a:gd name="T50" fmla="*/ 13 w 95"/>
                  <a:gd name="T51" fmla="*/ 38 h 78"/>
                  <a:gd name="T52" fmla="*/ 15 w 95"/>
                  <a:gd name="T53" fmla="*/ 46 h 78"/>
                  <a:gd name="T54" fmla="*/ 11 w 95"/>
                  <a:gd name="T55" fmla="*/ 49 h 78"/>
                  <a:gd name="T56" fmla="*/ 3 w 95"/>
                  <a:gd name="T57" fmla="*/ 59 h 78"/>
                  <a:gd name="T58" fmla="*/ 28 w 95"/>
                  <a:gd name="T59" fmla="*/ 57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5" h="78">
                    <a:moveTo>
                      <a:pt x="28" y="57"/>
                    </a:moveTo>
                    <a:cubicBezTo>
                      <a:pt x="29" y="55"/>
                      <a:pt x="28" y="50"/>
                      <a:pt x="30" y="51"/>
                    </a:cubicBezTo>
                    <a:cubicBezTo>
                      <a:pt x="37" y="56"/>
                      <a:pt x="55" y="57"/>
                      <a:pt x="63" y="48"/>
                    </a:cubicBezTo>
                    <a:cubicBezTo>
                      <a:pt x="66" y="43"/>
                      <a:pt x="53" y="41"/>
                      <a:pt x="62" y="42"/>
                    </a:cubicBezTo>
                    <a:cubicBezTo>
                      <a:pt x="68" y="43"/>
                      <a:pt x="74" y="45"/>
                      <a:pt x="73" y="52"/>
                    </a:cubicBezTo>
                    <a:cubicBezTo>
                      <a:pt x="72" y="59"/>
                      <a:pt x="41" y="56"/>
                      <a:pt x="41" y="65"/>
                    </a:cubicBezTo>
                    <a:cubicBezTo>
                      <a:pt x="41" y="65"/>
                      <a:pt x="41" y="65"/>
                      <a:pt x="41" y="65"/>
                    </a:cubicBezTo>
                    <a:cubicBezTo>
                      <a:pt x="42" y="78"/>
                      <a:pt x="90" y="69"/>
                      <a:pt x="93" y="55"/>
                    </a:cubicBezTo>
                    <a:cubicBezTo>
                      <a:pt x="95" y="45"/>
                      <a:pt x="83" y="46"/>
                      <a:pt x="83" y="43"/>
                    </a:cubicBezTo>
                    <a:cubicBezTo>
                      <a:pt x="83" y="36"/>
                      <a:pt x="94" y="37"/>
                      <a:pt x="92" y="29"/>
                    </a:cubicBezTo>
                    <a:cubicBezTo>
                      <a:pt x="92" y="25"/>
                      <a:pt x="79" y="32"/>
                      <a:pt x="79" y="32"/>
                    </a:cubicBezTo>
                    <a:cubicBezTo>
                      <a:pt x="79" y="29"/>
                      <a:pt x="86" y="24"/>
                      <a:pt x="84" y="18"/>
                    </a:cubicBezTo>
                    <a:cubicBezTo>
                      <a:pt x="83" y="16"/>
                      <a:pt x="73" y="23"/>
                      <a:pt x="76" y="21"/>
                    </a:cubicBezTo>
                    <a:cubicBezTo>
                      <a:pt x="77" y="20"/>
                      <a:pt x="76" y="7"/>
                      <a:pt x="71" y="3"/>
                    </a:cubicBezTo>
                    <a:cubicBezTo>
                      <a:pt x="67" y="0"/>
                      <a:pt x="58" y="7"/>
                      <a:pt x="59" y="12"/>
                    </a:cubicBezTo>
                    <a:cubicBezTo>
                      <a:pt x="60" y="18"/>
                      <a:pt x="74" y="29"/>
                      <a:pt x="72" y="34"/>
                    </a:cubicBezTo>
                    <a:cubicBezTo>
                      <a:pt x="71" y="36"/>
                      <a:pt x="65" y="28"/>
                      <a:pt x="63" y="28"/>
                    </a:cubicBezTo>
                    <a:cubicBezTo>
                      <a:pt x="61" y="28"/>
                      <a:pt x="58" y="42"/>
                      <a:pt x="58" y="34"/>
                    </a:cubicBezTo>
                    <a:cubicBezTo>
                      <a:pt x="57" y="32"/>
                      <a:pt x="57" y="27"/>
                      <a:pt x="54" y="27"/>
                    </a:cubicBezTo>
                    <a:cubicBezTo>
                      <a:pt x="47" y="27"/>
                      <a:pt x="58" y="40"/>
                      <a:pt x="50" y="43"/>
                    </a:cubicBezTo>
                    <a:cubicBezTo>
                      <a:pt x="46" y="45"/>
                      <a:pt x="50" y="37"/>
                      <a:pt x="43" y="38"/>
                    </a:cubicBezTo>
                    <a:cubicBezTo>
                      <a:pt x="39" y="39"/>
                      <a:pt x="32" y="45"/>
                      <a:pt x="30" y="43"/>
                    </a:cubicBezTo>
                    <a:cubicBezTo>
                      <a:pt x="28" y="42"/>
                      <a:pt x="34" y="29"/>
                      <a:pt x="26" y="32"/>
                    </a:cubicBezTo>
                    <a:cubicBezTo>
                      <a:pt x="21" y="34"/>
                      <a:pt x="29" y="47"/>
                      <a:pt x="23" y="47"/>
                    </a:cubicBezTo>
                    <a:cubicBezTo>
                      <a:pt x="18" y="47"/>
                      <a:pt x="19" y="40"/>
                      <a:pt x="19" y="37"/>
                    </a:cubicBezTo>
                    <a:cubicBezTo>
                      <a:pt x="18" y="33"/>
                      <a:pt x="14" y="37"/>
                      <a:pt x="13" y="38"/>
                    </a:cubicBezTo>
                    <a:cubicBezTo>
                      <a:pt x="2" y="44"/>
                      <a:pt x="13" y="43"/>
                      <a:pt x="15" y="46"/>
                    </a:cubicBezTo>
                    <a:cubicBezTo>
                      <a:pt x="16" y="48"/>
                      <a:pt x="12" y="49"/>
                      <a:pt x="11" y="49"/>
                    </a:cubicBezTo>
                    <a:cubicBezTo>
                      <a:pt x="7" y="48"/>
                      <a:pt x="0" y="54"/>
                      <a:pt x="3" y="59"/>
                    </a:cubicBezTo>
                    <a:cubicBezTo>
                      <a:pt x="5" y="61"/>
                      <a:pt x="20" y="75"/>
                      <a:pt x="28" y="5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3" name="Freeform 1099"/>
              <p:cNvSpPr>
                <a:spLocks/>
              </p:cNvSpPr>
              <p:nvPr/>
            </p:nvSpPr>
            <p:spPr bwMode="auto">
              <a:xfrm>
                <a:off x="2827" y="1022"/>
                <a:ext cx="57" cy="32"/>
              </a:xfrm>
              <a:custGeom>
                <a:avLst/>
                <a:gdLst>
                  <a:gd name="T0" fmla="*/ 10 w 87"/>
                  <a:gd name="T1" fmla="*/ 37 h 49"/>
                  <a:gd name="T2" fmla="*/ 3 w 87"/>
                  <a:gd name="T3" fmla="*/ 46 h 49"/>
                  <a:gd name="T4" fmla="*/ 2 w 87"/>
                  <a:gd name="T5" fmla="*/ 48 h 49"/>
                  <a:gd name="T6" fmla="*/ 44 w 87"/>
                  <a:gd name="T7" fmla="*/ 33 h 49"/>
                  <a:gd name="T8" fmla="*/ 47 w 87"/>
                  <a:gd name="T9" fmla="*/ 20 h 49"/>
                  <a:gd name="T10" fmla="*/ 48 w 87"/>
                  <a:gd name="T11" fmla="*/ 33 h 49"/>
                  <a:gd name="T12" fmla="*/ 74 w 87"/>
                  <a:gd name="T13" fmla="*/ 16 h 49"/>
                  <a:gd name="T14" fmla="*/ 86 w 87"/>
                  <a:gd name="T15" fmla="*/ 2 h 49"/>
                  <a:gd name="T16" fmla="*/ 77 w 87"/>
                  <a:gd name="T17" fmla="*/ 4 h 49"/>
                  <a:gd name="T18" fmla="*/ 64 w 87"/>
                  <a:gd name="T19" fmla="*/ 5 h 49"/>
                  <a:gd name="T20" fmla="*/ 61 w 87"/>
                  <a:gd name="T21" fmla="*/ 14 h 49"/>
                  <a:gd name="T22" fmla="*/ 56 w 87"/>
                  <a:gd name="T23" fmla="*/ 16 h 49"/>
                  <a:gd name="T24" fmla="*/ 52 w 87"/>
                  <a:gd name="T25" fmla="*/ 16 h 49"/>
                  <a:gd name="T26" fmla="*/ 54 w 87"/>
                  <a:gd name="T27" fmla="*/ 5 h 49"/>
                  <a:gd name="T28" fmla="*/ 47 w 87"/>
                  <a:gd name="T29" fmla="*/ 13 h 49"/>
                  <a:gd name="T30" fmla="*/ 43 w 87"/>
                  <a:gd name="T31" fmla="*/ 6 h 49"/>
                  <a:gd name="T32" fmla="*/ 34 w 87"/>
                  <a:gd name="T33" fmla="*/ 8 h 49"/>
                  <a:gd name="T34" fmla="*/ 32 w 87"/>
                  <a:gd name="T35" fmla="*/ 13 h 49"/>
                  <a:gd name="T36" fmla="*/ 18 w 87"/>
                  <a:gd name="T37" fmla="*/ 14 h 49"/>
                  <a:gd name="T38" fmla="*/ 29 w 87"/>
                  <a:gd name="T39" fmla="*/ 24 h 49"/>
                  <a:gd name="T40" fmla="*/ 23 w 87"/>
                  <a:gd name="T41" fmla="*/ 23 h 49"/>
                  <a:gd name="T42" fmla="*/ 12 w 87"/>
                  <a:gd name="T43" fmla="*/ 23 h 49"/>
                  <a:gd name="T44" fmla="*/ 14 w 87"/>
                  <a:gd name="T45" fmla="*/ 31 h 49"/>
                  <a:gd name="T46" fmla="*/ 11 w 87"/>
                  <a:gd name="T47" fmla="*/ 35 h 49"/>
                  <a:gd name="T48" fmla="*/ 16 w 87"/>
                  <a:gd name="T49" fmla="*/ 35 h 49"/>
                  <a:gd name="T50" fmla="*/ 10 w 87"/>
                  <a:gd name="T51" fmla="*/ 3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7" h="49">
                    <a:moveTo>
                      <a:pt x="10" y="37"/>
                    </a:moveTo>
                    <a:cubicBezTo>
                      <a:pt x="0" y="38"/>
                      <a:pt x="6" y="43"/>
                      <a:pt x="3" y="46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49"/>
                      <a:pt x="45" y="37"/>
                      <a:pt x="44" y="33"/>
                    </a:cubicBezTo>
                    <a:cubicBezTo>
                      <a:pt x="43" y="29"/>
                      <a:pt x="43" y="21"/>
                      <a:pt x="47" y="20"/>
                    </a:cubicBezTo>
                    <a:cubicBezTo>
                      <a:pt x="56" y="18"/>
                      <a:pt x="46" y="31"/>
                      <a:pt x="48" y="33"/>
                    </a:cubicBezTo>
                    <a:cubicBezTo>
                      <a:pt x="49" y="33"/>
                      <a:pt x="66" y="26"/>
                      <a:pt x="74" y="16"/>
                    </a:cubicBezTo>
                    <a:cubicBezTo>
                      <a:pt x="76" y="14"/>
                      <a:pt x="87" y="4"/>
                      <a:pt x="86" y="2"/>
                    </a:cubicBezTo>
                    <a:cubicBezTo>
                      <a:pt x="86" y="1"/>
                      <a:pt x="78" y="3"/>
                      <a:pt x="77" y="4"/>
                    </a:cubicBezTo>
                    <a:cubicBezTo>
                      <a:pt x="74" y="7"/>
                      <a:pt x="67" y="2"/>
                      <a:pt x="64" y="5"/>
                    </a:cubicBezTo>
                    <a:cubicBezTo>
                      <a:pt x="61" y="8"/>
                      <a:pt x="65" y="13"/>
                      <a:pt x="61" y="14"/>
                    </a:cubicBezTo>
                    <a:cubicBezTo>
                      <a:pt x="59" y="14"/>
                      <a:pt x="58" y="15"/>
                      <a:pt x="56" y="16"/>
                    </a:cubicBezTo>
                    <a:cubicBezTo>
                      <a:pt x="55" y="17"/>
                      <a:pt x="54" y="17"/>
                      <a:pt x="52" y="16"/>
                    </a:cubicBezTo>
                    <a:cubicBezTo>
                      <a:pt x="52" y="16"/>
                      <a:pt x="63" y="10"/>
                      <a:pt x="54" y="5"/>
                    </a:cubicBezTo>
                    <a:cubicBezTo>
                      <a:pt x="45" y="0"/>
                      <a:pt x="49" y="11"/>
                      <a:pt x="47" y="13"/>
                    </a:cubicBezTo>
                    <a:cubicBezTo>
                      <a:pt x="45" y="15"/>
                      <a:pt x="44" y="7"/>
                      <a:pt x="43" y="6"/>
                    </a:cubicBezTo>
                    <a:cubicBezTo>
                      <a:pt x="41" y="4"/>
                      <a:pt x="37" y="7"/>
                      <a:pt x="34" y="8"/>
                    </a:cubicBezTo>
                    <a:cubicBezTo>
                      <a:pt x="33" y="9"/>
                      <a:pt x="33" y="14"/>
                      <a:pt x="32" y="13"/>
                    </a:cubicBezTo>
                    <a:cubicBezTo>
                      <a:pt x="31" y="11"/>
                      <a:pt x="19" y="13"/>
                      <a:pt x="18" y="14"/>
                    </a:cubicBezTo>
                    <a:cubicBezTo>
                      <a:pt x="18" y="16"/>
                      <a:pt x="28" y="20"/>
                      <a:pt x="29" y="24"/>
                    </a:cubicBezTo>
                    <a:cubicBezTo>
                      <a:pt x="29" y="25"/>
                      <a:pt x="25" y="21"/>
                      <a:pt x="23" y="23"/>
                    </a:cubicBezTo>
                    <a:cubicBezTo>
                      <a:pt x="16" y="32"/>
                      <a:pt x="17" y="18"/>
                      <a:pt x="12" y="23"/>
                    </a:cubicBezTo>
                    <a:cubicBezTo>
                      <a:pt x="8" y="27"/>
                      <a:pt x="13" y="28"/>
                      <a:pt x="14" y="31"/>
                    </a:cubicBezTo>
                    <a:cubicBezTo>
                      <a:pt x="14" y="33"/>
                      <a:pt x="9" y="35"/>
                      <a:pt x="11" y="35"/>
                    </a:cubicBezTo>
                    <a:cubicBezTo>
                      <a:pt x="11" y="35"/>
                      <a:pt x="16" y="34"/>
                      <a:pt x="16" y="35"/>
                    </a:cubicBezTo>
                    <a:cubicBezTo>
                      <a:pt x="16" y="35"/>
                      <a:pt x="10" y="37"/>
                      <a:pt x="10" y="3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4" name="Freeform 1100"/>
              <p:cNvSpPr>
                <a:spLocks/>
              </p:cNvSpPr>
              <p:nvPr/>
            </p:nvSpPr>
            <p:spPr bwMode="auto">
              <a:xfrm>
                <a:off x="2825" y="1127"/>
                <a:ext cx="24" cy="8"/>
              </a:xfrm>
              <a:custGeom>
                <a:avLst/>
                <a:gdLst>
                  <a:gd name="T0" fmla="*/ 6 w 36"/>
                  <a:gd name="T1" fmla="*/ 12 h 13"/>
                  <a:gd name="T2" fmla="*/ 16 w 36"/>
                  <a:gd name="T3" fmla="*/ 11 h 13"/>
                  <a:gd name="T4" fmla="*/ 6 w 36"/>
                  <a:gd name="T5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13">
                    <a:moveTo>
                      <a:pt x="6" y="12"/>
                    </a:moveTo>
                    <a:cubicBezTo>
                      <a:pt x="7" y="13"/>
                      <a:pt x="15" y="11"/>
                      <a:pt x="16" y="11"/>
                    </a:cubicBezTo>
                    <a:cubicBezTo>
                      <a:pt x="36" y="5"/>
                      <a:pt x="0" y="0"/>
                      <a:pt x="6" y="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5" name="Freeform 1101"/>
              <p:cNvSpPr>
                <a:spLocks/>
              </p:cNvSpPr>
              <p:nvPr/>
            </p:nvSpPr>
            <p:spPr bwMode="auto">
              <a:xfrm>
                <a:off x="2816" y="1152"/>
                <a:ext cx="18" cy="20"/>
              </a:xfrm>
              <a:custGeom>
                <a:avLst/>
                <a:gdLst>
                  <a:gd name="T0" fmla="*/ 19 w 27"/>
                  <a:gd name="T1" fmla="*/ 9 h 31"/>
                  <a:gd name="T2" fmla="*/ 0 w 27"/>
                  <a:gd name="T3" fmla="*/ 18 h 31"/>
                  <a:gd name="T4" fmla="*/ 9 w 27"/>
                  <a:gd name="T5" fmla="*/ 19 h 31"/>
                  <a:gd name="T6" fmla="*/ 18 w 27"/>
                  <a:gd name="T7" fmla="*/ 30 h 31"/>
                  <a:gd name="T8" fmla="*/ 19 w 27"/>
                  <a:gd name="T9" fmla="*/ 29 h 31"/>
                  <a:gd name="T10" fmla="*/ 24 w 27"/>
                  <a:gd name="T11" fmla="*/ 7 h 31"/>
                  <a:gd name="T12" fmla="*/ 19 w 27"/>
                  <a:gd name="T13" fmla="*/ 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31">
                    <a:moveTo>
                      <a:pt x="19" y="9"/>
                    </a:moveTo>
                    <a:cubicBezTo>
                      <a:pt x="14" y="17"/>
                      <a:pt x="2" y="5"/>
                      <a:pt x="0" y="18"/>
                    </a:cubicBezTo>
                    <a:cubicBezTo>
                      <a:pt x="0" y="20"/>
                      <a:pt x="8" y="18"/>
                      <a:pt x="9" y="19"/>
                    </a:cubicBezTo>
                    <a:cubicBezTo>
                      <a:pt x="12" y="23"/>
                      <a:pt x="15" y="31"/>
                      <a:pt x="18" y="30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20" y="28"/>
                      <a:pt x="22" y="12"/>
                      <a:pt x="24" y="7"/>
                    </a:cubicBezTo>
                    <a:cubicBezTo>
                      <a:pt x="27" y="0"/>
                      <a:pt x="21" y="6"/>
                      <a:pt x="19" y="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6" name="Freeform 1102"/>
              <p:cNvSpPr>
                <a:spLocks/>
              </p:cNvSpPr>
              <p:nvPr/>
            </p:nvSpPr>
            <p:spPr bwMode="auto">
              <a:xfrm>
                <a:off x="3010" y="1060"/>
                <a:ext cx="24" cy="12"/>
              </a:xfrm>
              <a:custGeom>
                <a:avLst/>
                <a:gdLst>
                  <a:gd name="T0" fmla="*/ 38 w 38"/>
                  <a:gd name="T1" fmla="*/ 19 h 19"/>
                  <a:gd name="T2" fmla="*/ 0 w 38"/>
                  <a:gd name="T3" fmla="*/ 1 h 19"/>
                  <a:gd name="T4" fmla="*/ 38 w 3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8" h="19">
                    <a:moveTo>
                      <a:pt x="38" y="19"/>
                    </a:moveTo>
                    <a:cubicBezTo>
                      <a:pt x="25" y="13"/>
                      <a:pt x="10" y="0"/>
                      <a:pt x="0" y="1"/>
                    </a:cubicBezTo>
                    <a:cubicBezTo>
                      <a:pt x="10" y="0"/>
                      <a:pt x="25" y="13"/>
                      <a:pt x="38" y="1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7" name="Freeform 1103"/>
              <p:cNvSpPr>
                <a:spLocks/>
              </p:cNvSpPr>
              <p:nvPr/>
            </p:nvSpPr>
            <p:spPr bwMode="auto">
              <a:xfrm>
                <a:off x="3034" y="1072"/>
                <a:ext cx="2" cy="2"/>
              </a:xfrm>
              <a:custGeom>
                <a:avLst/>
                <a:gdLst>
                  <a:gd name="T0" fmla="*/ 0 w 3"/>
                  <a:gd name="T1" fmla="*/ 0 h 2"/>
                  <a:gd name="T2" fmla="*/ 3 w 3"/>
                  <a:gd name="T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1" y="1"/>
                      <a:pt x="2" y="1"/>
                      <a:pt x="3" y="2"/>
                    </a:cubicBezTo>
                  </a:path>
                </a:pathLst>
              </a:custGeom>
              <a:grpFill/>
              <a:ln w="127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8" name="Freeform 1104"/>
              <p:cNvSpPr>
                <a:spLocks/>
              </p:cNvSpPr>
              <p:nvPr/>
            </p:nvSpPr>
            <p:spPr bwMode="auto">
              <a:xfrm>
                <a:off x="3036" y="1074"/>
                <a:ext cx="2" cy="0"/>
              </a:xfrm>
              <a:custGeom>
                <a:avLst/>
                <a:gdLst>
                  <a:gd name="T0" fmla="*/ 0 w 3"/>
                  <a:gd name="T1" fmla="*/ 0 h 1"/>
                  <a:gd name="T2" fmla="*/ 3 w 3"/>
                  <a:gd name="T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cubicBezTo>
                      <a:pt x="1" y="0"/>
                      <a:pt x="2" y="1"/>
                      <a:pt x="3" y="1"/>
                    </a:cubicBezTo>
                  </a:path>
                </a:pathLst>
              </a:custGeom>
              <a:grpFill/>
              <a:ln w="127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89" name="Freeform 1105"/>
              <p:cNvSpPr>
                <a:spLocks/>
              </p:cNvSpPr>
              <p:nvPr/>
            </p:nvSpPr>
            <p:spPr bwMode="auto">
              <a:xfrm>
                <a:off x="2775" y="1461"/>
                <a:ext cx="35" cy="7"/>
              </a:xfrm>
              <a:custGeom>
                <a:avLst/>
                <a:gdLst>
                  <a:gd name="T0" fmla="*/ 53 w 53"/>
                  <a:gd name="T1" fmla="*/ 11 h 11"/>
                  <a:gd name="T2" fmla="*/ 0 w 53"/>
                  <a:gd name="T3" fmla="*/ 0 h 11"/>
                  <a:gd name="T4" fmla="*/ 53 w 53"/>
                  <a:gd name="T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3" h="11">
                    <a:moveTo>
                      <a:pt x="53" y="11"/>
                    </a:moveTo>
                    <a:cubicBezTo>
                      <a:pt x="37" y="10"/>
                      <a:pt x="16" y="1"/>
                      <a:pt x="0" y="0"/>
                    </a:cubicBezTo>
                    <a:cubicBezTo>
                      <a:pt x="16" y="1"/>
                      <a:pt x="37" y="10"/>
                      <a:pt x="53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0" name="Freeform 1106"/>
              <p:cNvSpPr>
                <a:spLocks/>
              </p:cNvSpPr>
              <p:nvPr/>
            </p:nvSpPr>
            <p:spPr bwMode="auto">
              <a:xfrm>
                <a:off x="2702" y="1865"/>
                <a:ext cx="5" cy="0"/>
              </a:xfrm>
              <a:custGeom>
                <a:avLst/>
                <a:gdLst>
                  <a:gd name="T0" fmla="*/ 7 w 7"/>
                  <a:gd name="T1" fmla="*/ 0 w 7"/>
                  <a:gd name="T2" fmla="*/ 7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cubicBezTo>
                      <a:pt x="5" y="0"/>
                      <a:pt x="3" y="0"/>
                      <a:pt x="0" y="0"/>
                    </a:cubicBezTo>
                    <a:cubicBezTo>
                      <a:pt x="3" y="0"/>
                      <a:pt x="5" y="0"/>
                      <a:pt x="7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1" name="Freeform 1107"/>
              <p:cNvSpPr>
                <a:spLocks/>
              </p:cNvSpPr>
              <p:nvPr/>
            </p:nvSpPr>
            <p:spPr bwMode="auto">
              <a:xfrm>
                <a:off x="3073" y="1014"/>
                <a:ext cx="87" cy="21"/>
              </a:xfrm>
              <a:custGeom>
                <a:avLst/>
                <a:gdLst>
                  <a:gd name="T0" fmla="*/ 134 w 134"/>
                  <a:gd name="T1" fmla="*/ 32 h 32"/>
                  <a:gd name="T2" fmla="*/ 0 w 134"/>
                  <a:gd name="T3" fmla="*/ 0 h 32"/>
                  <a:gd name="T4" fmla="*/ 134 w 134"/>
                  <a:gd name="T5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4" h="32">
                    <a:moveTo>
                      <a:pt x="134" y="32"/>
                    </a:moveTo>
                    <a:cubicBezTo>
                      <a:pt x="110" y="32"/>
                      <a:pt x="40" y="3"/>
                      <a:pt x="0" y="0"/>
                    </a:cubicBezTo>
                    <a:cubicBezTo>
                      <a:pt x="40" y="3"/>
                      <a:pt x="110" y="32"/>
                      <a:pt x="134" y="3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2" name="Freeform 1108"/>
              <p:cNvSpPr>
                <a:spLocks/>
              </p:cNvSpPr>
              <p:nvPr/>
            </p:nvSpPr>
            <p:spPr bwMode="auto">
              <a:xfrm>
                <a:off x="2667" y="1950"/>
                <a:ext cx="5" cy="10"/>
              </a:xfrm>
              <a:custGeom>
                <a:avLst/>
                <a:gdLst>
                  <a:gd name="T0" fmla="*/ 8 w 8"/>
                  <a:gd name="T1" fmla="*/ 15 h 15"/>
                  <a:gd name="T2" fmla="*/ 0 w 8"/>
                  <a:gd name="T3" fmla="*/ 0 h 15"/>
                  <a:gd name="T4" fmla="*/ 0 w 8"/>
                  <a:gd name="T5" fmla="*/ 0 h 15"/>
                  <a:gd name="T6" fmla="*/ 0 w 8"/>
                  <a:gd name="T7" fmla="*/ 0 h 15"/>
                  <a:gd name="T8" fmla="*/ 8 w 8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5">
                    <a:moveTo>
                      <a:pt x="8" y="15"/>
                    </a:moveTo>
                    <a:cubicBezTo>
                      <a:pt x="3" y="15"/>
                      <a:pt x="1" y="7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7"/>
                      <a:pt x="3" y="15"/>
                      <a:pt x="8" y="1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3" name="Freeform 1109"/>
              <p:cNvSpPr>
                <a:spLocks/>
              </p:cNvSpPr>
              <p:nvPr/>
            </p:nvSpPr>
            <p:spPr bwMode="auto">
              <a:xfrm>
                <a:off x="3187" y="961"/>
                <a:ext cx="17" cy="0"/>
              </a:xfrm>
              <a:custGeom>
                <a:avLst/>
                <a:gdLst>
                  <a:gd name="T0" fmla="*/ 26 w 26"/>
                  <a:gd name="T1" fmla="*/ 0 w 26"/>
                  <a:gd name="T2" fmla="*/ 26 w 2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6">
                    <a:moveTo>
                      <a:pt x="26" y="0"/>
                    </a:moveTo>
                    <a:cubicBezTo>
                      <a:pt x="22" y="0"/>
                      <a:pt x="9" y="0"/>
                      <a:pt x="0" y="0"/>
                    </a:cubicBezTo>
                    <a:cubicBezTo>
                      <a:pt x="9" y="0"/>
                      <a:pt x="22" y="0"/>
                      <a:pt x="26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4" name="Freeform 1110"/>
              <p:cNvSpPr>
                <a:spLocks/>
              </p:cNvSpPr>
              <p:nvPr/>
            </p:nvSpPr>
            <p:spPr bwMode="auto">
              <a:xfrm>
                <a:off x="3759" y="897"/>
                <a:ext cx="39" cy="14"/>
              </a:xfrm>
              <a:custGeom>
                <a:avLst/>
                <a:gdLst>
                  <a:gd name="T0" fmla="*/ 59 w 59"/>
                  <a:gd name="T1" fmla="*/ 21 h 21"/>
                  <a:gd name="T2" fmla="*/ 0 w 59"/>
                  <a:gd name="T3" fmla="*/ 1 h 21"/>
                  <a:gd name="T4" fmla="*/ 59 w 59"/>
                  <a:gd name="T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9" h="21">
                    <a:moveTo>
                      <a:pt x="59" y="21"/>
                    </a:moveTo>
                    <a:cubicBezTo>
                      <a:pt x="41" y="20"/>
                      <a:pt x="13" y="0"/>
                      <a:pt x="0" y="1"/>
                    </a:cubicBezTo>
                    <a:cubicBezTo>
                      <a:pt x="13" y="0"/>
                      <a:pt x="41" y="20"/>
                      <a:pt x="59" y="2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5" name="Freeform 1111"/>
              <p:cNvSpPr>
                <a:spLocks/>
              </p:cNvSpPr>
              <p:nvPr/>
            </p:nvSpPr>
            <p:spPr bwMode="auto">
              <a:xfrm>
                <a:off x="3691" y="961"/>
                <a:ext cx="4" cy="1"/>
              </a:xfrm>
              <a:custGeom>
                <a:avLst/>
                <a:gdLst>
                  <a:gd name="T0" fmla="*/ 6 w 6"/>
                  <a:gd name="T1" fmla="*/ 2 h 2"/>
                  <a:gd name="T2" fmla="*/ 0 w 6"/>
                  <a:gd name="T3" fmla="*/ 0 h 2"/>
                  <a:gd name="T4" fmla="*/ 6 w 6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cubicBezTo>
                      <a:pt x="4" y="2"/>
                      <a:pt x="2" y="1"/>
                      <a:pt x="0" y="0"/>
                    </a:cubicBezTo>
                    <a:cubicBezTo>
                      <a:pt x="2" y="1"/>
                      <a:pt x="4" y="2"/>
                      <a:pt x="6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6" name="Freeform 1112"/>
              <p:cNvSpPr>
                <a:spLocks/>
              </p:cNvSpPr>
              <p:nvPr/>
            </p:nvSpPr>
            <p:spPr bwMode="auto">
              <a:xfrm>
                <a:off x="3695" y="962"/>
                <a:ext cx="4" cy="1"/>
              </a:xfrm>
              <a:custGeom>
                <a:avLst/>
                <a:gdLst>
                  <a:gd name="T0" fmla="*/ 7 w 7"/>
                  <a:gd name="T1" fmla="*/ 1 h 1"/>
                  <a:gd name="T2" fmla="*/ 0 w 7"/>
                  <a:gd name="T3" fmla="*/ 0 h 1"/>
                  <a:gd name="T4" fmla="*/ 7 w 7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">
                    <a:moveTo>
                      <a:pt x="7" y="1"/>
                    </a:moveTo>
                    <a:cubicBezTo>
                      <a:pt x="5" y="1"/>
                      <a:pt x="2" y="1"/>
                      <a:pt x="0" y="0"/>
                    </a:cubicBezTo>
                    <a:cubicBezTo>
                      <a:pt x="2" y="1"/>
                      <a:pt x="5" y="1"/>
                      <a:pt x="7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7" name="Freeform 1113"/>
              <p:cNvSpPr>
                <a:spLocks/>
              </p:cNvSpPr>
              <p:nvPr/>
            </p:nvSpPr>
            <p:spPr bwMode="auto">
              <a:xfrm>
                <a:off x="2193" y="2448"/>
                <a:ext cx="230" cy="242"/>
              </a:xfrm>
              <a:custGeom>
                <a:avLst/>
                <a:gdLst>
                  <a:gd name="T0" fmla="*/ 25 w 351"/>
                  <a:gd name="T1" fmla="*/ 294 h 369"/>
                  <a:gd name="T2" fmla="*/ 56 w 351"/>
                  <a:gd name="T3" fmla="*/ 304 h 369"/>
                  <a:gd name="T4" fmla="*/ 98 w 351"/>
                  <a:gd name="T5" fmla="*/ 287 h 369"/>
                  <a:gd name="T6" fmla="*/ 111 w 351"/>
                  <a:gd name="T7" fmla="*/ 276 h 369"/>
                  <a:gd name="T8" fmla="*/ 135 w 351"/>
                  <a:gd name="T9" fmla="*/ 278 h 369"/>
                  <a:gd name="T10" fmla="*/ 161 w 351"/>
                  <a:gd name="T11" fmla="*/ 285 h 369"/>
                  <a:gd name="T12" fmla="*/ 176 w 351"/>
                  <a:gd name="T13" fmla="*/ 299 h 369"/>
                  <a:gd name="T14" fmla="*/ 198 w 351"/>
                  <a:gd name="T15" fmla="*/ 295 h 369"/>
                  <a:gd name="T16" fmla="*/ 221 w 351"/>
                  <a:gd name="T17" fmla="*/ 309 h 369"/>
                  <a:gd name="T18" fmla="*/ 225 w 351"/>
                  <a:gd name="T19" fmla="*/ 318 h 369"/>
                  <a:gd name="T20" fmla="*/ 217 w 351"/>
                  <a:gd name="T21" fmla="*/ 338 h 369"/>
                  <a:gd name="T22" fmla="*/ 215 w 351"/>
                  <a:gd name="T23" fmla="*/ 365 h 369"/>
                  <a:gd name="T24" fmla="*/ 235 w 351"/>
                  <a:gd name="T25" fmla="*/ 365 h 369"/>
                  <a:gd name="T26" fmla="*/ 241 w 351"/>
                  <a:gd name="T27" fmla="*/ 358 h 369"/>
                  <a:gd name="T28" fmla="*/ 247 w 351"/>
                  <a:gd name="T29" fmla="*/ 343 h 369"/>
                  <a:gd name="T30" fmla="*/ 231 w 351"/>
                  <a:gd name="T31" fmla="*/ 332 h 369"/>
                  <a:gd name="T32" fmla="*/ 244 w 351"/>
                  <a:gd name="T33" fmla="*/ 320 h 369"/>
                  <a:gd name="T34" fmla="*/ 260 w 351"/>
                  <a:gd name="T35" fmla="*/ 282 h 369"/>
                  <a:gd name="T36" fmla="*/ 250 w 351"/>
                  <a:gd name="T37" fmla="*/ 250 h 369"/>
                  <a:gd name="T38" fmla="*/ 239 w 351"/>
                  <a:gd name="T39" fmla="*/ 233 h 369"/>
                  <a:gd name="T40" fmla="*/ 254 w 351"/>
                  <a:gd name="T41" fmla="*/ 220 h 369"/>
                  <a:gd name="T42" fmla="*/ 254 w 351"/>
                  <a:gd name="T43" fmla="*/ 214 h 369"/>
                  <a:gd name="T44" fmla="*/ 315 w 351"/>
                  <a:gd name="T45" fmla="*/ 203 h 369"/>
                  <a:gd name="T46" fmla="*/ 334 w 351"/>
                  <a:gd name="T47" fmla="*/ 149 h 369"/>
                  <a:gd name="T48" fmla="*/ 307 w 351"/>
                  <a:gd name="T49" fmla="*/ 125 h 369"/>
                  <a:gd name="T50" fmla="*/ 331 w 351"/>
                  <a:gd name="T51" fmla="*/ 116 h 369"/>
                  <a:gd name="T52" fmla="*/ 340 w 351"/>
                  <a:gd name="T53" fmla="*/ 82 h 369"/>
                  <a:gd name="T54" fmla="*/ 348 w 351"/>
                  <a:gd name="T55" fmla="*/ 44 h 369"/>
                  <a:gd name="T56" fmla="*/ 327 w 351"/>
                  <a:gd name="T57" fmla="*/ 23 h 369"/>
                  <a:gd name="T58" fmla="*/ 264 w 351"/>
                  <a:gd name="T59" fmla="*/ 10 h 369"/>
                  <a:gd name="T60" fmla="*/ 187 w 351"/>
                  <a:gd name="T61" fmla="*/ 64 h 369"/>
                  <a:gd name="T62" fmla="*/ 207 w 351"/>
                  <a:gd name="T63" fmla="*/ 113 h 369"/>
                  <a:gd name="T64" fmla="*/ 164 w 351"/>
                  <a:gd name="T65" fmla="*/ 148 h 369"/>
                  <a:gd name="T66" fmla="*/ 150 w 351"/>
                  <a:gd name="T67" fmla="*/ 150 h 369"/>
                  <a:gd name="T68" fmla="*/ 155 w 351"/>
                  <a:gd name="T69" fmla="*/ 118 h 369"/>
                  <a:gd name="T70" fmla="*/ 162 w 351"/>
                  <a:gd name="T71" fmla="*/ 93 h 369"/>
                  <a:gd name="T72" fmla="*/ 130 w 351"/>
                  <a:gd name="T73" fmla="*/ 71 h 369"/>
                  <a:gd name="T74" fmla="*/ 109 w 351"/>
                  <a:gd name="T75" fmla="*/ 150 h 369"/>
                  <a:gd name="T76" fmla="*/ 80 w 351"/>
                  <a:gd name="T77" fmla="*/ 226 h 369"/>
                  <a:gd name="T78" fmla="*/ 119 w 351"/>
                  <a:gd name="T79" fmla="*/ 239 h 369"/>
                  <a:gd name="T80" fmla="*/ 79 w 351"/>
                  <a:gd name="T81" fmla="*/ 248 h 369"/>
                  <a:gd name="T82" fmla="*/ 62 w 351"/>
                  <a:gd name="T83" fmla="*/ 256 h 369"/>
                  <a:gd name="T84" fmla="*/ 59 w 351"/>
                  <a:gd name="T85" fmla="*/ 262 h 369"/>
                  <a:gd name="T86" fmla="*/ 17 w 351"/>
                  <a:gd name="T87" fmla="*/ 269 h 369"/>
                  <a:gd name="T88" fmla="*/ 64 w 351"/>
                  <a:gd name="T89" fmla="*/ 274 h 369"/>
                  <a:gd name="T90" fmla="*/ 93 w 351"/>
                  <a:gd name="T91" fmla="*/ 284 h 369"/>
                  <a:gd name="T92" fmla="*/ 72 w 351"/>
                  <a:gd name="T93" fmla="*/ 287 h 369"/>
                  <a:gd name="T94" fmla="*/ 59 w 351"/>
                  <a:gd name="T95" fmla="*/ 282 h 369"/>
                  <a:gd name="T96" fmla="*/ 43 w 351"/>
                  <a:gd name="T97" fmla="*/ 287 h 369"/>
                  <a:gd name="T98" fmla="*/ 4 w 351"/>
                  <a:gd name="T99" fmla="*/ 283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1" h="369">
                    <a:moveTo>
                      <a:pt x="12" y="299"/>
                    </a:moveTo>
                    <a:cubicBezTo>
                      <a:pt x="26" y="305"/>
                      <a:pt x="14" y="291"/>
                      <a:pt x="25" y="294"/>
                    </a:cubicBezTo>
                    <a:cubicBezTo>
                      <a:pt x="33" y="295"/>
                      <a:pt x="36" y="295"/>
                      <a:pt x="41" y="298"/>
                    </a:cubicBezTo>
                    <a:cubicBezTo>
                      <a:pt x="45" y="300"/>
                      <a:pt x="40" y="309"/>
                      <a:pt x="56" y="304"/>
                    </a:cubicBezTo>
                    <a:cubicBezTo>
                      <a:pt x="79" y="298"/>
                      <a:pt x="77" y="289"/>
                      <a:pt x="84" y="287"/>
                    </a:cubicBezTo>
                    <a:cubicBezTo>
                      <a:pt x="85" y="287"/>
                      <a:pt x="96" y="287"/>
                      <a:pt x="98" y="287"/>
                    </a:cubicBezTo>
                    <a:cubicBezTo>
                      <a:pt x="106" y="283"/>
                      <a:pt x="83" y="273"/>
                      <a:pt x="110" y="269"/>
                    </a:cubicBezTo>
                    <a:cubicBezTo>
                      <a:pt x="112" y="269"/>
                      <a:pt x="109" y="275"/>
                      <a:pt x="111" y="276"/>
                    </a:cubicBezTo>
                    <a:cubicBezTo>
                      <a:pt x="132" y="282"/>
                      <a:pt x="123" y="262"/>
                      <a:pt x="135" y="267"/>
                    </a:cubicBezTo>
                    <a:cubicBezTo>
                      <a:pt x="139" y="268"/>
                      <a:pt x="132" y="276"/>
                      <a:pt x="135" y="278"/>
                    </a:cubicBezTo>
                    <a:cubicBezTo>
                      <a:pt x="150" y="284"/>
                      <a:pt x="150" y="269"/>
                      <a:pt x="156" y="270"/>
                    </a:cubicBezTo>
                    <a:cubicBezTo>
                      <a:pt x="165" y="272"/>
                      <a:pt x="154" y="281"/>
                      <a:pt x="161" y="285"/>
                    </a:cubicBezTo>
                    <a:cubicBezTo>
                      <a:pt x="169" y="289"/>
                      <a:pt x="159" y="291"/>
                      <a:pt x="168" y="291"/>
                    </a:cubicBezTo>
                    <a:cubicBezTo>
                      <a:pt x="177" y="291"/>
                      <a:pt x="166" y="298"/>
                      <a:pt x="176" y="299"/>
                    </a:cubicBezTo>
                    <a:cubicBezTo>
                      <a:pt x="186" y="299"/>
                      <a:pt x="182" y="295"/>
                      <a:pt x="187" y="297"/>
                    </a:cubicBezTo>
                    <a:cubicBezTo>
                      <a:pt x="193" y="299"/>
                      <a:pt x="192" y="291"/>
                      <a:pt x="198" y="295"/>
                    </a:cubicBezTo>
                    <a:cubicBezTo>
                      <a:pt x="204" y="299"/>
                      <a:pt x="197" y="301"/>
                      <a:pt x="204" y="305"/>
                    </a:cubicBezTo>
                    <a:cubicBezTo>
                      <a:pt x="215" y="312"/>
                      <a:pt x="218" y="305"/>
                      <a:pt x="221" y="309"/>
                    </a:cubicBezTo>
                    <a:cubicBezTo>
                      <a:pt x="224" y="313"/>
                      <a:pt x="226" y="309"/>
                      <a:pt x="227" y="313"/>
                    </a:cubicBezTo>
                    <a:cubicBezTo>
                      <a:pt x="228" y="317"/>
                      <a:pt x="222" y="315"/>
                      <a:pt x="225" y="318"/>
                    </a:cubicBezTo>
                    <a:cubicBezTo>
                      <a:pt x="227" y="322"/>
                      <a:pt x="218" y="325"/>
                      <a:pt x="220" y="329"/>
                    </a:cubicBezTo>
                    <a:cubicBezTo>
                      <a:pt x="222" y="333"/>
                      <a:pt x="215" y="335"/>
                      <a:pt x="217" y="338"/>
                    </a:cubicBezTo>
                    <a:cubicBezTo>
                      <a:pt x="220" y="341"/>
                      <a:pt x="205" y="349"/>
                      <a:pt x="210" y="354"/>
                    </a:cubicBezTo>
                    <a:cubicBezTo>
                      <a:pt x="218" y="361"/>
                      <a:pt x="209" y="369"/>
                      <a:pt x="215" y="365"/>
                    </a:cubicBezTo>
                    <a:cubicBezTo>
                      <a:pt x="223" y="360"/>
                      <a:pt x="224" y="367"/>
                      <a:pt x="227" y="365"/>
                    </a:cubicBezTo>
                    <a:cubicBezTo>
                      <a:pt x="230" y="363"/>
                      <a:pt x="233" y="366"/>
                      <a:pt x="235" y="365"/>
                    </a:cubicBezTo>
                    <a:cubicBezTo>
                      <a:pt x="238" y="364"/>
                      <a:pt x="242" y="366"/>
                      <a:pt x="243" y="365"/>
                    </a:cubicBezTo>
                    <a:cubicBezTo>
                      <a:pt x="242" y="363"/>
                      <a:pt x="239" y="359"/>
                      <a:pt x="241" y="358"/>
                    </a:cubicBezTo>
                    <a:cubicBezTo>
                      <a:pt x="246" y="356"/>
                      <a:pt x="240" y="351"/>
                      <a:pt x="245" y="352"/>
                    </a:cubicBezTo>
                    <a:cubicBezTo>
                      <a:pt x="250" y="353"/>
                      <a:pt x="250" y="344"/>
                      <a:pt x="247" y="343"/>
                    </a:cubicBezTo>
                    <a:cubicBezTo>
                      <a:pt x="243" y="342"/>
                      <a:pt x="240" y="340"/>
                      <a:pt x="243" y="336"/>
                    </a:cubicBezTo>
                    <a:cubicBezTo>
                      <a:pt x="246" y="332"/>
                      <a:pt x="235" y="338"/>
                      <a:pt x="231" y="332"/>
                    </a:cubicBezTo>
                    <a:cubicBezTo>
                      <a:pt x="227" y="326"/>
                      <a:pt x="232" y="321"/>
                      <a:pt x="234" y="326"/>
                    </a:cubicBezTo>
                    <a:cubicBezTo>
                      <a:pt x="236" y="330"/>
                      <a:pt x="237" y="324"/>
                      <a:pt x="244" y="320"/>
                    </a:cubicBezTo>
                    <a:cubicBezTo>
                      <a:pt x="274" y="301"/>
                      <a:pt x="246" y="318"/>
                      <a:pt x="246" y="304"/>
                    </a:cubicBezTo>
                    <a:cubicBezTo>
                      <a:pt x="246" y="296"/>
                      <a:pt x="262" y="290"/>
                      <a:pt x="260" y="282"/>
                    </a:cubicBezTo>
                    <a:cubicBezTo>
                      <a:pt x="260" y="280"/>
                      <a:pt x="261" y="277"/>
                      <a:pt x="260" y="268"/>
                    </a:cubicBezTo>
                    <a:cubicBezTo>
                      <a:pt x="260" y="258"/>
                      <a:pt x="247" y="258"/>
                      <a:pt x="250" y="250"/>
                    </a:cubicBezTo>
                    <a:cubicBezTo>
                      <a:pt x="254" y="241"/>
                      <a:pt x="241" y="249"/>
                      <a:pt x="244" y="241"/>
                    </a:cubicBezTo>
                    <a:cubicBezTo>
                      <a:pt x="246" y="233"/>
                      <a:pt x="234" y="238"/>
                      <a:pt x="239" y="233"/>
                    </a:cubicBezTo>
                    <a:cubicBezTo>
                      <a:pt x="243" y="228"/>
                      <a:pt x="232" y="224"/>
                      <a:pt x="236" y="223"/>
                    </a:cubicBezTo>
                    <a:cubicBezTo>
                      <a:pt x="236" y="223"/>
                      <a:pt x="254" y="220"/>
                      <a:pt x="254" y="220"/>
                    </a:cubicBezTo>
                    <a:cubicBezTo>
                      <a:pt x="255" y="219"/>
                      <a:pt x="253" y="216"/>
                      <a:pt x="253" y="214"/>
                    </a:cubicBezTo>
                    <a:cubicBezTo>
                      <a:pt x="253" y="214"/>
                      <a:pt x="253" y="214"/>
                      <a:pt x="254" y="214"/>
                    </a:cubicBezTo>
                    <a:cubicBezTo>
                      <a:pt x="254" y="214"/>
                      <a:pt x="273" y="223"/>
                      <a:pt x="273" y="223"/>
                    </a:cubicBezTo>
                    <a:cubicBezTo>
                      <a:pt x="279" y="223"/>
                      <a:pt x="313" y="211"/>
                      <a:pt x="315" y="203"/>
                    </a:cubicBezTo>
                    <a:cubicBezTo>
                      <a:pt x="316" y="196"/>
                      <a:pt x="295" y="197"/>
                      <a:pt x="303" y="190"/>
                    </a:cubicBezTo>
                    <a:cubicBezTo>
                      <a:pt x="317" y="177"/>
                      <a:pt x="339" y="175"/>
                      <a:pt x="334" y="149"/>
                    </a:cubicBezTo>
                    <a:cubicBezTo>
                      <a:pt x="330" y="130"/>
                      <a:pt x="314" y="149"/>
                      <a:pt x="304" y="135"/>
                    </a:cubicBezTo>
                    <a:cubicBezTo>
                      <a:pt x="297" y="125"/>
                      <a:pt x="306" y="129"/>
                      <a:pt x="307" y="125"/>
                    </a:cubicBezTo>
                    <a:cubicBezTo>
                      <a:pt x="308" y="122"/>
                      <a:pt x="302" y="119"/>
                      <a:pt x="303" y="116"/>
                    </a:cubicBezTo>
                    <a:cubicBezTo>
                      <a:pt x="304" y="110"/>
                      <a:pt x="328" y="117"/>
                      <a:pt x="331" y="116"/>
                    </a:cubicBezTo>
                    <a:cubicBezTo>
                      <a:pt x="332" y="116"/>
                      <a:pt x="335" y="115"/>
                      <a:pt x="335" y="114"/>
                    </a:cubicBezTo>
                    <a:cubicBezTo>
                      <a:pt x="337" y="112"/>
                      <a:pt x="333" y="91"/>
                      <a:pt x="340" y="82"/>
                    </a:cubicBezTo>
                    <a:cubicBezTo>
                      <a:pt x="348" y="73"/>
                      <a:pt x="350" y="65"/>
                      <a:pt x="348" y="57"/>
                    </a:cubicBezTo>
                    <a:cubicBezTo>
                      <a:pt x="346" y="49"/>
                      <a:pt x="345" y="47"/>
                      <a:pt x="348" y="44"/>
                    </a:cubicBezTo>
                    <a:cubicBezTo>
                      <a:pt x="351" y="41"/>
                      <a:pt x="351" y="36"/>
                      <a:pt x="346" y="34"/>
                    </a:cubicBezTo>
                    <a:cubicBezTo>
                      <a:pt x="333" y="31"/>
                      <a:pt x="342" y="26"/>
                      <a:pt x="327" y="23"/>
                    </a:cubicBezTo>
                    <a:cubicBezTo>
                      <a:pt x="313" y="19"/>
                      <a:pt x="326" y="5"/>
                      <a:pt x="313" y="3"/>
                    </a:cubicBezTo>
                    <a:cubicBezTo>
                      <a:pt x="301" y="0"/>
                      <a:pt x="277" y="14"/>
                      <a:pt x="264" y="10"/>
                    </a:cubicBezTo>
                    <a:cubicBezTo>
                      <a:pt x="242" y="4"/>
                      <a:pt x="219" y="23"/>
                      <a:pt x="207" y="24"/>
                    </a:cubicBezTo>
                    <a:cubicBezTo>
                      <a:pt x="196" y="24"/>
                      <a:pt x="180" y="53"/>
                      <a:pt x="187" y="64"/>
                    </a:cubicBezTo>
                    <a:cubicBezTo>
                      <a:pt x="195" y="76"/>
                      <a:pt x="168" y="86"/>
                      <a:pt x="201" y="87"/>
                    </a:cubicBezTo>
                    <a:cubicBezTo>
                      <a:pt x="233" y="88"/>
                      <a:pt x="193" y="92"/>
                      <a:pt x="207" y="113"/>
                    </a:cubicBezTo>
                    <a:cubicBezTo>
                      <a:pt x="210" y="118"/>
                      <a:pt x="212" y="113"/>
                      <a:pt x="187" y="132"/>
                    </a:cubicBezTo>
                    <a:cubicBezTo>
                      <a:pt x="180" y="137"/>
                      <a:pt x="174" y="141"/>
                      <a:pt x="164" y="148"/>
                    </a:cubicBezTo>
                    <a:cubicBezTo>
                      <a:pt x="161" y="150"/>
                      <a:pt x="167" y="155"/>
                      <a:pt x="162" y="155"/>
                    </a:cubicBezTo>
                    <a:cubicBezTo>
                      <a:pt x="157" y="157"/>
                      <a:pt x="154" y="153"/>
                      <a:pt x="150" y="150"/>
                    </a:cubicBezTo>
                    <a:cubicBezTo>
                      <a:pt x="172" y="135"/>
                      <a:pt x="152" y="144"/>
                      <a:pt x="159" y="135"/>
                    </a:cubicBezTo>
                    <a:cubicBezTo>
                      <a:pt x="166" y="126"/>
                      <a:pt x="149" y="125"/>
                      <a:pt x="155" y="118"/>
                    </a:cubicBezTo>
                    <a:cubicBezTo>
                      <a:pt x="161" y="110"/>
                      <a:pt x="166" y="124"/>
                      <a:pt x="175" y="110"/>
                    </a:cubicBezTo>
                    <a:cubicBezTo>
                      <a:pt x="188" y="90"/>
                      <a:pt x="162" y="107"/>
                      <a:pt x="162" y="93"/>
                    </a:cubicBezTo>
                    <a:cubicBezTo>
                      <a:pt x="162" y="79"/>
                      <a:pt x="156" y="69"/>
                      <a:pt x="146" y="79"/>
                    </a:cubicBezTo>
                    <a:cubicBezTo>
                      <a:pt x="136" y="87"/>
                      <a:pt x="134" y="70"/>
                      <a:pt x="130" y="71"/>
                    </a:cubicBezTo>
                    <a:cubicBezTo>
                      <a:pt x="124" y="71"/>
                      <a:pt x="129" y="81"/>
                      <a:pt x="122" y="95"/>
                    </a:cubicBezTo>
                    <a:cubicBezTo>
                      <a:pt x="116" y="109"/>
                      <a:pt x="122" y="124"/>
                      <a:pt x="109" y="150"/>
                    </a:cubicBezTo>
                    <a:cubicBezTo>
                      <a:pt x="91" y="188"/>
                      <a:pt x="70" y="201"/>
                      <a:pt x="67" y="213"/>
                    </a:cubicBezTo>
                    <a:cubicBezTo>
                      <a:pt x="66" y="219"/>
                      <a:pt x="72" y="222"/>
                      <a:pt x="80" y="226"/>
                    </a:cubicBezTo>
                    <a:cubicBezTo>
                      <a:pt x="88" y="229"/>
                      <a:pt x="85" y="231"/>
                      <a:pt x="99" y="236"/>
                    </a:cubicBezTo>
                    <a:cubicBezTo>
                      <a:pt x="118" y="242"/>
                      <a:pt x="123" y="235"/>
                      <a:pt x="119" y="239"/>
                    </a:cubicBezTo>
                    <a:cubicBezTo>
                      <a:pt x="110" y="246"/>
                      <a:pt x="102" y="237"/>
                      <a:pt x="99" y="243"/>
                    </a:cubicBezTo>
                    <a:cubicBezTo>
                      <a:pt x="95" y="248"/>
                      <a:pt x="84" y="250"/>
                      <a:pt x="79" y="248"/>
                    </a:cubicBezTo>
                    <a:cubicBezTo>
                      <a:pt x="74" y="246"/>
                      <a:pt x="72" y="245"/>
                      <a:pt x="72" y="249"/>
                    </a:cubicBezTo>
                    <a:cubicBezTo>
                      <a:pt x="72" y="256"/>
                      <a:pt x="54" y="249"/>
                      <a:pt x="62" y="256"/>
                    </a:cubicBezTo>
                    <a:cubicBezTo>
                      <a:pt x="71" y="263"/>
                      <a:pt x="101" y="268"/>
                      <a:pt x="85" y="273"/>
                    </a:cubicBezTo>
                    <a:cubicBezTo>
                      <a:pt x="67" y="279"/>
                      <a:pt x="71" y="265"/>
                      <a:pt x="59" y="262"/>
                    </a:cubicBezTo>
                    <a:cubicBezTo>
                      <a:pt x="47" y="260"/>
                      <a:pt x="64" y="249"/>
                      <a:pt x="36" y="253"/>
                    </a:cubicBezTo>
                    <a:cubicBezTo>
                      <a:pt x="7" y="256"/>
                      <a:pt x="11" y="263"/>
                      <a:pt x="17" y="269"/>
                    </a:cubicBezTo>
                    <a:cubicBezTo>
                      <a:pt x="30" y="280"/>
                      <a:pt x="27" y="266"/>
                      <a:pt x="39" y="275"/>
                    </a:cubicBezTo>
                    <a:cubicBezTo>
                      <a:pt x="57" y="289"/>
                      <a:pt x="54" y="266"/>
                      <a:pt x="64" y="274"/>
                    </a:cubicBezTo>
                    <a:cubicBezTo>
                      <a:pt x="76" y="283"/>
                      <a:pt x="82" y="276"/>
                      <a:pt x="85" y="281"/>
                    </a:cubicBezTo>
                    <a:cubicBezTo>
                      <a:pt x="87" y="286"/>
                      <a:pt x="92" y="281"/>
                      <a:pt x="93" y="284"/>
                    </a:cubicBezTo>
                    <a:cubicBezTo>
                      <a:pt x="93" y="285"/>
                      <a:pt x="87" y="286"/>
                      <a:pt x="81" y="284"/>
                    </a:cubicBezTo>
                    <a:cubicBezTo>
                      <a:pt x="75" y="282"/>
                      <a:pt x="78" y="290"/>
                      <a:pt x="72" y="287"/>
                    </a:cubicBezTo>
                    <a:cubicBezTo>
                      <a:pt x="67" y="283"/>
                      <a:pt x="67" y="287"/>
                      <a:pt x="66" y="284"/>
                    </a:cubicBezTo>
                    <a:cubicBezTo>
                      <a:pt x="65" y="281"/>
                      <a:pt x="60" y="277"/>
                      <a:pt x="59" y="282"/>
                    </a:cubicBezTo>
                    <a:cubicBezTo>
                      <a:pt x="58" y="287"/>
                      <a:pt x="57" y="284"/>
                      <a:pt x="53" y="287"/>
                    </a:cubicBezTo>
                    <a:cubicBezTo>
                      <a:pt x="50" y="291"/>
                      <a:pt x="47" y="286"/>
                      <a:pt x="43" y="287"/>
                    </a:cubicBezTo>
                    <a:cubicBezTo>
                      <a:pt x="40" y="289"/>
                      <a:pt x="30" y="283"/>
                      <a:pt x="24" y="281"/>
                    </a:cubicBezTo>
                    <a:cubicBezTo>
                      <a:pt x="17" y="279"/>
                      <a:pt x="14" y="280"/>
                      <a:pt x="4" y="283"/>
                    </a:cubicBezTo>
                    <a:cubicBezTo>
                      <a:pt x="10" y="287"/>
                      <a:pt x="0" y="295"/>
                      <a:pt x="12" y="29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8" name="Freeform 1114"/>
              <p:cNvSpPr>
                <a:spLocks/>
              </p:cNvSpPr>
              <p:nvPr/>
            </p:nvSpPr>
            <p:spPr bwMode="auto">
              <a:xfrm>
                <a:off x="2273" y="2475"/>
                <a:ext cx="15" cy="18"/>
              </a:xfrm>
              <a:custGeom>
                <a:avLst/>
                <a:gdLst>
                  <a:gd name="T0" fmla="*/ 6 w 23"/>
                  <a:gd name="T1" fmla="*/ 27 h 28"/>
                  <a:gd name="T2" fmla="*/ 13 w 23"/>
                  <a:gd name="T3" fmla="*/ 23 h 28"/>
                  <a:gd name="T4" fmla="*/ 19 w 23"/>
                  <a:gd name="T5" fmla="*/ 17 h 28"/>
                  <a:gd name="T6" fmla="*/ 19 w 23"/>
                  <a:gd name="T7" fmla="*/ 4 h 28"/>
                  <a:gd name="T8" fmla="*/ 11 w 23"/>
                  <a:gd name="T9" fmla="*/ 8 h 28"/>
                  <a:gd name="T10" fmla="*/ 6 w 23"/>
                  <a:gd name="T11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8">
                    <a:moveTo>
                      <a:pt x="6" y="27"/>
                    </a:moveTo>
                    <a:cubicBezTo>
                      <a:pt x="7" y="28"/>
                      <a:pt x="11" y="26"/>
                      <a:pt x="13" y="23"/>
                    </a:cubicBezTo>
                    <a:cubicBezTo>
                      <a:pt x="14" y="21"/>
                      <a:pt x="16" y="23"/>
                      <a:pt x="19" y="17"/>
                    </a:cubicBezTo>
                    <a:cubicBezTo>
                      <a:pt x="23" y="11"/>
                      <a:pt x="22" y="8"/>
                      <a:pt x="19" y="4"/>
                    </a:cubicBezTo>
                    <a:cubicBezTo>
                      <a:pt x="17" y="0"/>
                      <a:pt x="16" y="1"/>
                      <a:pt x="11" y="8"/>
                    </a:cubicBezTo>
                    <a:cubicBezTo>
                      <a:pt x="6" y="15"/>
                      <a:pt x="0" y="23"/>
                      <a:pt x="6" y="2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99" name="Freeform 1115"/>
              <p:cNvSpPr>
                <a:spLocks/>
              </p:cNvSpPr>
              <p:nvPr/>
            </p:nvSpPr>
            <p:spPr bwMode="auto">
              <a:xfrm>
                <a:off x="2356" y="2446"/>
                <a:ext cx="17" cy="5"/>
              </a:xfrm>
              <a:custGeom>
                <a:avLst/>
                <a:gdLst>
                  <a:gd name="T0" fmla="*/ 11 w 25"/>
                  <a:gd name="T1" fmla="*/ 5 h 8"/>
                  <a:gd name="T2" fmla="*/ 15 w 25"/>
                  <a:gd name="T3" fmla="*/ 1 h 8"/>
                  <a:gd name="T4" fmla="*/ 3 w 25"/>
                  <a:gd name="T5" fmla="*/ 6 h 8"/>
                  <a:gd name="T6" fmla="*/ 11 w 25"/>
                  <a:gd name="T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5" h="8">
                    <a:moveTo>
                      <a:pt x="11" y="5"/>
                    </a:moveTo>
                    <a:cubicBezTo>
                      <a:pt x="18" y="5"/>
                      <a:pt x="25" y="0"/>
                      <a:pt x="15" y="1"/>
                    </a:cubicBezTo>
                    <a:cubicBezTo>
                      <a:pt x="5" y="1"/>
                      <a:pt x="0" y="4"/>
                      <a:pt x="3" y="6"/>
                    </a:cubicBezTo>
                    <a:cubicBezTo>
                      <a:pt x="4" y="8"/>
                      <a:pt x="5" y="6"/>
                      <a:pt x="11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0" name="Freeform 1116"/>
              <p:cNvSpPr>
                <a:spLocks/>
              </p:cNvSpPr>
              <p:nvPr/>
            </p:nvSpPr>
            <p:spPr bwMode="auto">
              <a:xfrm>
                <a:off x="2376" y="2442"/>
                <a:ext cx="5" cy="3"/>
              </a:xfrm>
              <a:custGeom>
                <a:avLst/>
                <a:gdLst>
                  <a:gd name="T0" fmla="*/ 4 w 8"/>
                  <a:gd name="T1" fmla="*/ 0 h 4"/>
                  <a:gd name="T2" fmla="*/ 5 w 8"/>
                  <a:gd name="T3" fmla="*/ 3 h 4"/>
                  <a:gd name="T4" fmla="*/ 4 w 8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4" y="0"/>
                    </a:moveTo>
                    <a:cubicBezTo>
                      <a:pt x="0" y="0"/>
                      <a:pt x="0" y="1"/>
                      <a:pt x="5" y="3"/>
                    </a:cubicBezTo>
                    <a:cubicBezTo>
                      <a:pt x="7" y="4"/>
                      <a:pt x="8" y="1"/>
                      <a:pt x="4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1" name="Freeform 1117"/>
              <p:cNvSpPr>
                <a:spLocks/>
              </p:cNvSpPr>
              <p:nvPr/>
            </p:nvSpPr>
            <p:spPr bwMode="auto">
              <a:xfrm>
                <a:off x="2387" y="2436"/>
                <a:ext cx="12" cy="6"/>
              </a:xfrm>
              <a:custGeom>
                <a:avLst/>
                <a:gdLst>
                  <a:gd name="T0" fmla="*/ 11 w 18"/>
                  <a:gd name="T1" fmla="*/ 5 h 9"/>
                  <a:gd name="T2" fmla="*/ 14 w 18"/>
                  <a:gd name="T3" fmla="*/ 1 h 9"/>
                  <a:gd name="T4" fmla="*/ 4 w 18"/>
                  <a:gd name="T5" fmla="*/ 6 h 9"/>
                  <a:gd name="T6" fmla="*/ 11 w 18"/>
                  <a:gd name="T7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9">
                    <a:moveTo>
                      <a:pt x="11" y="5"/>
                    </a:moveTo>
                    <a:cubicBezTo>
                      <a:pt x="18" y="3"/>
                      <a:pt x="18" y="2"/>
                      <a:pt x="14" y="1"/>
                    </a:cubicBezTo>
                    <a:cubicBezTo>
                      <a:pt x="11" y="0"/>
                      <a:pt x="0" y="2"/>
                      <a:pt x="4" y="6"/>
                    </a:cubicBezTo>
                    <a:cubicBezTo>
                      <a:pt x="7" y="9"/>
                      <a:pt x="9" y="5"/>
                      <a:pt x="11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2" name="Freeform 1118"/>
              <p:cNvSpPr>
                <a:spLocks/>
              </p:cNvSpPr>
              <p:nvPr/>
            </p:nvSpPr>
            <p:spPr bwMode="auto">
              <a:xfrm>
                <a:off x="2326" y="2448"/>
                <a:ext cx="25" cy="7"/>
              </a:xfrm>
              <a:custGeom>
                <a:avLst/>
                <a:gdLst>
                  <a:gd name="T0" fmla="*/ 21 w 38"/>
                  <a:gd name="T1" fmla="*/ 7 h 11"/>
                  <a:gd name="T2" fmla="*/ 22 w 38"/>
                  <a:gd name="T3" fmla="*/ 4 h 11"/>
                  <a:gd name="T4" fmla="*/ 4 w 38"/>
                  <a:gd name="T5" fmla="*/ 7 h 11"/>
                  <a:gd name="T6" fmla="*/ 21 w 38"/>
                  <a:gd name="T7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8" h="11">
                    <a:moveTo>
                      <a:pt x="21" y="7"/>
                    </a:moveTo>
                    <a:cubicBezTo>
                      <a:pt x="38" y="6"/>
                      <a:pt x="38" y="2"/>
                      <a:pt x="22" y="4"/>
                    </a:cubicBezTo>
                    <a:cubicBezTo>
                      <a:pt x="6" y="6"/>
                      <a:pt x="0" y="0"/>
                      <a:pt x="4" y="7"/>
                    </a:cubicBezTo>
                    <a:cubicBezTo>
                      <a:pt x="7" y="11"/>
                      <a:pt x="5" y="8"/>
                      <a:pt x="21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3" name="Freeform 1119"/>
              <p:cNvSpPr>
                <a:spLocks/>
              </p:cNvSpPr>
              <p:nvPr/>
            </p:nvSpPr>
            <p:spPr bwMode="auto">
              <a:xfrm>
                <a:off x="2280" y="2463"/>
                <a:ext cx="21" cy="10"/>
              </a:xfrm>
              <a:custGeom>
                <a:avLst/>
                <a:gdLst>
                  <a:gd name="T0" fmla="*/ 8 w 31"/>
                  <a:gd name="T1" fmla="*/ 15 h 15"/>
                  <a:gd name="T2" fmla="*/ 25 w 31"/>
                  <a:gd name="T3" fmla="*/ 4 h 15"/>
                  <a:gd name="T4" fmla="*/ 15 w 31"/>
                  <a:gd name="T5" fmla="*/ 6 h 15"/>
                  <a:gd name="T6" fmla="*/ 8 w 31"/>
                  <a:gd name="T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15">
                    <a:moveTo>
                      <a:pt x="8" y="15"/>
                    </a:moveTo>
                    <a:cubicBezTo>
                      <a:pt x="11" y="15"/>
                      <a:pt x="18" y="8"/>
                      <a:pt x="25" y="4"/>
                    </a:cubicBezTo>
                    <a:cubicBezTo>
                      <a:pt x="31" y="1"/>
                      <a:pt x="23" y="0"/>
                      <a:pt x="15" y="6"/>
                    </a:cubicBezTo>
                    <a:cubicBezTo>
                      <a:pt x="8" y="13"/>
                      <a:pt x="0" y="13"/>
                      <a:pt x="8" y="1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4" name="Freeform 1120"/>
              <p:cNvSpPr>
                <a:spLocks/>
              </p:cNvSpPr>
              <p:nvPr/>
            </p:nvSpPr>
            <p:spPr bwMode="auto">
              <a:xfrm>
                <a:off x="2300" y="2451"/>
                <a:ext cx="27" cy="10"/>
              </a:xfrm>
              <a:custGeom>
                <a:avLst/>
                <a:gdLst>
                  <a:gd name="T0" fmla="*/ 3 w 41"/>
                  <a:gd name="T1" fmla="*/ 14 h 16"/>
                  <a:gd name="T2" fmla="*/ 13 w 41"/>
                  <a:gd name="T3" fmla="*/ 12 h 16"/>
                  <a:gd name="T4" fmla="*/ 33 w 41"/>
                  <a:gd name="T5" fmla="*/ 4 h 16"/>
                  <a:gd name="T6" fmla="*/ 37 w 41"/>
                  <a:gd name="T7" fmla="*/ 0 h 16"/>
                  <a:gd name="T8" fmla="*/ 13 w 41"/>
                  <a:gd name="T9" fmla="*/ 7 h 16"/>
                  <a:gd name="T10" fmla="*/ 3 w 41"/>
                  <a:gd name="T11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16">
                    <a:moveTo>
                      <a:pt x="3" y="14"/>
                    </a:moveTo>
                    <a:cubicBezTo>
                      <a:pt x="4" y="16"/>
                      <a:pt x="8" y="12"/>
                      <a:pt x="13" y="12"/>
                    </a:cubicBezTo>
                    <a:cubicBezTo>
                      <a:pt x="17" y="12"/>
                      <a:pt x="27" y="6"/>
                      <a:pt x="33" y="4"/>
                    </a:cubicBezTo>
                    <a:cubicBezTo>
                      <a:pt x="39" y="2"/>
                      <a:pt x="41" y="1"/>
                      <a:pt x="37" y="0"/>
                    </a:cubicBezTo>
                    <a:cubicBezTo>
                      <a:pt x="34" y="0"/>
                      <a:pt x="18" y="6"/>
                      <a:pt x="13" y="7"/>
                    </a:cubicBezTo>
                    <a:cubicBezTo>
                      <a:pt x="8" y="7"/>
                      <a:pt x="0" y="9"/>
                      <a:pt x="3" y="1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5" name="Freeform 1121"/>
              <p:cNvSpPr>
                <a:spLocks/>
              </p:cNvSpPr>
              <p:nvPr/>
            </p:nvSpPr>
            <p:spPr bwMode="auto">
              <a:xfrm>
                <a:off x="2225" y="2591"/>
                <a:ext cx="32" cy="19"/>
              </a:xfrm>
              <a:custGeom>
                <a:avLst/>
                <a:gdLst>
                  <a:gd name="T0" fmla="*/ 16 w 49"/>
                  <a:gd name="T1" fmla="*/ 14 h 29"/>
                  <a:gd name="T2" fmla="*/ 32 w 49"/>
                  <a:gd name="T3" fmla="*/ 26 h 29"/>
                  <a:gd name="T4" fmla="*/ 47 w 49"/>
                  <a:gd name="T5" fmla="*/ 23 h 29"/>
                  <a:gd name="T6" fmla="*/ 36 w 49"/>
                  <a:gd name="T7" fmla="*/ 17 h 29"/>
                  <a:gd name="T8" fmla="*/ 21 w 49"/>
                  <a:gd name="T9" fmla="*/ 8 h 29"/>
                  <a:gd name="T10" fmla="*/ 10 w 49"/>
                  <a:gd name="T11" fmla="*/ 3 h 29"/>
                  <a:gd name="T12" fmla="*/ 0 w 49"/>
                  <a:gd name="T13" fmla="*/ 8 h 29"/>
                  <a:gd name="T14" fmla="*/ 16 w 49"/>
                  <a:gd name="T15" fmla="*/ 1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9" h="29">
                    <a:moveTo>
                      <a:pt x="16" y="14"/>
                    </a:moveTo>
                    <a:cubicBezTo>
                      <a:pt x="18" y="26"/>
                      <a:pt x="22" y="19"/>
                      <a:pt x="32" y="26"/>
                    </a:cubicBezTo>
                    <a:cubicBezTo>
                      <a:pt x="37" y="29"/>
                      <a:pt x="45" y="26"/>
                      <a:pt x="47" y="23"/>
                    </a:cubicBezTo>
                    <a:cubicBezTo>
                      <a:pt x="49" y="19"/>
                      <a:pt x="43" y="23"/>
                      <a:pt x="36" y="17"/>
                    </a:cubicBezTo>
                    <a:cubicBezTo>
                      <a:pt x="30" y="12"/>
                      <a:pt x="27" y="11"/>
                      <a:pt x="21" y="8"/>
                    </a:cubicBezTo>
                    <a:cubicBezTo>
                      <a:pt x="15" y="4"/>
                      <a:pt x="15" y="2"/>
                      <a:pt x="10" y="3"/>
                    </a:cubicBezTo>
                    <a:cubicBezTo>
                      <a:pt x="5" y="5"/>
                      <a:pt x="0" y="3"/>
                      <a:pt x="0" y="8"/>
                    </a:cubicBezTo>
                    <a:cubicBezTo>
                      <a:pt x="0" y="18"/>
                      <a:pt x="13" y="0"/>
                      <a:pt x="16" y="1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6" name="Freeform 1122"/>
              <p:cNvSpPr>
                <a:spLocks/>
              </p:cNvSpPr>
              <p:nvPr/>
            </p:nvSpPr>
            <p:spPr bwMode="auto">
              <a:xfrm>
                <a:off x="3074" y="3292"/>
                <a:ext cx="119" cy="137"/>
              </a:xfrm>
              <a:custGeom>
                <a:avLst/>
                <a:gdLst>
                  <a:gd name="T0" fmla="*/ 89 w 180"/>
                  <a:gd name="T1" fmla="*/ 183 h 210"/>
                  <a:gd name="T2" fmla="*/ 78 w 180"/>
                  <a:gd name="T3" fmla="*/ 173 h 210"/>
                  <a:gd name="T4" fmla="*/ 86 w 180"/>
                  <a:gd name="T5" fmla="*/ 159 h 210"/>
                  <a:gd name="T6" fmla="*/ 117 w 180"/>
                  <a:gd name="T7" fmla="*/ 113 h 210"/>
                  <a:gd name="T8" fmla="*/ 127 w 180"/>
                  <a:gd name="T9" fmla="*/ 138 h 210"/>
                  <a:gd name="T10" fmla="*/ 148 w 180"/>
                  <a:gd name="T11" fmla="*/ 125 h 210"/>
                  <a:gd name="T12" fmla="*/ 141 w 180"/>
                  <a:gd name="T13" fmla="*/ 107 h 210"/>
                  <a:gd name="T14" fmla="*/ 176 w 180"/>
                  <a:gd name="T15" fmla="*/ 92 h 210"/>
                  <a:gd name="T16" fmla="*/ 150 w 180"/>
                  <a:gd name="T17" fmla="*/ 69 h 210"/>
                  <a:gd name="T18" fmla="*/ 74 w 180"/>
                  <a:gd name="T19" fmla="*/ 7 h 210"/>
                  <a:gd name="T20" fmla="*/ 53 w 180"/>
                  <a:gd name="T21" fmla="*/ 3 h 210"/>
                  <a:gd name="T22" fmla="*/ 57 w 180"/>
                  <a:gd name="T23" fmla="*/ 42 h 210"/>
                  <a:gd name="T24" fmla="*/ 39 w 180"/>
                  <a:gd name="T25" fmla="*/ 28 h 210"/>
                  <a:gd name="T26" fmla="*/ 20 w 180"/>
                  <a:gd name="T27" fmla="*/ 67 h 210"/>
                  <a:gd name="T28" fmla="*/ 4 w 180"/>
                  <a:gd name="T29" fmla="*/ 94 h 210"/>
                  <a:gd name="T30" fmla="*/ 4 w 180"/>
                  <a:gd name="T31" fmla="*/ 125 h 210"/>
                  <a:gd name="T32" fmla="*/ 10 w 180"/>
                  <a:gd name="T33" fmla="*/ 139 h 210"/>
                  <a:gd name="T34" fmla="*/ 25 w 180"/>
                  <a:gd name="T35" fmla="*/ 137 h 210"/>
                  <a:gd name="T36" fmla="*/ 24 w 180"/>
                  <a:gd name="T37" fmla="*/ 145 h 210"/>
                  <a:gd name="T38" fmla="*/ 14 w 180"/>
                  <a:gd name="T39" fmla="*/ 145 h 210"/>
                  <a:gd name="T40" fmla="*/ 25 w 180"/>
                  <a:gd name="T41" fmla="*/ 149 h 210"/>
                  <a:gd name="T42" fmla="*/ 33 w 180"/>
                  <a:gd name="T43" fmla="*/ 162 h 210"/>
                  <a:gd name="T44" fmla="*/ 42 w 180"/>
                  <a:gd name="T45" fmla="*/ 161 h 210"/>
                  <a:gd name="T46" fmla="*/ 68 w 180"/>
                  <a:gd name="T47" fmla="*/ 203 h 210"/>
                  <a:gd name="T48" fmla="*/ 86 w 180"/>
                  <a:gd name="T49" fmla="*/ 210 h 210"/>
                  <a:gd name="T50" fmla="*/ 89 w 180"/>
                  <a:gd name="T51" fmla="*/ 183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80" h="210">
                    <a:moveTo>
                      <a:pt x="89" y="183"/>
                    </a:moveTo>
                    <a:cubicBezTo>
                      <a:pt x="89" y="183"/>
                      <a:pt x="78" y="173"/>
                      <a:pt x="78" y="173"/>
                    </a:cubicBezTo>
                    <a:cubicBezTo>
                      <a:pt x="78" y="167"/>
                      <a:pt x="84" y="164"/>
                      <a:pt x="86" y="159"/>
                    </a:cubicBezTo>
                    <a:cubicBezTo>
                      <a:pt x="90" y="153"/>
                      <a:pt x="108" y="113"/>
                      <a:pt x="117" y="113"/>
                    </a:cubicBezTo>
                    <a:cubicBezTo>
                      <a:pt x="123" y="113"/>
                      <a:pt x="118" y="135"/>
                      <a:pt x="127" y="138"/>
                    </a:cubicBezTo>
                    <a:cubicBezTo>
                      <a:pt x="133" y="139"/>
                      <a:pt x="142" y="125"/>
                      <a:pt x="148" y="125"/>
                    </a:cubicBezTo>
                    <a:cubicBezTo>
                      <a:pt x="152" y="111"/>
                      <a:pt x="139" y="108"/>
                      <a:pt x="141" y="107"/>
                    </a:cubicBezTo>
                    <a:cubicBezTo>
                      <a:pt x="149" y="95"/>
                      <a:pt x="167" y="105"/>
                      <a:pt x="176" y="92"/>
                    </a:cubicBezTo>
                    <a:cubicBezTo>
                      <a:pt x="180" y="87"/>
                      <a:pt x="153" y="71"/>
                      <a:pt x="150" y="69"/>
                    </a:cubicBezTo>
                    <a:cubicBezTo>
                      <a:pt x="136" y="60"/>
                      <a:pt x="74" y="22"/>
                      <a:pt x="74" y="7"/>
                    </a:cubicBezTo>
                    <a:cubicBezTo>
                      <a:pt x="61" y="9"/>
                      <a:pt x="64" y="5"/>
                      <a:pt x="53" y="3"/>
                    </a:cubicBezTo>
                    <a:cubicBezTo>
                      <a:pt x="35" y="0"/>
                      <a:pt x="66" y="25"/>
                      <a:pt x="57" y="42"/>
                    </a:cubicBezTo>
                    <a:cubicBezTo>
                      <a:pt x="50" y="35"/>
                      <a:pt x="44" y="24"/>
                      <a:pt x="39" y="28"/>
                    </a:cubicBezTo>
                    <a:cubicBezTo>
                      <a:pt x="26" y="40"/>
                      <a:pt x="26" y="61"/>
                      <a:pt x="20" y="67"/>
                    </a:cubicBezTo>
                    <a:cubicBezTo>
                      <a:pt x="13" y="75"/>
                      <a:pt x="0" y="77"/>
                      <a:pt x="4" y="94"/>
                    </a:cubicBezTo>
                    <a:cubicBezTo>
                      <a:pt x="8" y="110"/>
                      <a:pt x="23" y="110"/>
                      <a:pt x="4" y="125"/>
                    </a:cubicBezTo>
                    <a:cubicBezTo>
                      <a:pt x="7" y="129"/>
                      <a:pt x="8" y="135"/>
                      <a:pt x="10" y="139"/>
                    </a:cubicBezTo>
                    <a:cubicBezTo>
                      <a:pt x="14" y="139"/>
                      <a:pt x="21" y="144"/>
                      <a:pt x="25" y="137"/>
                    </a:cubicBezTo>
                    <a:cubicBezTo>
                      <a:pt x="26" y="134"/>
                      <a:pt x="27" y="145"/>
                      <a:pt x="24" y="145"/>
                    </a:cubicBezTo>
                    <a:cubicBezTo>
                      <a:pt x="23" y="145"/>
                      <a:pt x="12" y="142"/>
                      <a:pt x="14" y="145"/>
                    </a:cubicBezTo>
                    <a:cubicBezTo>
                      <a:pt x="17" y="152"/>
                      <a:pt x="25" y="149"/>
                      <a:pt x="25" y="149"/>
                    </a:cubicBezTo>
                    <a:cubicBezTo>
                      <a:pt x="26" y="151"/>
                      <a:pt x="28" y="161"/>
                      <a:pt x="33" y="162"/>
                    </a:cubicBezTo>
                    <a:cubicBezTo>
                      <a:pt x="35" y="162"/>
                      <a:pt x="40" y="158"/>
                      <a:pt x="42" y="161"/>
                    </a:cubicBezTo>
                    <a:cubicBezTo>
                      <a:pt x="51" y="170"/>
                      <a:pt x="65" y="201"/>
                      <a:pt x="68" y="203"/>
                    </a:cubicBezTo>
                    <a:cubicBezTo>
                      <a:pt x="72" y="206"/>
                      <a:pt x="79" y="208"/>
                      <a:pt x="86" y="210"/>
                    </a:cubicBezTo>
                    <a:cubicBezTo>
                      <a:pt x="87" y="203"/>
                      <a:pt x="91" y="189"/>
                      <a:pt x="89" y="18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7" name="Freeform 1123"/>
              <p:cNvSpPr>
                <a:spLocks/>
              </p:cNvSpPr>
              <p:nvPr/>
            </p:nvSpPr>
            <p:spPr bwMode="auto">
              <a:xfrm>
                <a:off x="3556" y="2883"/>
                <a:ext cx="205" cy="255"/>
              </a:xfrm>
              <a:custGeom>
                <a:avLst/>
                <a:gdLst>
                  <a:gd name="T0" fmla="*/ 60 w 313"/>
                  <a:gd name="T1" fmla="*/ 107 h 389"/>
                  <a:gd name="T2" fmla="*/ 74 w 313"/>
                  <a:gd name="T3" fmla="*/ 128 h 389"/>
                  <a:gd name="T4" fmla="*/ 84 w 313"/>
                  <a:gd name="T5" fmla="*/ 132 h 389"/>
                  <a:gd name="T6" fmla="*/ 83 w 313"/>
                  <a:gd name="T7" fmla="*/ 143 h 389"/>
                  <a:gd name="T8" fmla="*/ 144 w 313"/>
                  <a:gd name="T9" fmla="*/ 241 h 389"/>
                  <a:gd name="T10" fmla="*/ 129 w 313"/>
                  <a:gd name="T11" fmla="*/ 315 h 389"/>
                  <a:gd name="T12" fmla="*/ 136 w 313"/>
                  <a:gd name="T13" fmla="*/ 364 h 389"/>
                  <a:gd name="T14" fmla="*/ 127 w 313"/>
                  <a:gd name="T15" fmla="*/ 370 h 389"/>
                  <a:gd name="T16" fmla="*/ 136 w 313"/>
                  <a:gd name="T17" fmla="*/ 377 h 389"/>
                  <a:gd name="T18" fmla="*/ 141 w 313"/>
                  <a:gd name="T19" fmla="*/ 387 h 389"/>
                  <a:gd name="T20" fmla="*/ 144 w 313"/>
                  <a:gd name="T21" fmla="*/ 379 h 389"/>
                  <a:gd name="T22" fmla="*/ 164 w 313"/>
                  <a:gd name="T23" fmla="*/ 381 h 389"/>
                  <a:gd name="T24" fmla="*/ 169 w 313"/>
                  <a:gd name="T25" fmla="*/ 353 h 389"/>
                  <a:gd name="T26" fmla="*/ 213 w 313"/>
                  <a:gd name="T27" fmla="*/ 292 h 389"/>
                  <a:gd name="T28" fmla="*/ 204 w 313"/>
                  <a:gd name="T29" fmla="*/ 262 h 389"/>
                  <a:gd name="T30" fmla="*/ 230 w 313"/>
                  <a:gd name="T31" fmla="*/ 250 h 389"/>
                  <a:gd name="T32" fmla="*/ 231 w 313"/>
                  <a:gd name="T33" fmla="*/ 271 h 389"/>
                  <a:gd name="T34" fmla="*/ 242 w 313"/>
                  <a:gd name="T35" fmla="*/ 258 h 389"/>
                  <a:gd name="T36" fmla="*/ 245 w 313"/>
                  <a:gd name="T37" fmla="*/ 264 h 389"/>
                  <a:gd name="T38" fmla="*/ 255 w 313"/>
                  <a:gd name="T39" fmla="*/ 256 h 389"/>
                  <a:gd name="T40" fmla="*/ 265 w 313"/>
                  <a:gd name="T41" fmla="*/ 271 h 389"/>
                  <a:gd name="T42" fmla="*/ 276 w 313"/>
                  <a:gd name="T43" fmla="*/ 256 h 389"/>
                  <a:gd name="T44" fmla="*/ 311 w 313"/>
                  <a:gd name="T45" fmla="*/ 264 h 389"/>
                  <a:gd name="T46" fmla="*/ 291 w 313"/>
                  <a:gd name="T47" fmla="*/ 247 h 389"/>
                  <a:gd name="T48" fmla="*/ 297 w 313"/>
                  <a:gd name="T49" fmla="*/ 245 h 389"/>
                  <a:gd name="T50" fmla="*/ 279 w 313"/>
                  <a:gd name="T51" fmla="*/ 204 h 389"/>
                  <a:gd name="T52" fmla="*/ 271 w 313"/>
                  <a:gd name="T53" fmla="*/ 199 h 389"/>
                  <a:gd name="T54" fmla="*/ 262 w 313"/>
                  <a:gd name="T55" fmla="*/ 194 h 389"/>
                  <a:gd name="T56" fmla="*/ 265 w 313"/>
                  <a:gd name="T57" fmla="*/ 179 h 389"/>
                  <a:gd name="T58" fmla="*/ 255 w 313"/>
                  <a:gd name="T59" fmla="*/ 175 h 389"/>
                  <a:gd name="T60" fmla="*/ 261 w 313"/>
                  <a:gd name="T61" fmla="*/ 147 h 389"/>
                  <a:gd name="T62" fmla="*/ 248 w 313"/>
                  <a:gd name="T63" fmla="*/ 154 h 389"/>
                  <a:gd name="T64" fmla="*/ 222 w 313"/>
                  <a:gd name="T65" fmla="*/ 122 h 389"/>
                  <a:gd name="T66" fmla="*/ 224 w 313"/>
                  <a:gd name="T67" fmla="*/ 64 h 389"/>
                  <a:gd name="T68" fmla="*/ 209 w 313"/>
                  <a:gd name="T69" fmla="*/ 70 h 389"/>
                  <a:gd name="T70" fmla="*/ 172 w 313"/>
                  <a:gd name="T71" fmla="*/ 40 h 389"/>
                  <a:gd name="T72" fmla="*/ 163 w 313"/>
                  <a:gd name="T73" fmla="*/ 53 h 389"/>
                  <a:gd name="T74" fmla="*/ 161 w 313"/>
                  <a:gd name="T75" fmla="*/ 46 h 389"/>
                  <a:gd name="T76" fmla="*/ 149 w 313"/>
                  <a:gd name="T77" fmla="*/ 42 h 389"/>
                  <a:gd name="T78" fmla="*/ 152 w 313"/>
                  <a:gd name="T79" fmla="*/ 29 h 389"/>
                  <a:gd name="T80" fmla="*/ 129 w 313"/>
                  <a:gd name="T81" fmla="*/ 31 h 389"/>
                  <a:gd name="T82" fmla="*/ 129 w 313"/>
                  <a:gd name="T83" fmla="*/ 23 h 389"/>
                  <a:gd name="T84" fmla="*/ 78 w 313"/>
                  <a:gd name="T85" fmla="*/ 1 h 389"/>
                  <a:gd name="T86" fmla="*/ 54 w 313"/>
                  <a:gd name="T87" fmla="*/ 14 h 389"/>
                  <a:gd name="T88" fmla="*/ 27 w 313"/>
                  <a:gd name="T89" fmla="*/ 13 h 389"/>
                  <a:gd name="T90" fmla="*/ 17 w 313"/>
                  <a:gd name="T91" fmla="*/ 12 h 389"/>
                  <a:gd name="T92" fmla="*/ 13 w 313"/>
                  <a:gd name="T93" fmla="*/ 12 h 389"/>
                  <a:gd name="T94" fmla="*/ 16 w 313"/>
                  <a:gd name="T95" fmla="*/ 23 h 389"/>
                  <a:gd name="T96" fmla="*/ 11 w 313"/>
                  <a:gd name="T97" fmla="*/ 23 h 389"/>
                  <a:gd name="T98" fmla="*/ 5 w 313"/>
                  <a:gd name="T99" fmla="*/ 16 h 389"/>
                  <a:gd name="T100" fmla="*/ 0 w 313"/>
                  <a:gd name="T101" fmla="*/ 30 h 389"/>
                  <a:gd name="T102" fmla="*/ 32 w 313"/>
                  <a:gd name="T103" fmla="*/ 42 h 389"/>
                  <a:gd name="T104" fmla="*/ 60 w 313"/>
                  <a:gd name="T105" fmla="*/ 107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13" h="389">
                    <a:moveTo>
                      <a:pt x="60" y="107"/>
                    </a:moveTo>
                    <a:cubicBezTo>
                      <a:pt x="63" y="112"/>
                      <a:pt x="71" y="124"/>
                      <a:pt x="74" y="128"/>
                    </a:cubicBezTo>
                    <a:cubicBezTo>
                      <a:pt x="76" y="131"/>
                      <a:pt x="83" y="129"/>
                      <a:pt x="84" y="132"/>
                    </a:cubicBezTo>
                    <a:cubicBezTo>
                      <a:pt x="85" y="136"/>
                      <a:pt x="82" y="139"/>
                      <a:pt x="83" y="143"/>
                    </a:cubicBezTo>
                    <a:cubicBezTo>
                      <a:pt x="90" y="176"/>
                      <a:pt x="144" y="191"/>
                      <a:pt x="144" y="241"/>
                    </a:cubicBezTo>
                    <a:cubicBezTo>
                      <a:pt x="144" y="266"/>
                      <a:pt x="129" y="290"/>
                      <a:pt x="129" y="315"/>
                    </a:cubicBezTo>
                    <a:cubicBezTo>
                      <a:pt x="129" y="328"/>
                      <a:pt x="140" y="352"/>
                      <a:pt x="136" y="364"/>
                    </a:cubicBezTo>
                    <a:cubicBezTo>
                      <a:pt x="135" y="367"/>
                      <a:pt x="127" y="367"/>
                      <a:pt x="127" y="370"/>
                    </a:cubicBezTo>
                    <a:cubicBezTo>
                      <a:pt x="136" y="377"/>
                      <a:pt x="136" y="377"/>
                      <a:pt x="136" y="377"/>
                    </a:cubicBezTo>
                    <a:cubicBezTo>
                      <a:pt x="138" y="380"/>
                      <a:pt x="137" y="389"/>
                      <a:pt x="141" y="387"/>
                    </a:cubicBezTo>
                    <a:cubicBezTo>
                      <a:pt x="143" y="386"/>
                      <a:pt x="142" y="381"/>
                      <a:pt x="144" y="379"/>
                    </a:cubicBezTo>
                    <a:cubicBezTo>
                      <a:pt x="148" y="373"/>
                      <a:pt x="159" y="381"/>
                      <a:pt x="164" y="381"/>
                    </a:cubicBezTo>
                    <a:cubicBezTo>
                      <a:pt x="171" y="381"/>
                      <a:pt x="167" y="356"/>
                      <a:pt x="169" y="353"/>
                    </a:cubicBezTo>
                    <a:cubicBezTo>
                      <a:pt x="182" y="334"/>
                      <a:pt x="213" y="316"/>
                      <a:pt x="213" y="292"/>
                    </a:cubicBezTo>
                    <a:cubicBezTo>
                      <a:pt x="213" y="284"/>
                      <a:pt x="201" y="275"/>
                      <a:pt x="204" y="262"/>
                    </a:cubicBezTo>
                    <a:cubicBezTo>
                      <a:pt x="206" y="258"/>
                      <a:pt x="228" y="244"/>
                      <a:pt x="230" y="250"/>
                    </a:cubicBezTo>
                    <a:cubicBezTo>
                      <a:pt x="231" y="253"/>
                      <a:pt x="229" y="272"/>
                      <a:pt x="231" y="271"/>
                    </a:cubicBezTo>
                    <a:cubicBezTo>
                      <a:pt x="236" y="268"/>
                      <a:pt x="236" y="258"/>
                      <a:pt x="242" y="258"/>
                    </a:cubicBezTo>
                    <a:cubicBezTo>
                      <a:pt x="244" y="258"/>
                      <a:pt x="242" y="264"/>
                      <a:pt x="245" y="264"/>
                    </a:cubicBezTo>
                    <a:cubicBezTo>
                      <a:pt x="245" y="265"/>
                      <a:pt x="253" y="252"/>
                      <a:pt x="255" y="256"/>
                    </a:cubicBezTo>
                    <a:cubicBezTo>
                      <a:pt x="257" y="261"/>
                      <a:pt x="257" y="269"/>
                      <a:pt x="265" y="271"/>
                    </a:cubicBezTo>
                    <a:cubicBezTo>
                      <a:pt x="272" y="272"/>
                      <a:pt x="273" y="255"/>
                      <a:pt x="276" y="256"/>
                    </a:cubicBezTo>
                    <a:cubicBezTo>
                      <a:pt x="285" y="259"/>
                      <a:pt x="283" y="288"/>
                      <a:pt x="311" y="264"/>
                    </a:cubicBezTo>
                    <a:cubicBezTo>
                      <a:pt x="313" y="264"/>
                      <a:pt x="291" y="256"/>
                      <a:pt x="291" y="247"/>
                    </a:cubicBezTo>
                    <a:cubicBezTo>
                      <a:pt x="291" y="245"/>
                      <a:pt x="296" y="247"/>
                      <a:pt x="297" y="245"/>
                    </a:cubicBezTo>
                    <a:cubicBezTo>
                      <a:pt x="306" y="229"/>
                      <a:pt x="291" y="211"/>
                      <a:pt x="279" y="204"/>
                    </a:cubicBezTo>
                    <a:cubicBezTo>
                      <a:pt x="276" y="202"/>
                      <a:pt x="273" y="201"/>
                      <a:pt x="271" y="199"/>
                    </a:cubicBezTo>
                    <a:cubicBezTo>
                      <a:pt x="268" y="197"/>
                      <a:pt x="264" y="197"/>
                      <a:pt x="262" y="194"/>
                    </a:cubicBezTo>
                    <a:cubicBezTo>
                      <a:pt x="260" y="191"/>
                      <a:pt x="268" y="183"/>
                      <a:pt x="265" y="179"/>
                    </a:cubicBezTo>
                    <a:cubicBezTo>
                      <a:pt x="262" y="175"/>
                      <a:pt x="251" y="187"/>
                      <a:pt x="255" y="175"/>
                    </a:cubicBezTo>
                    <a:cubicBezTo>
                      <a:pt x="257" y="170"/>
                      <a:pt x="271" y="157"/>
                      <a:pt x="261" y="147"/>
                    </a:cubicBezTo>
                    <a:cubicBezTo>
                      <a:pt x="250" y="137"/>
                      <a:pt x="259" y="157"/>
                      <a:pt x="248" y="154"/>
                    </a:cubicBezTo>
                    <a:cubicBezTo>
                      <a:pt x="242" y="152"/>
                      <a:pt x="222" y="125"/>
                      <a:pt x="222" y="122"/>
                    </a:cubicBezTo>
                    <a:cubicBezTo>
                      <a:pt x="222" y="104"/>
                      <a:pt x="245" y="77"/>
                      <a:pt x="224" y="64"/>
                    </a:cubicBezTo>
                    <a:cubicBezTo>
                      <a:pt x="214" y="57"/>
                      <a:pt x="219" y="76"/>
                      <a:pt x="209" y="70"/>
                    </a:cubicBezTo>
                    <a:cubicBezTo>
                      <a:pt x="197" y="64"/>
                      <a:pt x="194" y="32"/>
                      <a:pt x="172" y="40"/>
                    </a:cubicBezTo>
                    <a:cubicBezTo>
                      <a:pt x="167" y="42"/>
                      <a:pt x="168" y="53"/>
                      <a:pt x="163" y="53"/>
                    </a:cubicBezTo>
                    <a:cubicBezTo>
                      <a:pt x="161" y="53"/>
                      <a:pt x="162" y="49"/>
                      <a:pt x="161" y="46"/>
                    </a:cubicBezTo>
                    <a:cubicBezTo>
                      <a:pt x="159" y="34"/>
                      <a:pt x="149" y="46"/>
                      <a:pt x="149" y="42"/>
                    </a:cubicBezTo>
                    <a:cubicBezTo>
                      <a:pt x="149" y="38"/>
                      <a:pt x="156" y="31"/>
                      <a:pt x="152" y="29"/>
                    </a:cubicBezTo>
                    <a:cubicBezTo>
                      <a:pt x="149" y="27"/>
                      <a:pt x="131" y="35"/>
                      <a:pt x="129" y="31"/>
                    </a:cubicBezTo>
                    <a:cubicBezTo>
                      <a:pt x="127" y="29"/>
                      <a:pt x="130" y="25"/>
                      <a:pt x="129" y="23"/>
                    </a:cubicBezTo>
                    <a:cubicBezTo>
                      <a:pt x="122" y="10"/>
                      <a:pt x="91" y="0"/>
                      <a:pt x="78" y="1"/>
                    </a:cubicBezTo>
                    <a:cubicBezTo>
                      <a:pt x="70" y="2"/>
                      <a:pt x="63" y="13"/>
                      <a:pt x="54" y="14"/>
                    </a:cubicBezTo>
                    <a:cubicBezTo>
                      <a:pt x="46" y="16"/>
                      <a:pt x="35" y="13"/>
                      <a:pt x="27" y="13"/>
                    </a:cubicBezTo>
                    <a:cubicBezTo>
                      <a:pt x="23" y="12"/>
                      <a:pt x="20" y="12"/>
                      <a:pt x="17" y="12"/>
                    </a:cubicBezTo>
                    <a:cubicBezTo>
                      <a:pt x="16" y="12"/>
                      <a:pt x="13" y="11"/>
                      <a:pt x="13" y="12"/>
                    </a:cubicBezTo>
                    <a:cubicBezTo>
                      <a:pt x="11" y="15"/>
                      <a:pt x="18" y="20"/>
                      <a:pt x="16" y="23"/>
                    </a:cubicBezTo>
                    <a:cubicBezTo>
                      <a:pt x="15" y="24"/>
                      <a:pt x="13" y="24"/>
                      <a:pt x="11" y="23"/>
                    </a:cubicBezTo>
                    <a:cubicBezTo>
                      <a:pt x="9" y="21"/>
                      <a:pt x="8" y="17"/>
                      <a:pt x="5" y="16"/>
                    </a:cubicBezTo>
                    <a:cubicBezTo>
                      <a:pt x="1" y="16"/>
                      <a:pt x="2" y="27"/>
                      <a:pt x="0" y="30"/>
                    </a:cubicBezTo>
                    <a:cubicBezTo>
                      <a:pt x="12" y="30"/>
                      <a:pt x="25" y="35"/>
                      <a:pt x="32" y="42"/>
                    </a:cubicBezTo>
                    <a:cubicBezTo>
                      <a:pt x="49" y="61"/>
                      <a:pt x="50" y="85"/>
                      <a:pt x="60" y="10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8" name="Freeform 1124"/>
              <p:cNvSpPr>
                <a:spLocks/>
              </p:cNvSpPr>
              <p:nvPr/>
            </p:nvSpPr>
            <p:spPr bwMode="auto">
              <a:xfrm>
                <a:off x="3195" y="3386"/>
                <a:ext cx="152" cy="127"/>
              </a:xfrm>
              <a:custGeom>
                <a:avLst/>
                <a:gdLst>
                  <a:gd name="T0" fmla="*/ 111 w 231"/>
                  <a:gd name="T1" fmla="*/ 23 h 195"/>
                  <a:gd name="T2" fmla="*/ 89 w 231"/>
                  <a:gd name="T3" fmla="*/ 19 h 195"/>
                  <a:gd name="T4" fmla="*/ 77 w 231"/>
                  <a:gd name="T5" fmla="*/ 40 h 195"/>
                  <a:gd name="T6" fmla="*/ 64 w 231"/>
                  <a:gd name="T7" fmla="*/ 32 h 195"/>
                  <a:gd name="T8" fmla="*/ 29 w 231"/>
                  <a:gd name="T9" fmla="*/ 42 h 195"/>
                  <a:gd name="T10" fmla="*/ 9 w 231"/>
                  <a:gd name="T11" fmla="*/ 66 h 195"/>
                  <a:gd name="T12" fmla="*/ 7 w 231"/>
                  <a:gd name="T13" fmla="*/ 104 h 195"/>
                  <a:gd name="T14" fmla="*/ 0 w 231"/>
                  <a:gd name="T15" fmla="*/ 108 h 195"/>
                  <a:gd name="T16" fmla="*/ 9 w 231"/>
                  <a:gd name="T17" fmla="*/ 126 h 195"/>
                  <a:gd name="T18" fmla="*/ 3 w 231"/>
                  <a:gd name="T19" fmla="*/ 134 h 195"/>
                  <a:gd name="T20" fmla="*/ 23 w 231"/>
                  <a:gd name="T21" fmla="*/ 186 h 195"/>
                  <a:gd name="T22" fmla="*/ 35 w 231"/>
                  <a:gd name="T23" fmla="*/ 184 h 195"/>
                  <a:gd name="T24" fmla="*/ 46 w 231"/>
                  <a:gd name="T25" fmla="*/ 194 h 195"/>
                  <a:gd name="T26" fmla="*/ 117 w 231"/>
                  <a:gd name="T27" fmla="*/ 184 h 195"/>
                  <a:gd name="T28" fmla="*/ 142 w 231"/>
                  <a:gd name="T29" fmla="*/ 155 h 195"/>
                  <a:gd name="T30" fmla="*/ 188 w 231"/>
                  <a:gd name="T31" fmla="*/ 161 h 195"/>
                  <a:gd name="T32" fmla="*/ 194 w 231"/>
                  <a:gd name="T33" fmla="*/ 153 h 195"/>
                  <a:gd name="T34" fmla="*/ 200 w 231"/>
                  <a:gd name="T35" fmla="*/ 157 h 195"/>
                  <a:gd name="T36" fmla="*/ 221 w 231"/>
                  <a:gd name="T37" fmla="*/ 132 h 195"/>
                  <a:gd name="T38" fmla="*/ 227 w 231"/>
                  <a:gd name="T39" fmla="*/ 81 h 195"/>
                  <a:gd name="T40" fmla="*/ 208 w 231"/>
                  <a:gd name="T41" fmla="*/ 46 h 195"/>
                  <a:gd name="T42" fmla="*/ 169 w 231"/>
                  <a:gd name="T43" fmla="*/ 13 h 195"/>
                  <a:gd name="T44" fmla="*/ 111 w 231"/>
                  <a:gd name="T45" fmla="*/ 23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31" h="195">
                    <a:moveTo>
                      <a:pt x="111" y="23"/>
                    </a:moveTo>
                    <a:cubicBezTo>
                      <a:pt x="105" y="24"/>
                      <a:pt x="95" y="17"/>
                      <a:pt x="89" y="19"/>
                    </a:cubicBezTo>
                    <a:cubicBezTo>
                      <a:pt x="77" y="24"/>
                      <a:pt x="80" y="32"/>
                      <a:pt x="77" y="40"/>
                    </a:cubicBezTo>
                    <a:cubicBezTo>
                      <a:pt x="75" y="45"/>
                      <a:pt x="65" y="32"/>
                      <a:pt x="64" y="32"/>
                    </a:cubicBezTo>
                    <a:cubicBezTo>
                      <a:pt x="57" y="31"/>
                      <a:pt x="35" y="39"/>
                      <a:pt x="29" y="42"/>
                    </a:cubicBezTo>
                    <a:cubicBezTo>
                      <a:pt x="23" y="46"/>
                      <a:pt x="30" y="85"/>
                      <a:pt x="9" y="66"/>
                    </a:cubicBezTo>
                    <a:cubicBezTo>
                      <a:pt x="9" y="84"/>
                      <a:pt x="8" y="101"/>
                      <a:pt x="7" y="104"/>
                    </a:cubicBezTo>
                    <a:cubicBezTo>
                      <a:pt x="6" y="106"/>
                      <a:pt x="0" y="105"/>
                      <a:pt x="0" y="108"/>
                    </a:cubicBezTo>
                    <a:cubicBezTo>
                      <a:pt x="0" y="108"/>
                      <a:pt x="9" y="126"/>
                      <a:pt x="9" y="126"/>
                    </a:cubicBezTo>
                    <a:cubicBezTo>
                      <a:pt x="8" y="130"/>
                      <a:pt x="3" y="131"/>
                      <a:pt x="3" y="134"/>
                    </a:cubicBezTo>
                    <a:cubicBezTo>
                      <a:pt x="2" y="139"/>
                      <a:pt x="21" y="183"/>
                      <a:pt x="23" y="186"/>
                    </a:cubicBezTo>
                    <a:cubicBezTo>
                      <a:pt x="28" y="192"/>
                      <a:pt x="31" y="184"/>
                      <a:pt x="35" y="184"/>
                    </a:cubicBezTo>
                    <a:cubicBezTo>
                      <a:pt x="45" y="182"/>
                      <a:pt x="43" y="192"/>
                      <a:pt x="46" y="194"/>
                    </a:cubicBezTo>
                    <a:cubicBezTo>
                      <a:pt x="48" y="195"/>
                      <a:pt x="115" y="184"/>
                      <a:pt x="117" y="184"/>
                    </a:cubicBezTo>
                    <a:cubicBezTo>
                      <a:pt x="127" y="178"/>
                      <a:pt x="126" y="155"/>
                      <a:pt x="142" y="155"/>
                    </a:cubicBezTo>
                    <a:cubicBezTo>
                      <a:pt x="152" y="155"/>
                      <a:pt x="178" y="166"/>
                      <a:pt x="188" y="161"/>
                    </a:cubicBezTo>
                    <a:cubicBezTo>
                      <a:pt x="191" y="160"/>
                      <a:pt x="191" y="154"/>
                      <a:pt x="194" y="153"/>
                    </a:cubicBezTo>
                    <a:cubicBezTo>
                      <a:pt x="197" y="152"/>
                      <a:pt x="198" y="158"/>
                      <a:pt x="200" y="157"/>
                    </a:cubicBezTo>
                    <a:cubicBezTo>
                      <a:pt x="214" y="150"/>
                      <a:pt x="198" y="132"/>
                      <a:pt x="221" y="132"/>
                    </a:cubicBezTo>
                    <a:cubicBezTo>
                      <a:pt x="217" y="118"/>
                      <a:pt x="231" y="87"/>
                      <a:pt x="227" y="81"/>
                    </a:cubicBezTo>
                    <a:cubicBezTo>
                      <a:pt x="221" y="73"/>
                      <a:pt x="215" y="53"/>
                      <a:pt x="208" y="46"/>
                    </a:cubicBezTo>
                    <a:cubicBezTo>
                      <a:pt x="203" y="42"/>
                      <a:pt x="164" y="25"/>
                      <a:pt x="169" y="13"/>
                    </a:cubicBezTo>
                    <a:cubicBezTo>
                      <a:pt x="159" y="0"/>
                      <a:pt x="126" y="21"/>
                      <a:pt x="111" y="2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09" name="Freeform 1125"/>
              <p:cNvSpPr>
                <a:spLocks/>
              </p:cNvSpPr>
              <p:nvPr/>
            </p:nvSpPr>
            <p:spPr bwMode="auto">
              <a:xfrm>
                <a:off x="2333" y="2736"/>
                <a:ext cx="50" cy="65"/>
              </a:xfrm>
              <a:custGeom>
                <a:avLst/>
                <a:gdLst>
                  <a:gd name="T0" fmla="*/ 60 w 76"/>
                  <a:gd name="T1" fmla="*/ 96 h 99"/>
                  <a:gd name="T2" fmla="*/ 60 w 76"/>
                  <a:gd name="T3" fmla="*/ 88 h 99"/>
                  <a:gd name="T4" fmla="*/ 61 w 76"/>
                  <a:gd name="T5" fmla="*/ 83 h 99"/>
                  <a:gd name="T6" fmla="*/ 66 w 76"/>
                  <a:gd name="T7" fmla="*/ 70 h 99"/>
                  <a:gd name="T8" fmla="*/ 72 w 76"/>
                  <a:gd name="T9" fmla="*/ 61 h 99"/>
                  <a:gd name="T10" fmla="*/ 71 w 76"/>
                  <a:gd name="T11" fmla="*/ 50 h 99"/>
                  <a:gd name="T12" fmla="*/ 62 w 76"/>
                  <a:gd name="T13" fmla="*/ 47 h 99"/>
                  <a:gd name="T14" fmla="*/ 56 w 76"/>
                  <a:gd name="T15" fmla="*/ 45 h 99"/>
                  <a:gd name="T16" fmla="*/ 48 w 76"/>
                  <a:gd name="T17" fmla="*/ 37 h 99"/>
                  <a:gd name="T18" fmla="*/ 41 w 76"/>
                  <a:gd name="T19" fmla="*/ 28 h 99"/>
                  <a:gd name="T20" fmla="*/ 40 w 76"/>
                  <a:gd name="T21" fmla="*/ 8 h 99"/>
                  <a:gd name="T22" fmla="*/ 33 w 76"/>
                  <a:gd name="T23" fmla="*/ 4 h 99"/>
                  <a:gd name="T24" fmla="*/ 26 w 76"/>
                  <a:gd name="T25" fmla="*/ 2 h 99"/>
                  <a:gd name="T26" fmla="*/ 20 w 76"/>
                  <a:gd name="T27" fmla="*/ 9 h 99"/>
                  <a:gd name="T28" fmla="*/ 12 w 76"/>
                  <a:gd name="T29" fmla="*/ 22 h 99"/>
                  <a:gd name="T30" fmla="*/ 10 w 76"/>
                  <a:gd name="T31" fmla="*/ 30 h 99"/>
                  <a:gd name="T32" fmla="*/ 6 w 76"/>
                  <a:gd name="T33" fmla="*/ 35 h 99"/>
                  <a:gd name="T34" fmla="*/ 5 w 76"/>
                  <a:gd name="T35" fmla="*/ 43 h 99"/>
                  <a:gd name="T36" fmla="*/ 6 w 76"/>
                  <a:gd name="T37" fmla="*/ 53 h 99"/>
                  <a:gd name="T38" fmla="*/ 11 w 76"/>
                  <a:gd name="T39" fmla="*/ 58 h 99"/>
                  <a:gd name="T40" fmla="*/ 16 w 76"/>
                  <a:gd name="T41" fmla="*/ 62 h 99"/>
                  <a:gd name="T42" fmla="*/ 16 w 76"/>
                  <a:gd name="T43" fmla="*/ 69 h 99"/>
                  <a:gd name="T44" fmla="*/ 15 w 76"/>
                  <a:gd name="T45" fmla="*/ 76 h 99"/>
                  <a:gd name="T46" fmla="*/ 11 w 76"/>
                  <a:gd name="T47" fmla="*/ 86 h 99"/>
                  <a:gd name="T48" fmla="*/ 18 w 76"/>
                  <a:gd name="T49" fmla="*/ 91 h 99"/>
                  <a:gd name="T50" fmla="*/ 24 w 76"/>
                  <a:gd name="T51" fmla="*/ 94 h 99"/>
                  <a:gd name="T52" fmla="*/ 31 w 76"/>
                  <a:gd name="T53" fmla="*/ 97 h 99"/>
                  <a:gd name="T54" fmla="*/ 39 w 76"/>
                  <a:gd name="T55" fmla="*/ 94 h 99"/>
                  <a:gd name="T56" fmla="*/ 48 w 76"/>
                  <a:gd name="T57" fmla="*/ 90 h 99"/>
                  <a:gd name="T58" fmla="*/ 58 w 76"/>
                  <a:gd name="T59" fmla="*/ 96 h 99"/>
                  <a:gd name="T60" fmla="*/ 58 w 76"/>
                  <a:gd name="T61" fmla="*/ 95 h 99"/>
                  <a:gd name="T62" fmla="*/ 60 w 76"/>
                  <a:gd name="T63" fmla="*/ 96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6" h="99">
                    <a:moveTo>
                      <a:pt x="60" y="96"/>
                    </a:moveTo>
                    <a:cubicBezTo>
                      <a:pt x="61" y="93"/>
                      <a:pt x="61" y="92"/>
                      <a:pt x="60" y="88"/>
                    </a:cubicBezTo>
                    <a:cubicBezTo>
                      <a:pt x="59" y="85"/>
                      <a:pt x="63" y="86"/>
                      <a:pt x="61" y="83"/>
                    </a:cubicBezTo>
                    <a:cubicBezTo>
                      <a:pt x="58" y="80"/>
                      <a:pt x="67" y="74"/>
                      <a:pt x="66" y="70"/>
                    </a:cubicBezTo>
                    <a:cubicBezTo>
                      <a:pt x="64" y="67"/>
                      <a:pt x="74" y="65"/>
                      <a:pt x="72" y="61"/>
                    </a:cubicBezTo>
                    <a:cubicBezTo>
                      <a:pt x="71" y="57"/>
                      <a:pt x="76" y="51"/>
                      <a:pt x="71" y="50"/>
                    </a:cubicBezTo>
                    <a:cubicBezTo>
                      <a:pt x="67" y="48"/>
                      <a:pt x="66" y="52"/>
                      <a:pt x="62" y="47"/>
                    </a:cubicBezTo>
                    <a:cubicBezTo>
                      <a:pt x="58" y="42"/>
                      <a:pt x="57" y="50"/>
                      <a:pt x="56" y="45"/>
                    </a:cubicBezTo>
                    <a:cubicBezTo>
                      <a:pt x="55" y="40"/>
                      <a:pt x="51" y="46"/>
                      <a:pt x="48" y="37"/>
                    </a:cubicBezTo>
                    <a:cubicBezTo>
                      <a:pt x="46" y="28"/>
                      <a:pt x="43" y="33"/>
                      <a:pt x="41" y="28"/>
                    </a:cubicBezTo>
                    <a:cubicBezTo>
                      <a:pt x="39" y="23"/>
                      <a:pt x="35" y="17"/>
                      <a:pt x="40" y="8"/>
                    </a:cubicBezTo>
                    <a:cubicBezTo>
                      <a:pt x="37" y="6"/>
                      <a:pt x="37" y="1"/>
                      <a:pt x="33" y="4"/>
                    </a:cubicBezTo>
                    <a:cubicBezTo>
                      <a:pt x="29" y="7"/>
                      <a:pt x="32" y="0"/>
                      <a:pt x="26" y="2"/>
                    </a:cubicBezTo>
                    <a:cubicBezTo>
                      <a:pt x="19" y="5"/>
                      <a:pt x="25" y="7"/>
                      <a:pt x="20" y="9"/>
                    </a:cubicBezTo>
                    <a:cubicBezTo>
                      <a:pt x="14" y="11"/>
                      <a:pt x="19" y="16"/>
                      <a:pt x="12" y="22"/>
                    </a:cubicBezTo>
                    <a:cubicBezTo>
                      <a:pt x="6" y="27"/>
                      <a:pt x="17" y="26"/>
                      <a:pt x="10" y="30"/>
                    </a:cubicBezTo>
                    <a:cubicBezTo>
                      <a:pt x="2" y="33"/>
                      <a:pt x="10" y="31"/>
                      <a:pt x="6" y="35"/>
                    </a:cubicBezTo>
                    <a:cubicBezTo>
                      <a:pt x="0" y="41"/>
                      <a:pt x="8" y="38"/>
                      <a:pt x="5" y="43"/>
                    </a:cubicBezTo>
                    <a:cubicBezTo>
                      <a:pt x="2" y="47"/>
                      <a:pt x="4" y="55"/>
                      <a:pt x="6" y="53"/>
                    </a:cubicBezTo>
                    <a:cubicBezTo>
                      <a:pt x="8" y="51"/>
                      <a:pt x="10" y="54"/>
                      <a:pt x="11" y="58"/>
                    </a:cubicBezTo>
                    <a:cubicBezTo>
                      <a:pt x="12" y="62"/>
                      <a:pt x="13" y="62"/>
                      <a:pt x="16" y="62"/>
                    </a:cubicBezTo>
                    <a:cubicBezTo>
                      <a:pt x="19" y="63"/>
                      <a:pt x="10" y="67"/>
                      <a:pt x="16" y="69"/>
                    </a:cubicBezTo>
                    <a:cubicBezTo>
                      <a:pt x="20" y="70"/>
                      <a:pt x="19" y="72"/>
                      <a:pt x="15" y="76"/>
                    </a:cubicBezTo>
                    <a:cubicBezTo>
                      <a:pt x="11" y="80"/>
                      <a:pt x="19" y="80"/>
                      <a:pt x="11" y="86"/>
                    </a:cubicBezTo>
                    <a:cubicBezTo>
                      <a:pt x="13" y="90"/>
                      <a:pt x="14" y="91"/>
                      <a:pt x="18" y="91"/>
                    </a:cubicBezTo>
                    <a:cubicBezTo>
                      <a:pt x="21" y="91"/>
                      <a:pt x="25" y="91"/>
                      <a:pt x="24" y="94"/>
                    </a:cubicBezTo>
                    <a:cubicBezTo>
                      <a:pt x="23" y="97"/>
                      <a:pt x="29" y="99"/>
                      <a:pt x="31" y="97"/>
                    </a:cubicBezTo>
                    <a:cubicBezTo>
                      <a:pt x="34" y="94"/>
                      <a:pt x="36" y="97"/>
                      <a:pt x="39" y="94"/>
                    </a:cubicBezTo>
                    <a:cubicBezTo>
                      <a:pt x="41" y="91"/>
                      <a:pt x="41" y="91"/>
                      <a:pt x="48" y="90"/>
                    </a:cubicBezTo>
                    <a:cubicBezTo>
                      <a:pt x="54" y="89"/>
                      <a:pt x="49" y="94"/>
                      <a:pt x="58" y="96"/>
                    </a:cubicBezTo>
                    <a:cubicBezTo>
                      <a:pt x="58" y="96"/>
                      <a:pt x="58" y="96"/>
                      <a:pt x="58" y="95"/>
                    </a:cubicBezTo>
                    <a:lnTo>
                      <a:pt x="60" y="9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0" name="Freeform 1126"/>
              <p:cNvSpPr>
                <a:spLocks/>
              </p:cNvSpPr>
              <p:nvPr/>
            </p:nvSpPr>
            <p:spPr bwMode="auto">
              <a:xfrm>
                <a:off x="3223" y="2254"/>
                <a:ext cx="17" cy="34"/>
              </a:xfrm>
              <a:custGeom>
                <a:avLst/>
                <a:gdLst>
                  <a:gd name="T0" fmla="*/ 13 w 25"/>
                  <a:gd name="T1" fmla="*/ 0 h 53"/>
                  <a:gd name="T2" fmla="*/ 12 w 25"/>
                  <a:gd name="T3" fmla="*/ 3 h 53"/>
                  <a:gd name="T4" fmla="*/ 12 w 25"/>
                  <a:gd name="T5" fmla="*/ 21 h 53"/>
                  <a:gd name="T6" fmla="*/ 0 w 25"/>
                  <a:gd name="T7" fmla="*/ 52 h 53"/>
                  <a:gd name="T8" fmla="*/ 4 w 25"/>
                  <a:gd name="T9" fmla="*/ 53 h 53"/>
                  <a:gd name="T10" fmla="*/ 13 w 25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53">
                    <a:moveTo>
                      <a:pt x="13" y="0"/>
                    </a:moveTo>
                    <a:cubicBezTo>
                      <a:pt x="13" y="0"/>
                      <a:pt x="12" y="3"/>
                      <a:pt x="12" y="3"/>
                    </a:cubicBezTo>
                    <a:cubicBezTo>
                      <a:pt x="12" y="5"/>
                      <a:pt x="13" y="15"/>
                      <a:pt x="12" y="21"/>
                    </a:cubicBezTo>
                    <a:cubicBezTo>
                      <a:pt x="11" y="31"/>
                      <a:pt x="6" y="42"/>
                      <a:pt x="0" y="52"/>
                    </a:cubicBezTo>
                    <a:cubicBezTo>
                      <a:pt x="3" y="53"/>
                      <a:pt x="2" y="52"/>
                      <a:pt x="4" y="53"/>
                    </a:cubicBezTo>
                    <a:cubicBezTo>
                      <a:pt x="17" y="30"/>
                      <a:pt x="25" y="4"/>
                      <a:pt x="13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1" name="Freeform 1127"/>
              <p:cNvSpPr>
                <a:spLocks/>
              </p:cNvSpPr>
              <p:nvPr/>
            </p:nvSpPr>
            <p:spPr bwMode="auto">
              <a:xfrm>
                <a:off x="3226" y="2181"/>
                <a:ext cx="342" cy="234"/>
              </a:xfrm>
              <a:custGeom>
                <a:avLst/>
                <a:gdLst>
                  <a:gd name="T0" fmla="*/ 40 w 521"/>
                  <a:gd name="T1" fmla="*/ 173 h 356"/>
                  <a:gd name="T2" fmla="*/ 97 w 521"/>
                  <a:gd name="T3" fmla="*/ 195 h 356"/>
                  <a:gd name="T4" fmla="*/ 143 w 521"/>
                  <a:gd name="T5" fmla="*/ 193 h 356"/>
                  <a:gd name="T6" fmla="*/ 165 w 521"/>
                  <a:gd name="T7" fmla="*/ 218 h 356"/>
                  <a:gd name="T8" fmla="*/ 158 w 521"/>
                  <a:gd name="T9" fmla="*/ 289 h 356"/>
                  <a:gd name="T10" fmla="*/ 163 w 521"/>
                  <a:gd name="T11" fmla="*/ 284 h 356"/>
                  <a:gd name="T12" fmla="*/ 222 w 521"/>
                  <a:gd name="T13" fmla="*/ 321 h 356"/>
                  <a:gd name="T14" fmla="*/ 223 w 521"/>
                  <a:gd name="T15" fmla="*/ 345 h 356"/>
                  <a:gd name="T16" fmla="*/ 277 w 521"/>
                  <a:gd name="T17" fmla="*/ 348 h 356"/>
                  <a:gd name="T18" fmla="*/ 303 w 521"/>
                  <a:gd name="T19" fmla="*/ 354 h 356"/>
                  <a:gd name="T20" fmla="*/ 340 w 521"/>
                  <a:gd name="T21" fmla="*/ 341 h 356"/>
                  <a:gd name="T22" fmla="*/ 366 w 521"/>
                  <a:gd name="T23" fmla="*/ 321 h 356"/>
                  <a:gd name="T24" fmla="*/ 409 w 521"/>
                  <a:gd name="T25" fmla="*/ 307 h 356"/>
                  <a:gd name="T26" fmla="*/ 427 w 521"/>
                  <a:gd name="T27" fmla="*/ 316 h 356"/>
                  <a:gd name="T28" fmla="*/ 425 w 521"/>
                  <a:gd name="T29" fmla="*/ 259 h 356"/>
                  <a:gd name="T30" fmla="*/ 461 w 521"/>
                  <a:gd name="T31" fmla="*/ 205 h 356"/>
                  <a:gd name="T32" fmla="*/ 495 w 521"/>
                  <a:gd name="T33" fmla="*/ 184 h 356"/>
                  <a:gd name="T34" fmla="*/ 507 w 521"/>
                  <a:gd name="T35" fmla="*/ 171 h 356"/>
                  <a:gd name="T36" fmla="*/ 486 w 521"/>
                  <a:gd name="T37" fmla="*/ 155 h 356"/>
                  <a:gd name="T38" fmla="*/ 491 w 521"/>
                  <a:gd name="T39" fmla="*/ 109 h 356"/>
                  <a:gd name="T40" fmla="*/ 363 w 521"/>
                  <a:gd name="T41" fmla="*/ 35 h 356"/>
                  <a:gd name="T42" fmla="*/ 318 w 521"/>
                  <a:gd name="T43" fmla="*/ 26 h 356"/>
                  <a:gd name="T44" fmla="*/ 281 w 521"/>
                  <a:gd name="T45" fmla="*/ 28 h 356"/>
                  <a:gd name="T46" fmla="*/ 225 w 521"/>
                  <a:gd name="T47" fmla="*/ 19 h 356"/>
                  <a:gd name="T48" fmla="*/ 187 w 521"/>
                  <a:gd name="T49" fmla="*/ 24 h 356"/>
                  <a:gd name="T50" fmla="*/ 176 w 521"/>
                  <a:gd name="T51" fmla="*/ 11 h 356"/>
                  <a:gd name="T52" fmla="*/ 156 w 521"/>
                  <a:gd name="T53" fmla="*/ 14 h 356"/>
                  <a:gd name="T54" fmla="*/ 31 w 521"/>
                  <a:gd name="T55" fmla="*/ 33 h 356"/>
                  <a:gd name="T56" fmla="*/ 7 w 521"/>
                  <a:gd name="T57" fmla="*/ 101 h 356"/>
                  <a:gd name="T58" fmla="*/ 22 w 521"/>
                  <a:gd name="T59" fmla="*/ 140 h 356"/>
                  <a:gd name="T60" fmla="*/ 17 w 521"/>
                  <a:gd name="T61" fmla="*/ 156 h 356"/>
                  <a:gd name="T62" fmla="*/ 25 w 521"/>
                  <a:gd name="T63" fmla="*/ 168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1" h="356">
                    <a:moveTo>
                      <a:pt x="34" y="164"/>
                    </a:moveTo>
                    <a:cubicBezTo>
                      <a:pt x="38" y="165"/>
                      <a:pt x="37" y="171"/>
                      <a:pt x="40" y="173"/>
                    </a:cubicBezTo>
                    <a:cubicBezTo>
                      <a:pt x="56" y="181"/>
                      <a:pt x="79" y="188"/>
                      <a:pt x="91" y="196"/>
                    </a:cubicBezTo>
                    <a:cubicBezTo>
                      <a:pt x="93" y="197"/>
                      <a:pt x="95" y="195"/>
                      <a:pt x="97" y="195"/>
                    </a:cubicBezTo>
                    <a:cubicBezTo>
                      <a:pt x="99" y="195"/>
                      <a:pt x="134" y="194"/>
                      <a:pt x="136" y="194"/>
                    </a:cubicBezTo>
                    <a:cubicBezTo>
                      <a:pt x="138" y="194"/>
                      <a:pt x="141" y="192"/>
                      <a:pt x="143" y="193"/>
                    </a:cubicBezTo>
                    <a:cubicBezTo>
                      <a:pt x="147" y="196"/>
                      <a:pt x="143" y="204"/>
                      <a:pt x="147" y="207"/>
                    </a:cubicBezTo>
                    <a:cubicBezTo>
                      <a:pt x="153" y="211"/>
                      <a:pt x="161" y="208"/>
                      <a:pt x="165" y="218"/>
                    </a:cubicBezTo>
                    <a:cubicBezTo>
                      <a:pt x="170" y="228"/>
                      <a:pt x="140" y="256"/>
                      <a:pt x="158" y="289"/>
                    </a:cubicBezTo>
                    <a:cubicBezTo>
                      <a:pt x="158" y="289"/>
                      <a:pt x="158" y="289"/>
                      <a:pt x="158" y="289"/>
                    </a:cubicBezTo>
                    <a:cubicBezTo>
                      <a:pt x="159" y="288"/>
                      <a:pt x="160" y="288"/>
                      <a:pt x="161" y="287"/>
                    </a:cubicBezTo>
                    <a:cubicBezTo>
                      <a:pt x="162" y="286"/>
                      <a:pt x="162" y="285"/>
                      <a:pt x="163" y="284"/>
                    </a:cubicBezTo>
                    <a:cubicBezTo>
                      <a:pt x="164" y="283"/>
                      <a:pt x="165" y="282"/>
                      <a:pt x="167" y="282"/>
                    </a:cubicBezTo>
                    <a:cubicBezTo>
                      <a:pt x="169" y="282"/>
                      <a:pt x="219" y="315"/>
                      <a:pt x="222" y="321"/>
                    </a:cubicBezTo>
                    <a:cubicBezTo>
                      <a:pt x="226" y="330"/>
                      <a:pt x="217" y="340"/>
                      <a:pt x="223" y="345"/>
                    </a:cubicBezTo>
                    <a:cubicBezTo>
                      <a:pt x="223" y="345"/>
                      <a:pt x="223" y="345"/>
                      <a:pt x="223" y="345"/>
                    </a:cubicBezTo>
                    <a:cubicBezTo>
                      <a:pt x="227" y="348"/>
                      <a:pt x="269" y="348"/>
                      <a:pt x="271" y="348"/>
                    </a:cubicBezTo>
                    <a:cubicBezTo>
                      <a:pt x="273" y="348"/>
                      <a:pt x="275" y="348"/>
                      <a:pt x="277" y="348"/>
                    </a:cubicBezTo>
                    <a:cubicBezTo>
                      <a:pt x="278" y="347"/>
                      <a:pt x="279" y="344"/>
                      <a:pt x="281" y="343"/>
                    </a:cubicBezTo>
                    <a:cubicBezTo>
                      <a:pt x="290" y="341"/>
                      <a:pt x="292" y="356"/>
                      <a:pt x="303" y="354"/>
                    </a:cubicBezTo>
                    <a:cubicBezTo>
                      <a:pt x="310" y="354"/>
                      <a:pt x="316" y="340"/>
                      <a:pt x="323" y="339"/>
                    </a:cubicBezTo>
                    <a:cubicBezTo>
                      <a:pt x="340" y="341"/>
                      <a:pt x="340" y="341"/>
                      <a:pt x="340" y="341"/>
                    </a:cubicBezTo>
                    <a:cubicBezTo>
                      <a:pt x="346" y="339"/>
                      <a:pt x="337" y="325"/>
                      <a:pt x="339" y="323"/>
                    </a:cubicBezTo>
                    <a:cubicBezTo>
                      <a:pt x="342" y="319"/>
                      <a:pt x="361" y="323"/>
                      <a:pt x="366" y="321"/>
                    </a:cubicBezTo>
                    <a:cubicBezTo>
                      <a:pt x="375" y="316"/>
                      <a:pt x="371" y="306"/>
                      <a:pt x="376" y="302"/>
                    </a:cubicBezTo>
                    <a:cubicBezTo>
                      <a:pt x="379" y="301"/>
                      <a:pt x="413" y="295"/>
                      <a:pt x="409" y="307"/>
                    </a:cubicBezTo>
                    <a:cubicBezTo>
                      <a:pt x="408" y="310"/>
                      <a:pt x="403" y="311"/>
                      <a:pt x="401" y="314"/>
                    </a:cubicBezTo>
                    <a:cubicBezTo>
                      <a:pt x="398" y="321"/>
                      <a:pt x="423" y="321"/>
                      <a:pt x="427" y="316"/>
                    </a:cubicBezTo>
                    <a:cubicBezTo>
                      <a:pt x="440" y="298"/>
                      <a:pt x="406" y="295"/>
                      <a:pt x="406" y="291"/>
                    </a:cubicBezTo>
                    <a:cubicBezTo>
                      <a:pt x="405" y="277"/>
                      <a:pt x="423" y="269"/>
                      <a:pt x="425" y="259"/>
                    </a:cubicBezTo>
                    <a:cubicBezTo>
                      <a:pt x="427" y="252"/>
                      <a:pt x="419" y="236"/>
                      <a:pt x="422" y="230"/>
                    </a:cubicBezTo>
                    <a:cubicBezTo>
                      <a:pt x="435" y="207"/>
                      <a:pt x="447" y="217"/>
                      <a:pt x="461" y="205"/>
                    </a:cubicBezTo>
                    <a:cubicBezTo>
                      <a:pt x="466" y="201"/>
                      <a:pt x="466" y="185"/>
                      <a:pt x="471" y="182"/>
                    </a:cubicBezTo>
                    <a:cubicBezTo>
                      <a:pt x="475" y="180"/>
                      <a:pt x="490" y="183"/>
                      <a:pt x="495" y="184"/>
                    </a:cubicBezTo>
                    <a:cubicBezTo>
                      <a:pt x="497" y="184"/>
                      <a:pt x="500" y="186"/>
                      <a:pt x="502" y="184"/>
                    </a:cubicBezTo>
                    <a:cubicBezTo>
                      <a:pt x="506" y="182"/>
                      <a:pt x="504" y="174"/>
                      <a:pt x="507" y="171"/>
                    </a:cubicBezTo>
                    <a:cubicBezTo>
                      <a:pt x="517" y="166"/>
                      <a:pt x="517" y="166"/>
                      <a:pt x="517" y="166"/>
                    </a:cubicBezTo>
                    <a:cubicBezTo>
                      <a:pt x="521" y="152"/>
                      <a:pt x="484" y="161"/>
                      <a:pt x="486" y="155"/>
                    </a:cubicBezTo>
                    <a:cubicBezTo>
                      <a:pt x="490" y="138"/>
                      <a:pt x="503" y="127"/>
                      <a:pt x="500" y="110"/>
                    </a:cubicBezTo>
                    <a:cubicBezTo>
                      <a:pt x="497" y="110"/>
                      <a:pt x="494" y="109"/>
                      <a:pt x="491" y="109"/>
                    </a:cubicBezTo>
                    <a:cubicBezTo>
                      <a:pt x="469" y="105"/>
                      <a:pt x="438" y="57"/>
                      <a:pt x="418" y="44"/>
                    </a:cubicBezTo>
                    <a:cubicBezTo>
                      <a:pt x="403" y="35"/>
                      <a:pt x="376" y="49"/>
                      <a:pt x="363" y="35"/>
                    </a:cubicBezTo>
                    <a:cubicBezTo>
                      <a:pt x="357" y="28"/>
                      <a:pt x="357" y="6"/>
                      <a:pt x="346" y="3"/>
                    </a:cubicBezTo>
                    <a:cubicBezTo>
                      <a:pt x="334" y="0"/>
                      <a:pt x="325" y="22"/>
                      <a:pt x="318" y="26"/>
                    </a:cubicBezTo>
                    <a:cubicBezTo>
                      <a:pt x="303" y="35"/>
                      <a:pt x="308" y="21"/>
                      <a:pt x="297" y="21"/>
                    </a:cubicBezTo>
                    <a:cubicBezTo>
                      <a:pt x="291" y="21"/>
                      <a:pt x="287" y="28"/>
                      <a:pt x="281" y="28"/>
                    </a:cubicBezTo>
                    <a:cubicBezTo>
                      <a:pt x="269" y="28"/>
                      <a:pt x="256" y="15"/>
                      <a:pt x="244" y="14"/>
                    </a:cubicBezTo>
                    <a:cubicBezTo>
                      <a:pt x="244" y="14"/>
                      <a:pt x="225" y="19"/>
                      <a:pt x="225" y="19"/>
                    </a:cubicBezTo>
                    <a:cubicBezTo>
                      <a:pt x="214" y="18"/>
                      <a:pt x="206" y="8"/>
                      <a:pt x="195" y="14"/>
                    </a:cubicBezTo>
                    <a:cubicBezTo>
                      <a:pt x="195" y="14"/>
                      <a:pt x="187" y="24"/>
                      <a:pt x="187" y="24"/>
                    </a:cubicBezTo>
                    <a:cubicBezTo>
                      <a:pt x="182" y="25"/>
                      <a:pt x="180" y="17"/>
                      <a:pt x="177" y="12"/>
                    </a:cubicBezTo>
                    <a:cubicBezTo>
                      <a:pt x="176" y="11"/>
                      <a:pt x="176" y="11"/>
                      <a:pt x="176" y="11"/>
                    </a:cubicBezTo>
                    <a:cubicBezTo>
                      <a:pt x="175" y="9"/>
                      <a:pt x="174" y="8"/>
                      <a:pt x="173" y="7"/>
                    </a:cubicBezTo>
                    <a:cubicBezTo>
                      <a:pt x="167" y="6"/>
                      <a:pt x="162" y="13"/>
                      <a:pt x="156" y="14"/>
                    </a:cubicBezTo>
                    <a:cubicBezTo>
                      <a:pt x="139" y="17"/>
                      <a:pt x="119" y="6"/>
                      <a:pt x="101" y="7"/>
                    </a:cubicBezTo>
                    <a:cubicBezTo>
                      <a:pt x="84" y="9"/>
                      <a:pt x="45" y="22"/>
                      <a:pt x="31" y="33"/>
                    </a:cubicBezTo>
                    <a:cubicBezTo>
                      <a:pt x="18" y="44"/>
                      <a:pt x="25" y="56"/>
                      <a:pt x="0" y="53"/>
                    </a:cubicBezTo>
                    <a:cubicBezTo>
                      <a:pt x="2" y="72"/>
                      <a:pt x="5" y="95"/>
                      <a:pt x="7" y="101"/>
                    </a:cubicBezTo>
                    <a:cubicBezTo>
                      <a:pt x="9" y="109"/>
                      <a:pt x="12" y="105"/>
                      <a:pt x="16" y="113"/>
                    </a:cubicBezTo>
                    <a:cubicBezTo>
                      <a:pt x="20" y="120"/>
                      <a:pt x="19" y="131"/>
                      <a:pt x="22" y="140"/>
                    </a:cubicBezTo>
                    <a:cubicBezTo>
                      <a:pt x="25" y="146"/>
                      <a:pt x="17" y="150"/>
                      <a:pt x="16" y="155"/>
                    </a:cubicBezTo>
                    <a:cubicBezTo>
                      <a:pt x="16" y="155"/>
                      <a:pt x="16" y="156"/>
                      <a:pt x="17" y="156"/>
                    </a:cubicBezTo>
                    <a:cubicBezTo>
                      <a:pt x="17" y="157"/>
                      <a:pt x="20" y="154"/>
                      <a:pt x="20" y="153"/>
                    </a:cubicBezTo>
                    <a:cubicBezTo>
                      <a:pt x="24" y="151"/>
                      <a:pt x="25" y="161"/>
                      <a:pt x="25" y="168"/>
                    </a:cubicBezTo>
                    <a:cubicBezTo>
                      <a:pt x="29" y="168"/>
                      <a:pt x="31" y="163"/>
                      <a:pt x="34" y="16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2" name="Freeform 1128"/>
              <p:cNvSpPr>
                <a:spLocks/>
              </p:cNvSpPr>
              <p:nvPr/>
            </p:nvSpPr>
            <p:spPr bwMode="auto">
              <a:xfrm>
                <a:off x="3333" y="2366"/>
                <a:ext cx="41" cy="42"/>
              </a:xfrm>
              <a:custGeom>
                <a:avLst/>
                <a:gdLst>
                  <a:gd name="T0" fmla="*/ 60 w 63"/>
                  <a:gd name="T1" fmla="*/ 63 h 63"/>
                  <a:gd name="T2" fmla="*/ 59 w 63"/>
                  <a:gd name="T3" fmla="*/ 39 h 63"/>
                  <a:gd name="T4" fmla="*/ 4 w 63"/>
                  <a:gd name="T5" fmla="*/ 0 h 63"/>
                  <a:gd name="T6" fmla="*/ 0 w 63"/>
                  <a:gd name="T7" fmla="*/ 2 h 63"/>
                  <a:gd name="T8" fmla="*/ 4 w 63"/>
                  <a:gd name="T9" fmla="*/ 0 h 63"/>
                  <a:gd name="T10" fmla="*/ 59 w 63"/>
                  <a:gd name="T11" fmla="*/ 39 h 63"/>
                  <a:gd name="T12" fmla="*/ 60 w 63"/>
                  <a:gd name="T13" fmla="*/ 63 h 63"/>
                  <a:gd name="T14" fmla="*/ 60 w 63"/>
                  <a:gd name="T15" fmla="*/ 63 h 63"/>
                  <a:gd name="T16" fmla="*/ 60 w 63"/>
                  <a:gd name="T17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" h="63">
                    <a:moveTo>
                      <a:pt x="60" y="63"/>
                    </a:moveTo>
                    <a:cubicBezTo>
                      <a:pt x="54" y="58"/>
                      <a:pt x="63" y="48"/>
                      <a:pt x="59" y="39"/>
                    </a:cubicBezTo>
                    <a:cubicBezTo>
                      <a:pt x="56" y="33"/>
                      <a:pt x="6" y="0"/>
                      <a:pt x="4" y="0"/>
                    </a:cubicBezTo>
                    <a:cubicBezTo>
                      <a:pt x="2" y="0"/>
                      <a:pt x="1" y="1"/>
                      <a:pt x="0" y="2"/>
                    </a:cubicBezTo>
                    <a:cubicBezTo>
                      <a:pt x="1" y="1"/>
                      <a:pt x="2" y="0"/>
                      <a:pt x="4" y="0"/>
                    </a:cubicBezTo>
                    <a:cubicBezTo>
                      <a:pt x="6" y="0"/>
                      <a:pt x="56" y="33"/>
                      <a:pt x="59" y="39"/>
                    </a:cubicBezTo>
                    <a:cubicBezTo>
                      <a:pt x="63" y="48"/>
                      <a:pt x="54" y="58"/>
                      <a:pt x="60" y="63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0" y="63"/>
                      <a:pt x="60" y="63"/>
                      <a:pt x="60" y="6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3" name="Freeform 1129"/>
              <p:cNvSpPr>
                <a:spLocks/>
              </p:cNvSpPr>
              <p:nvPr/>
            </p:nvSpPr>
            <p:spPr bwMode="auto">
              <a:xfrm>
                <a:off x="3330" y="2370"/>
                <a:ext cx="2" cy="1"/>
              </a:xfrm>
              <a:custGeom>
                <a:avLst/>
                <a:gdLst>
                  <a:gd name="T0" fmla="*/ 0 w 3"/>
                  <a:gd name="T1" fmla="*/ 2 h 2"/>
                  <a:gd name="T2" fmla="*/ 0 w 3"/>
                  <a:gd name="T3" fmla="*/ 2 h 2"/>
                  <a:gd name="T4" fmla="*/ 3 w 3"/>
                  <a:gd name="T5" fmla="*/ 0 h 2"/>
                  <a:gd name="T6" fmla="*/ 0 w 3"/>
                  <a:gd name="T7" fmla="*/ 2 h 2"/>
                  <a:gd name="T8" fmla="*/ 0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1"/>
                      <a:pt x="2" y="1"/>
                      <a:pt x="3" y="0"/>
                    </a:cubicBezTo>
                    <a:cubicBezTo>
                      <a:pt x="2" y="1"/>
                      <a:pt x="1" y="1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4" name="Freeform 1130"/>
              <p:cNvSpPr>
                <a:spLocks/>
              </p:cNvSpPr>
              <p:nvPr/>
            </p:nvSpPr>
            <p:spPr bwMode="auto">
              <a:xfrm>
                <a:off x="3224" y="2033"/>
                <a:ext cx="436" cy="221"/>
              </a:xfrm>
              <a:custGeom>
                <a:avLst/>
                <a:gdLst>
                  <a:gd name="T0" fmla="*/ 34 w 665"/>
                  <a:gd name="T1" fmla="*/ 260 h 337"/>
                  <a:gd name="T2" fmla="*/ 104 w 665"/>
                  <a:gd name="T3" fmla="*/ 234 h 337"/>
                  <a:gd name="T4" fmla="*/ 159 w 665"/>
                  <a:gd name="T5" fmla="*/ 241 h 337"/>
                  <a:gd name="T6" fmla="*/ 176 w 665"/>
                  <a:gd name="T7" fmla="*/ 234 h 337"/>
                  <a:gd name="T8" fmla="*/ 179 w 665"/>
                  <a:gd name="T9" fmla="*/ 238 h 337"/>
                  <a:gd name="T10" fmla="*/ 180 w 665"/>
                  <a:gd name="T11" fmla="*/ 239 h 337"/>
                  <a:gd name="T12" fmla="*/ 190 w 665"/>
                  <a:gd name="T13" fmla="*/ 251 h 337"/>
                  <a:gd name="T14" fmla="*/ 198 w 665"/>
                  <a:gd name="T15" fmla="*/ 241 h 337"/>
                  <a:gd name="T16" fmla="*/ 228 w 665"/>
                  <a:gd name="T17" fmla="*/ 246 h 337"/>
                  <a:gd name="T18" fmla="*/ 247 w 665"/>
                  <a:gd name="T19" fmla="*/ 241 h 337"/>
                  <a:gd name="T20" fmla="*/ 284 w 665"/>
                  <a:gd name="T21" fmla="*/ 255 h 337"/>
                  <a:gd name="T22" fmla="*/ 300 w 665"/>
                  <a:gd name="T23" fmla="*/ 248 h 337"/>
                  <a:gd name="T24" fmla="*/ 321 w 665"/>
                  <a:gd name="T25" fmla="*/ 253 h 337"/>
                  <a:gd name="T26" fmla="*/ 349 w 665"/>
                  <a:gd name="T27" fmla="*/ 230 h 337"/>
                  <a:gd name="T28" fmla="*/ 366 w 665"/>
                  <a:gd name="T29" fmla="*/ 262 h 337"/>
                  <a:gd name="T30" fmla="*/ 421 w 665"/>
                  <a:gd name="T31" fmla="*/ 271 h 337"/>
                  <a:gd name="T32" fmla="*/ 494 w 665"/>
                  <a:gd name="T33" fmla="*/ 336 h 337"/>
                  <a:gd name="T34" fmla="*/ 503 w 665"/>
                  <a:gd name="T35" fmla="*/ 337 h 337"/>
                  <a:gd name="T36" fmla="*/ 551 w 665"/>
                  <a:gd name="T37" fmla="*/ 313 h 337"/>
                  <a:gd name="T38" fmla="*/ 563 w 665"/>
                  <a:gd name="T39" fmla="*/ 322 h 337"/>
                  <a:gd name="T40" fmla="*/ 569 w 665"/>
                  <a:gd name="T41" fmla="*/ 315 h 337"/>
                  <a:gd name="T42" fmla="*/ 592 w 665"/>
                  <a:gd name="T43" fmla="*/ 320 h 337"/>
                  <a:gd name="T44" fmla="*/ 609 w 665"/>
                  <a:gd name="T45" fmla="*/ 287 h 337"/>
                  <a:gd name="T46" fmla="*/ 642 w 665"/>
                  <a:gd name="T47" fmla="*/ 271 h 337"/>
                  <a:gd name="T48" fmla="*/ 618 w 665"/>
                  <a:gd name="T49" fmla="*/ 191 h 337"/>
                  <a:gd name="T50" fmla="*/ 615 w 665"/>
                  <a:gd name="T51" fmla="*/ 172 h 337"/>
                  <a:gd name="T52" fmla="*/ 596 w 665"/>
                  <a:gd name="T53" fmla="*/ 174 h 337"/>
                  <a:gd name="T54" fmla="*/ 608 w 665"/>
                  <a:gd name="T55" fmla="*/ 144 h 337"/>
                  <a:gd name="T56" fmla="*/ 600 w 665"/>
                  <a:gd name="T57" fmla="*/ 137 h 337"/>
                  <a:gd name="T58" fmla="*/ 614 w 665"/>
                  <a:gd name="T59" fmla="*/ 109 h 337"/>
                  <a:gd name="T60" fmla="*/ 586 w 665"/>
                  <a:gd name="T61" fmla="*/ 93 h 337"/>
                  <a:gd name="T62" fmla="*/ 571 w 665"/>
                  <a:gd name="T63" fmla="*/ 79 h 337"/>
                  <a:gd name="T64" fmla="*/ 529 w 665"/>
                  <a:gd name="T65" fmla="*/ 65 h 337"/>
                  <a:gd name="T66" fmla="*/ 498 w 665"/>
                  <a:gd name="T67" fmla="*/ 81 h 337"/>
                  <a:gd name="T68" fmla="*/ 452 w 665"/>
                  <a:gd name="T69" fmla="*/ 44 h 337"/>
                  <a:gd name="T70" fmla="*/ 453 w 665"/>
                  <a:gd name="T71" fmla="*/ 34 h 337"/>
                  <a:gd name="T72" fmla="*/ 437 w 665"/>
                  <a:gd name="T73" fmla="*/ 33 h 337"/>
                  <a:gd name="T74" fmla="*/ 431 w 665"/>
                  <a:gd name="T75" fmla="*/ 32 h 337"/>
                  <a:gd name="T76" fmla="*/ 427 w 665"/>
                  <a:gd name="T77" fmla="*/ 23 h 337"/>
                  <a:gd name="T78" fmla="*/ 415 w 665"/>
                  <a:gd name="T79" fmla="*/ 25 h 337"/>
                  <a:gd name="T80" fmla="*/ 387 w 665"/>
                  <a:gd name="T81" fmla="*/ 2 h 337"/>
                  <a:gd name="T82" fmla="*/ 385 w 665"/>
                  <a:gd name="T83" fmla="*/ 6 h 337"/>
                  <a:gd name="T84" fmla="*/ 369 w 665"/>
                  <a:gd name="T85" fmla="*/ 4 h 337"/>
                  <a:gd name="T86" fmla="*/ 299 w 665"/>
                  <a:gd name="T87" fmla="*/ 32 h 337"/>
                  <a:gd name="T88" fmla="*/ 297 w 665"/>
                  <a:gd name="T89" fmla="*/ 50 h 337"/>
                  <a:gd name="T90" fmla="*/ 307 w 665"/>
                  <a:gd name="T91" fmla="*/ 118 h 337"/>
                  <a:gd name="T92" fmla="*/ 205 w 665"/>
                  <a:gd name="T93" fmla="*/ 140 h 337"/>
                  <a:gd name="T94" fmla="*/ 194 w 665"/>
                  <a:gd name="T95" fmla="*/ 103 h 337"/>
                  <a:gd name="T96" fmla="*/ 145 w 665"/>
                  <a:gd name="T97" fmla="*/ 53 h 337"/>
                  <a:gd name="T98" fmla="*/ 147 w 665"/>
                  <a:gd name="T99" fmla="*/ 48 h 337"/>
                  <a:gd name="T100" fmla="*/ 74 w 665"/>
                  <a:gd name="T101" fmla="*/ 72 h 337"/>
                  <a:gd name="T102" fmla="*/ 69 w 665"/>
                  <a:gd name="T103" fmla="*/ 73 h 337"/>
                  <a:gd name="T104" fmla="*/ 41 w 665"/>
                  <a:gd name="T105" fmla="*/ 112 h 337"/>
                  <a:gd name="T106" fmla="*/ 38 w 665"/>
                  <a:gd name="T107" fmla="*/ 150 h 337"/>
                  <a:gd name="T108" fmla="*/ 8 w 665"/>
                  <a:gd name="T109" fmla="*/ 178 h 337"/>
                  <a:gd name="T110" fmla="*/ 2 w 665"/>
                  <a:gd name="T111" fmla="*/ 218 h 337"/>
                  <a:gd name="T112" fmla="*/ 9 w 665"/>
                  <a:gd name="T113" fmla="*/ 230 h 337"/>
                  <a:gd name="T114" fmla="*/ 9 w 665"/>
                  <a:gd name="T115" fmla="*/ 239 h 337"/>
                  <a:gd name="T116" fmla="*/ 3 w 665"/>
                  <a:gd name="T117" fmla="*/ 221 h 337"/>
                  <a:gd name="T118" fmla="*/ 1 w 665"/>
                  <a:gd name="T119" fmla="*/ 258 h 337"/>
                  <a:gd name="T120" fmla="*/ 3 w 665"/>
                  <a:gd name="T121" fmla="*/ 280 h 337"/>
                  <a:gd name="T122" fmla="*/ 34 w 665"/>
                  <a:gd name="T123" fmla="*/ 260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65" h="337">
                    <a:moveTo>
                      <a:pt x="34" y="260"/>
                    </a:moveTo>
                    <a:cubicBezTo>
                      <a:pt x="48" y="249"/>
                      <a:pt x="87" y="236"/>
                      <a:pt x="104" y="234"/>
                    </a:cubicBezTo>
                    <a:cubicBezTo>
                      <a:pt x="122" y="233"/>
                      <a:pt x="142" y="244"/>
                      <a:pt x="159" y="241"/>
                    </a:cubicBezTo>
                    <a:cubicBezTo>
                      <a:pt x="165" y="240"/>
                      <a:pt x="170" y="233"/>
                      <a:pt x="176" y="234"/>
                    </a:cubicBezTo>
                    <a:cubicBezTo>
                      <a:pt x="177" y="235"/>
                      <a:pt x="178" y="236"/>
                      <a:pt x="179" y="238"/>
                    </a:cubicBezTo>
                    <a:cubicBezTo>
                      <a:pt x="179" y="238"/>
                      <a:pt x="179" y="238"/>
                      <a:pt x="180" y="239"/>
                    </a:cubicBezTo>
                    <a:cubicBezTo>
                      <a:pt x="183" y="244"/>
                      <a:pt x="185" y="252"/>
                      <a:pt x="190" y="251"/>
                    </a:cubicBezTo>
                    <a:cubicBezTo>
                      <a:pt x="190" y="251"/>
                      <a:pt x="198" y="241"/>
                      <a:pt x="198" y="241"/>
                    </a:cubicBezTo>
                    <a:cubicBezTo>
                      <a:pt x="209" y="235"/>
                      <a:pt x="217" y="245"/>
                      <a:pt x="228" y="246"/>
                    </a:cubicBezTo>
                    <a:cubicBezTo>
                      <a:pt x="228" y="246"/>
                      <a:pt x="247" y="241"/>
                      <a:pt x="247" y="241"/>
                    </a:cubicBezTo>
                    <a:cubicBezTo>
                      <a:pt x="259" y="242"/>
                      <a:pt x="272" y="255"/>
                      <a:pt x="284" y="255"/>
                    </a:cubicBezTo>
                    <a:cubicBezTo>
                      <a:pt x="290" y="255"/>
                      <a:pt x="294" y="248"/>
                      <a:pt x="300" y="248"/>
                    </a:cubicBezTo>
                    <a:cubicBezTo>
                      <a:pt x="311" y="248"/>
                      <a:pt x="306" y="262"/>
                      <a:pt x="321" y="253"/>
                    </a:cubicBezTo>
                    <a:cubicBezTo>
                      <a:pt x="328" y="249"/>
                      <a:pt x="337" y="227"/>
                      <a:pt x="349" y="230"/>
                    </a:cubicBezTo>
                    <a:cubicBezTo>
                      <a:pt x="360" y="233"/>
                      <a:pt x="360" y="255"/>
                      <a:pt x="366" y="262"/>
                    </a:cubicBezTo>
                    <a:cubicBezTo>
                      <a:pt x="379" y="276"/>
                      <a:pt x="406" y="262"/>
                      <a:pt x="421" y="271"/>
                    </a:cubicBezTo>
                    <a:cubicBezTo>
                      <a:pt x="441" y="284"/>
                      <a:pt x="472" y="332"/>
                      <a:pt x="494" y="336"/>
                    </a:cubicBezTo>
                    <a:cubicBezTo>
                      <a:pt x="497" y="336"/>
                      <a:pt x="500" y="337"/>
                      <a:pt x="503" y="337"/>
                    </a:cubicBezTo>
                    <a:cubicBezTo>
                      <a:pt x="527" y="335"/>
                      <a:pt x="537" y="309"/>
                      <a:pt x="551" y="313"/>
                    </a:cubicBezTo>
                    <a:cubicBezTo>
                      <a:pt x="551" y="313"/>
                      <a:pt x="563" y="322"/>
                      <a:pt x="563" y="322"/>
                    </a:cubicBezTo>
                    <a:cubicBezTo>
                      <a:pt x="566" y="321"/>
                      <a:pt x="567" y="316"/>
                      <a:pt x="569" y="315"/>
                    </a:cubicBezTo>
                    <a:cubicBezTo>
                      <a:pt x="574" y="313"/>
                      <a:pt x="588" y="323"/>
                      <a:pt x="592" y="320"/>
                    </a:cubicBezTo>
                    <a:cubicBezTo>
                      <a:pt x="598" y="314"/>
                      <a:pt x="604" y="295"/>
                      <a:pt x="609" y="287"/>
                    </a:cubicBezTo>
                    <a:cubicBezTo>
                      <a:pt x="616" y="279"/>
                      <a:pt x="639" y="275"/>
                      <a:pt x="642" y="271"/>
                    </a:cubicBezTo>
                    <a:cubicBezTo>
                      <a:pt x="665" y="249"/>
                      <a:pt x="628" y="204"/>
                      <a:pt x="618" y="191"/>
                    </a:cubicBezTo>
                    <a:cubicBezTo>
                      <a:pt x="611" y="181"/>
                      <a:pt x="630" y="181"/>
                      <a:pt x="615" y="172"/>
                    </a:cubicBezTo>
                    <a:cubicBezTo>
                      <a:pt x="610" y="169"/>
                      <a:pt x="600" y="176"/>
                      <a:pt x="596" y="174"/>
                    </a:cubicBezTo>
                    <a:cubicBezTo>
                      <a:pt x="596" y="174"/>
                      <a:pt x="609" y="147"/>
                      <a:pt x="608" y="144"/>
                    </a:cubicBezTo>
                    <a:cubicBezTo>
                      <a:pt x="607" y="141"/>
                      <a:pt x="601" y="140"/>
                      <a:pt x="600" y="137"/>
                    </a:cubicBezTo>
                    <a:cubicBezTo>
                      <a:pt x="600" y="134"/>
                      <a:pt x="626" y="122"/>
                      <a:pt x="614" y="109"/>
                    </a:cubicBezTo>
                    <a:cubicBezTo>
                      <a:pt x="608" y="103"/>
                      <a:pt x="590" y="101"/>
                      <a:pt x="586" y="93"/>
                    </a:cubicBezTo>
                    <a:cubicBezTo>
                      <a:pt x="578" y="80"/>
                      <a:pt x="594" y="79"/>
                      <a:pt x="571" y="79"/>
                    </a:cubicBezTo>
                    <a:cubicBezTo>
                      <a:pt x="567" y="85"/>
                      <a:pt x="535" y="65"/>
                      <a:pt x="529" y="65"/>
                    </a:cubicBezTo>
                    <a:cubicBezTo>
                      <a:pt x="519" y="65"/>
                      <a:pt x="508" y="82"/>
                      <a:pt x="498" y="81"/>
                    </a:cubicBezTo>
                    <a:cubicBezTo>
                      <a:pt x="495" y="81"/>
                      <a:pt x="452" y="46"/>
                      <a:pt x="452" y="44"/>
                    </a:cubicBezTo>
                    <a:cubicBezTo>
                      <a:pt x="451" y="41"/>
                      <a:pt x="455" y="37"/>
                      <a:pt x="453" y="34"/>
                    </a:cubicBezTo>
                    <a:cubicBezTo>
                      <a:pt x="453" y="33"/>
                      <a:pt x="438" y="33"/>
                      <a:pt x="437" y="33"/>
                    </a:cubicBezTo>
                    <a:cubicBezTo>
                      <a:pt x="435" y="33"/>
                      <a:pt x="432" y="33"/>
                      <a:pt x="431" y="32"/>
                    </a:cubicBezTo>
                    <a:cubicBezTo>
                      <a:pt x="429" y="30"/>
                      <a:pt x="429" y="25"/>
                      <a:pt x="427" y="23"/>
                    </a:cubicBezTo>
                    <a:cubicBezTo>
                      <a:pt x="423" y="20"/>
                      <a:pt x="419" y="26"/>
                      <a:pt x="415" y="25"/>
                    </a:cubicBezTo>
                    <a:cubicBezTo>
                      <a:pt x="406" y="22"/>
                      <a:pt x="398" y="0"/>
                      <a:pt x="387" y="2"/>
                    </a:cubicBezTo>
                    <a:cubicBezTo>
                      <a:pt x="385" y="2"/>
                      <a:pt x="385" y="5"/>
                      <a:pt x="385" y="6"/>
                    </a:cubicBezTo>
                    <a:cubicBezTo>
                      <a:pt x="385" y="24"/>
                      <a:pt x="379" y="2"/>
                      <a:pt x="369" y="4"/>
                    </a:cubicBezTo>
                    <a:cubicBezTo>
                      <a:pt x="345" y="9"/>
                      <a:pt x="320" y="32"/>
                      <a:pt x="299" y="32"/>
                    </a:cubicBezTo>
                    <a:cubicBezTo>
                      <a:pt x="298" y="38"/>
                      <a:pt x="297" y="44"/>
                      <a:pt x="297" y="50"/>
                    </a:cubicBezTo>
                    <a:cubicBezTo>
                      <a:pt x="299" y="69"/>
                      <a:pt x="313" y="96"/>
                      <a:pt x="307" y="118"/>
                    </a:cubicBezTo>
                    <a:cubicBezTo>
                      <a:pt x="296" y="155"/>
                      <a:pt x="231" y="165"/>
                      <a:pt x="205" y="140"/>
                    </a:cubicBezTo>
                    <a:cubicBezTo>
                      <a:pt x="199" y="134"/>
                      <a:pt x="196" y="110"/>
                      <a:pt x="194" y="103"/>
                    </a:cubicBezTo>
                    <a:cubicBezTo>
                      <a:pt x="189" y="88"/>
                      <a:pt x="140" y="82"/>
                      <a:pt x="145" y="53"/>
                    </a:cubicBezTo>
                    <a:cubicBezTo>
                      <a:pt x="146" y="53"/>
                      <a:pt x="147" y="48"/>
                      <a:pt x="147" y="48"/>
                    </a:cubicBezTo>
                    <a:cubicBezTo>
                      <a:pt x="141" y="44"/>
                      <a:pt x="94" y="68"/>
                      <a:pt x="74" y="72"/>
                    </a:cubicBezTo>
                    <a:cubicBezTo>
                      <a:pt x="72" y="72"/>
                      <a:pt x="70" y="72"/>
                      <a:pt x="69" y="73"/>
                    </a:cubicBezTo>
                    <a:cubicBezTo>
                      <a:pt x="58" y="79"/>
                      <a:pt x="49" y="102"/>
                      <a:pt x="41" y="112"/>
                    </a:cubicBezTo>
                    <a:cubicBezTo>
                      <a:pt x="34" y="122"/>
                      <a:pt x="45" y="139"/>
                      <a:pt x="38" y="150"/>
                    </a:cubicBezTo>
                    <a:cubicBezTo>
                      <a:pt x="33" y="158"/>
                      <a:pt x="8" y="171"/>
                      <a:pt x="8" y="178"/>
                    </a:cubicBezTo>
                    <a:cubicBezTo>
                      <a:pt x="7" y="187"/>
                      <a:pt x="1" y="210"/>
                      <a:pt x="2" y="218"/>
                    </a:cubicBezTo>
                    <a:cubicBezTo>
                      <a:pt x="3" y="223"/>
                      <a:pt x="10" y="221"/>
                      <a:pt x="9" y="230"/>
                    </a:cubicBezTo>
                    <a:cubicBezTo>
                      <a:pt x="8" y="233"/>
                      <a:pt x="12" y="237"/>
                      <a:pt x="9" y="239"/>
                    </a:cubicBezTo>
                    <a:cubicBezTo>
                      <a:pt x="7" y="240"/>
                      <a:pt x="8" y="220"/>
                      <a:pt x="3" y="221"/>
                    </a:cubicBezTo>
                    <a:cubicBezTo>
                      <a:pt x="2" y="222"/>
                      <a:pt x="0" y="254"/>
                      <a:pt x="1" y="258"/>
                    </a:cubicBezTo>
                    <a:cubicBezTo>
                      <a:pt x="1" y="262"/>
                      <a:pt x="2" y="271"/>
                      <a:pt x="3" y="280"/>
                    </a:cubicBezTo>
                    <a:cubicBezTo>
                      <a:pt x="28" y="283"/>
                      <a:pt x="21" y="271"/>
                      <a:pt x="34" y="26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5" name="Freeform 1131"/>
              <p:cNvSpPr>
                <a:spLocks/>
              </p:cNvSpPr>
              <p:nvPr/>
            </p:nvSpPr>
            <p:spPr bwMode="auto">
              <a:xfrm>
                <a:off x="3342" y="2189"/>
                <a:ext cx="12" cy="9"/>
              </a:xfrm>
              <a:custGeom>
                <a:avLst/>
                <a:gdLst>
                  <a:gd name="T0" fmla="*/ 0 w 18"/>
                  <a:gd name="T1" fmla="*/ 0 h 13"/>
                  <a:gd name="T2" fmla="*/ 10 w 18"/>
                  <a:gd name="T3" fmla="*/ 12 h 13"/>
                  <a:gd name="T4" fmla="*/ 18 w 18"/>
                  <a:gd name="T5" fmla="*/ 2 h 13"/>
                  <a:gd name="T6" fmla="*/ 10 w 18"/>
                  <a:gd name="T7" fmla="*/ 12 h 13"/>
                  <a:gd name="T8" fmla="*/ 0 w 18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3">
                    <a:moveTo>
                      <a:pt x="0" y="0"/>
                    </a:moveTo>
                    <a:cubicBezTo>
                      <a:pt x="3" y="5"/>
                      <a:pt x="5" y="13"/>
                      <a:pt x="10" y="12"/>
                    </a:cubicBezTo>
                    <a:cubicBezTo>
                      <a:pt x="10" y="12"/>
                      <a:pt x="18" y="2"/>
                      <a:pt x="18" y="2"/>
                    </a:cubicBezTo>
                    <a:cubicBezTo>
                      <a:pt x="18" y="2"/>
                      <a:pt x="10" y="12"/>
                      <a:pt x="10" y="12"/>
                    </a:cubicBezTo>
                    <a:cubicBezTo>
                      <a:pt x="5" y="13"/>
                      <a:pt x="3" y="5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6" name="Freeform 1132"/>
              <p:cNvSpPr>
                <a:spLocks/>
              </p:cNvSpPr>
              <p:nvPr/>
            </p:nvSpPr>
            <p:spPr bwMode="auto">
              <a:xfrm>
                <a:off x="2550" y="3480"/>
                <a:ext cx="3" cy="7"/>
              </a:xfrm>
              <a:custGeom>
                <a:avLst/>
                <a:gdLst>
                  <a:gd name="T0" fmla="*/ 4 w 5"/>
                  <a:gd name="T1" fmla="*/ 6 h 10"/>
                  <a:gd name="T2" fmla="*/ 5 w 5"/>
                  <a:gd name="T3" fmla="*/ 4 h 10"/>
                  <a:gd name="T4" fmla="*/ 3 w 5"/>
                  <a:gd name="T5" fmla="*/ 1 h 10"/>
                  <a:gd name="T6" fmla="*/ 2 w 5"/>
                  <a:gd name="T7" fmla="*/ 3 h 10"/>
                  <a:gd name="T8" fmla="*/ 1 w 5"/>
                  <a:gd name="T9" fmla="*/ 5 h 10"/>
                  <a:gd name="T10" fmla="*/ 1 w 5"/>
                  <a:gd name="T11" fmla="*/ 7 h 10"/>
                  <a:gd name="T12" fmla="*/ 1 w 5"/>
                  <a:gd name="T13" fmla="*/ 8 h 10"/>
                  <a:gd name="T14" fmla="*/ 4 w 5"/>
                  <a:gd name="T15" fmla="*/ 9 h 10"/>
                  <a:gd name="T16" fmla="*/ 3 w 5"/>
                  <a:gd name="T17" fmla="*/ 8 h 10"/>
                  <a:gd name="T18" fmla="*/ 4 w 5"/>
                  <a:gd name="T1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10">
                    <a:moveTo>
                      <a:pt x="4" y="6"/>
                    </a:moveTo>
                    <a:cubicBezTo>
                      <a:pt x="4" y="5"/>
                      <a:pt x="5" y="4"/>
                      <a:pt x="5" y="4"/>
                    </a:cubicBezTo>
                    <a:cubicBezTo>
                      <a:pt x="4" y="3"/>
                      <a:pt x="5" y="0"/>
                      <a:pt x="3" y="1"/>
                    </a:cubicBezTo>
                    <a:cubicBezTo>
                      <a:pt x="2" y="2"/>
                      <a:pt x="3" y="3"/>
                      <a:pt x="2" y="3"/>
                    </a:cubicBezTo>
                    <a:cubicBezTo>
                      <a:pt x="1" y="3"/>
                      <a:pt x="1" y="3"/>
                      <a:pt x="1" y="5"/>
                    </a:cubicBezTo>
                    <a:cubicBezTo>
                      <a:pt x="1" y="6"/>
                      <a:pt x="1" y="6"/>
                      <a:pt x="1" y="7"/>
                    </a:cubicBezTo>
                    <a:cubicBezTo>
                      <a:pt x="0" y="8"/>
                      <a:pt x="0" y="9"/>
                      <a:pt x="1" y="8"/>
                    </a:cubicBezTo>
                    <a:cubicBezTo>
                      <a:pt x="2" y="7"/>
                      <a:pt x="3" y="10"/>
                      <a:pt x="4" y="9"/>
                    </a:cubicBezTo>
                    <a:cubicBezTo>
                      <a:pt x="5" y="8"/>
                      <a:pt x="3" y="8"/>
                      <a:pt x="3" y="8"/>
                    </a:cubicBezTo>
                    <a:cubicBezTo>
                      <a:pt x="3" y="6"/>
                      <a:pt x="4" y="7"/>
                      <a:pt x="4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7" name="Freeform 1133"/>
              <p:cNvSpPr>
                <a:spLocks/>
              </p:cNvSpPr>
              <p:nvPr/>
            </p:nvSpPr>
            <p:spPr bwMode="auto">
              <a:xfrm>
                <a:off x="2564" y="3506"/>
                <a:ext cx="4" cy="3"/>
              </a:xfrm>
              <a:custGeom>
                <a:avLst/>
                <a:gdLst>
                  <a:gd name="T0" fmla="*/ 5 w 7"/>
                  <a:gd name="T1" fmla="*/ 3 h 6"/>
                  <a:gd name="T2" fmla="*/ 5 w 7"/>
                  <a:gd name="T3" fmla="*/ 2 h 6"/>
                  <a:gd name="T4" fmla="*/ 1 w 7"/>
                  <a:gd name="T5" fmla="*/ 5 h 6"/>
                  <a:gd name="T6" fmla="*/ 2 w 7"/>
                  <a:gd name="T7" fmla="*/ 6 h 6"/>
                  <a:gd name="T8" fmla="*/ 5 w 7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5" y="3"/>
                    </a:moveTo>
                    <a:cubicBezTo>
                      <a:pt x="7" y="3"/>
                      <a:pt x="6" y="0"/>
                      <a:pt x="5" y="2"/>
                    </a:cubicBezTo>
                    <a:cubicBezTo>
                      <a:pt x="4" y="3"/>
                      <a:pt x="3" y="3"/>
                      <a:pt x="1" y="5"/>
                    </a:cubicBezTo>
                    <a:cubicBezTo>
                      <a:pt x="0" y="5"/>
                      <a:pt x="1" y="6"/>
                      <a:pt x="2" y="6"/>
                    </a:cubicBezTo>
                    <a:cubicBezTo>
                      <a:pt x="3" y="6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8" name="Freeform 1134"/>
              <p:cNvSpPr>
                <a:spLocks/>
              </p:cNvSpPr>
              <p:nvPr/>
            </p:nvSpPr>
            <p:spPr bwMode="auto">
              <a:xfrm>
                <a:off x="2544" y="3480"/>
                <a:ext cx="1" cy="2"/>
              </a:xfrm>
              <a:custGeom>
                <a:avLst/>
                <a:gdLst>
                  <a:gd name="T0" fmla="*/ 0 w 2"/>
                  <a:gd name="T1" fmla="*/ 2 h 3"/>
                  <a:gd name="T2" fmla="*/ 2 w 2"/>
                  <a:gd name="T3" fmla="*/ 3 h 3"/>
                  <a:gd name="T4" fmla="*/ 1 w 2"/>
                  <a:gd name="T5" fmla="*/ 0 h 3"/>
                  <a:gd name="T6" fmla="*/ 0 w 2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cubicBezTo>
                      <a:pt x="0" y="3"/>
                      <a:pt x="1" y="3"/>
                      <a:pt x="2" y="3"/>
                    </a:cubicBezTo>
                    <a:cubicBezTo>
                      <a:pt x="2" y="2"/>
                      <a:pt x="2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19" name="Freeform 1135"/>
              <p:cNvSpPr>
                <a:spLocks/>
              </p:cNvSpPr>
              <p:nvPr/>
            </p:nvSpPr>
            <p:spPr bwMode="auto">
              <a:xfrm>
                <a:off x="2477" y="3490"/>
                <a:ext cx="9" cy="12"/>
              </a:xfrm>
              <a:custGeom>
                <a:avLst/>
                <a:gdLst>
                  <a:gd name="T0" fmla="*/ 2 w 14"/>
                  <a:gd name="T1" fmla="*/ 12 h 18"/>
                  <a:gd name="T2" fmla="*/ 4 w 14"/>
                  <a:gd name="T3" fmla="*/ 16 h 18"/>
                  <a:gd name="T4" fmla="*/ 7 w 14"/>
                  <a:gd name="T5" fmla="*/ 10 h 18"/>
                  <a:gd name="T6" fmla="*/ 14 w 14"/>
                  <a:gd name="T7" fmla="*/ 6 h 18"/>
                  <a:gd name="T8" fmla="*/ 8 w 14"/>
                  <a:gd name="T9" fmla="*/ 4 h 18"/>
                  <a:gd name="T10" fmla="*/ 2 w 14"/>
                  <a:gd name="T11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18">
                    <a:moveTo>
                      <a:pt x="2" y="12"/>
                    </a:moveTo>
                    <a:cubicBezTo>
                      <a:pt x="2" y="14"/>
                      <a:pt x="0" y="18"/>
                      <a:pt x="4" y="16"/>
                    </a:cubicBezTo>
                    <a:cubicBezTo>
                      <a:pt x="11" y="14"/>
                      <a:pt x="4" y="13"/>
                      <a:pt x="7" y="10"/>
                    </a:cubicBezTo>
                    <a:cubicBezTo>
                      <a:pt x="10" y="6"/>
                      <a:pt x="14" y="12"/>
                      <a:pt x="14" y="6"/>
                    </a:cubicBezTo>
                    <a:cubicBezTo>
                      <a:pt x="14" y="0"/>
                      <a:pt x="7" y="1"/>
                      <a:pt x="8" y="4"/>
                    </a:cubicBezTo>
                    <a:cubicBezTo>
                      <a:pt x="9" y="7"/>
                      <a:pt x="3" y="9"/>
                      <a:pt x="2" y="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0" name="Freeform 1136"/>
              <p:cNvSpPr>
                <a:spLocks/>
              </p:cNvSpPr>
              <p:nvPr/>
            </p:nvSpPr>
            <p:spPr bwMode="auto">
              <a:xfrm>
                <a:off x="2546" y="3479"/>
                <a:ext cx="5" cy="5"/>
              </a:xfrm>
              <a:custGeom>
                <a:avLst/>
                <a:gdLst>
                  <a:gd name="T0" fmla="*/ 2 w 7"/>
                  <a:gd name="T1" fmla="*/ 4 h 8"/>
                  <a:gd name="T2" fmla="*/ 1 w 7"/>
                  <a:gd name="T3" fmla="*/ 7 h 8"/>
                  <a:gd name="T4" fmla="*/ 4 w 7"/>
                  <a:gd name="T5" fmla="*/ 6 h 8"/>
                  <a:gd name="T6" fmla="*/ 6 w 7"/>
                  <a:gd name="T7" fmla="*/ 6 h 8"/>
                  <a:gd name="T8" fmla="*/ 6 w 7"/>
                  <a:gd name="T9" fmla="*/ 4 h 8"/>
                  <a:gd name="T10" fmla="*/ 6 w 7"/>
                  <a:gd name="T11" fmla="*/ 2 h 8"/>
                  <a:gd name="T12" fmla="*/ 4 w 7"/>
                  <a:gd name="T13" fmla="*/ 0 h 8"/>
                  <a:gd name="T14" fmla="*/ 4 w 7"/>
                  <a:gd name="T15" fmla="*/ 1 h 8"/>
                  <a:gd name="T16" fmla="*/ 3 w 7"/>
                  <a:gd name="T17" fmla="*/ 2 h 8"/>
                  <a:gd name="T18" fmla="*/ 2 w 7"/>
                  <a:gd name="T1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8">
                    <a:moveTo>
                      <a:pt x="2" y="4"/>
                    </a:moveTo>
                    <a:cubicBezTo>
                      <a:pt x="1" y="4"/>
                      <a:pt x="0" y="6"/>
                      <a:pt x="1" y="7"/>
                    </a:cubicBezTo>
                    <a:cubicBezTo>
                      <a:pt x="2" y="7"/>
                      <a:pt x="2" y="7"/>
                      <a:pt x="4" y="6"/>
                    </a:cubicBezTo>
                    <a:cubicBezTo>
                      <a:pt x="5" y="6"/>
                      <a:pt x="5" y="8"/>
                      <a:pt x="6" y="6"/>
                    </a:cubicBezTo>
                    <a:cubicBezTo>
                      <a:pt x="7" y="5"/>
                      <a:pt x="5" y="6"/>
                      <a:pt x="6" y="4"/>
                    </a:cubicBezTo>
                    <a:cubicBezTo>
                      <a:pt x="7" y="2"/>
                      <a:pt x="6" y="3"/>
                      <a:pt x="6" y="2"/>
                    </a:cubicBezTo>
                    <a:cubicBezTo>
                      <a:pt x="6" y="0"/>
                      <a:pt x="5" y="0"/>
                      <a:pt x="4" y="0"/>
                    </a:cubicBezTo>
                    <a:cubicBezTo>
                      <a:pt x="4" y="1"/>
                      <a:pt x="4" y="2"/>
                      <a:pt x="4" y="1"/>
                    </a:cubicBezTo>
                    <a:cubicBezTo>
                      <a:pt x="3" y="0"/>
                      <a:pt x="3" y="2"/>
                      <a:pt x="3" y="2"/>
                    </a:cubicBezTo>
                    <a:cubicBezTo>
                      <a:pt x="3" y="3"/>
                      <a:pt x="2" y="4"/>
                      <a:pt x="2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1" name="Freeform 1137"/>
              <p:cNvSpPr>
                <a:spLocks noEditPoints="1"/>
              </p:cNvSpPr>
              <p:nvPr/>
            </p:nvSpPr>
            <p:spPr bwMode="auto">
              <a:xfrm>
                <a:off x="2385" y="2999"/>
                <a:ext cx="701" cy="752"/>
              </a:xfrm>
              <a:custGeom>
                <a:avLst/>
                <a:gdLst>
                  <a:gd name="T0" fmla="*/ 613 w 1070"/>
                  <a:gd name="T1" fmla="*/ 139 h 1147"/>
                  <a:gd name="T2" fmla="*/ 506 w 1070"/>
                  <a:gd name="T3" fmla="*/ 42 h 1147"/>
                  <a:gd name="T4" fmla="*/ 407 w 1070"/>
                  <a:gd name="T5" fmla="*/ 18 h 1147"/>
                  <a:gd name="T6" fmla="*/ 337 w 1070"/>
                  <a:gd name="T7" fmla="*/ 54 h 1147"/>
                  <a:gd name="T8" fmla="*/ 268 w 1070"/>
                  <a:gd name="T9" fmla="*/ 103 h 1147"/>
                  <a:gd name="T10" fmla="*/ 240 w 1070"/>
                  <a:gd name="T11" fmla="*/ 101 h 1147"/>
                  <a:gd name="T12" fmla="*/ 199 w 1070"/>
                  <a:gd name="T13" fmla="*/ 146 h 1147"/>
                  <a:gd name="T14" fmla="*/ 179 w 1070"/>
                  <a:gd name="T15" fmla="*/ 153 h 1147"/>
                  <a:gd name="T16" fmla="*/ 174 w 1070"/>
                  <a:gd name="T17" fmla="*/ 151 h 1147"/>
                  <a:gd name="T18" fmla="*/ 153 w 1070"/>
                  <a:gd name="T19" fmla="*/ 90 h 1147"/>
                  <a:gd name="T20" fmla="*/ 44 w 1070"/>
                  <a:gd name="T21" fmla="*/ 156 h 1147"/>
                  <a:gd name="T22" fmla="*/ 22 w 1070"/>
                  <a:gd name="T23" fmla="*/ 251 h 1147"/>
                  <a:gd name="T24" fmla="*/ 41 w 1070"/>
                  <a:gd name="T25" fmla="*/ 308 h 1147"/>
                  <a:gd name="T26" fmla="*/ 83 w 1070"/>
                  <a:gd name="T27" fmla="*/ 424 h 1147"/>
                  <a:gd name="T28" fmla="*/ 146 w 1070"/>
                  <a:gd name="T29" fmla="*/ 383 h 1147"/>
                  <a:gd name="T30" fmla="*/ 206 w 1070"/>
                  <a:gd name="T31" fmla="*/ 344 h 1147"/>
                  <a:gd name="T32" fmla="*/ 272 w 1070"/>
                  <a:gd name="T33" fmla="*/ 377 h 1147"/>
                  <a:gd name="T34" fmla="*/ 335 w 1070"/>
                  <a:gd name="T35" fmla="*/ 461 h 1147"/>
                  <a:gd name="T36" fmla="*/ 372 w 1070"/>
                  <a:gd name="T37" fmla="*/ 543 h 1147"/>
                  <a:gd name="T38" fmla="*/ 404 w 1070"/>
                  <a:gd name="T39" fmla="*/ 596 h 1147"/>
                  <a:gd name="T40" fmla="*/ 482 w 1070"/>
                  <a:gd name="T41" fmla="*/ 645 h 1147"/>
                  <a:gd name="T42" fmla="*/ 563 w 1070"/>
                  <a:gd name="T43" fmla="*/ 719 h 1147"/>
                  <a:gd name="T44" fmla="*/ 656 w 1070"/>
                  <a:gd name="T45" fmla="*/ 767 h 1147"/>
                  <a:gd name="T46" fmla="*/ 698 w 1070"/>
                  <a:gd name="T47" fmla="*/ 798 h 1147"/>
                  <a:gd name="T48" fmla="*/ 725 w 1070"/>
                  <a:gd name="T49" fmla="*/ 809 h 1147"/>
                  <a:gd name="T50" fmla="*/ 752 w 1070"/>
                  <a:gd name="T51" fmla="*/ 867 h 1147"/>
                  <a:gd name="T52" fmla="*/ 846 w 1070"/>
                  <a:gd name="T53" fmla="*/ 988 h 1147"/>
                  <a:gd name="T54" fmla="*/ 832 w 1070"/>
                  <a:gd name="T55" fmla="*/ 1075 h 1147"/>
                  <a:gd name="T56" fmla="*/ 838 w 1070"/>
                  <a:gd name="T57" fmla="*/ 1143 h 1147"/>
                  <a:gd name="T58" fmla="*/ 893 w 1070"/>
                  <a:gd name="T59" fmla="*/ 1039 h 1147"/>
                  <a:gd name="T60" fmla="*/ 945 w 1070"/>
                  <a:gd name="T61" fmla="*/ 1007 h 1147"/>
                  <a:gd name="T62" fmla="*/ 886 w 1070"/>
                  <a:gd name="T63" fmla="*/ 921 h 1147"/>
                  <a:gd name="T64" fmla="*/ 960 w 1070"/>
                  <a:gd name="T65" fmla="*/ 847 h 1147"/>
                  <a:gd name="T66" fmla="*/ 1048 w 1070"/>
                  <a:gd name="T67" fmla="*/ 914 h 1147"/>
                  <a:gd name="T68" fmla="*/ 1008 w 1070"/>
                  <a:gd name="T69" fmla="*/ 806 h 1147"/>
                  <a:gd name="T70" fmla="*/ 827 w 1070"/>
                  <a:gd name="T71" fmla="*/ 652 h 1147"/>
                  <a:gd name="T72" fmla="*/ 703 w 1070"/>
                  <a:gd name="T73" fmla="*/ 607 h 1147"/>
                  <a:gd name="T74" fmla="*/ 577 w 1070"/>
                  <a:gd name="T75" fmla="*/ 416 h 1147"/>
                  <a:gd name="T76" fmla="*/ 508 w 1070"/>
                  <a:gd name="T77" fmla="*/ 289 h 1147"/>
                  <a:gd name="T78" fmla="*/ 512 w 1070"/>
                  <a:gd name="T79" fmla="*/ 251 h 1147"/>
                  <a:gd name="T80" fmla="*/ 501 w 1070"/>
                  <a:gd name="T81" fmla="*/ 218 h 1147"/>
                  <a:gd name="T82" fmla="*/ 532 w 1070"/>
                  <a:gd name="T83" fmla="*/ 202 h 1147"/>
                  <a:gd name="T84" fmla="*/ 580 w 1070"/>
                  <a:gd name="T85" fmla="*/ 177 h 1147"/>
                  <a:gd name="T86" fmla="*/ 632 w 1070"/>
                  <a:gd name="T87" fmla="*/ 177 h 1147"/>
                  <a:gd name="T88" fmla="*/ 246 w 1070"/>
                  <a:gd name="T89" fmla="*/ 156 h 1147"/>
                  <a:gd name="T90" fmla="*/ 222 w 1070"/>
                  <a:gd name="T91" fmla="*/ 160 h 1147"/>
                  <a:gd name="T92" fmla="*/ 303 w 1070"/>
                  <a:gd name="T93" fmla="*/ 184 h 1147"/>
                  <a:gd name="T94" fmla="*/ 367 w 1070"/>
                  <a:gd name="T95" fmla="*/ 203 h 1147"/>
                  <a:gd name="T96" fmla="*/ 367 w 1070"/>
                  <a:gd name="T97" fmla="*/ 176 h 1147"/>
                  <a:gd name="T98" fmla="*/ 476 w 1070"/>
                  <a:gd name="T99" fmla="*/ 562 h 1147"/>
                  <a:gd name="T100" fmla="*/ 491 w 1070"/>
                  <a:gd name="T101" fmla="*/ 508 h 1147"/>
                  <a:gd name="T102" fmla="*/ 502 w 1070"/>
                  <a:gd name="T103" fmla="*/ 314 h 1147"/>
                  <a:gd name="T104" fmla="*/ 492 w 1070"/>
                  <a:gd name="T105" fmla="*/ 322 h 1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70" h="1147">
                    <a:moveTo>
                      <a:pt x="652" y="188"/>
                    </a:moveTo>
                    <a:cubicBezTo>
                      <a:pt x="652" y="174"/>
                      <a:pt x="630" y="172"/>
                      <a:pt x="623" y="165"/>
                    </a:cubicBezTo>
                    <a:cubicBezTo>
                      <a:pt x="620" y="161"/>
                      <a:pt x="632" y="139"/>
                      <a:pt x="622" y="141"/>
                    </a:cubicBezTo>
                    <a:cubicBezTo>
                      <a:pt x="620" y="142"/>
                      <a:pt x="621" y="146"/>
                      <a:pt x="619" y="146"/>
                    </a:cubicBezTo>
                    <a:cubicBezTo>
                      <a:pt x="616" y="145"/>
                      <a:pt x="614" y="142"/>
                      <a:pt x="613" y="139"/>
                    </a:cubicBezTo>
                    <a:cubicBezTo>
                      <a:pt x="612" y="134"/>
                      <a:pt x="633" y="124"/>
                      <a:pt x="629" y="118"/>
                    </a:cubicBezTo>
                    <a:cubicBezTo>
                      <a:pt x="624" y="109"/>
                      <a:pt x="606" y="119"/>
                      <a:pt x="604" y="103"/>
                    </a:cubicBezTo>
                    <a:cubicBezTo>
                      <a:pt x="603" y="96"/>
                      <a:pt x="631" y="86"/>
                      <a:pt x="634" y="74"/>
                    </a:cubicBezTo>
                    <a:cubicBezTo>
                      <a:pt x="606" y="69"/>
                      <a:pt x="578" y="67"/>
                      <a:pt x="551" y="60"/>
                    </a:cubicBezTo>
                    <a:cubicBezTo>
                      <a:pt x="539" y="57"/>
                      <a:pt x="510" y="52"/>
                      <a:pt x="506" y="42"/>
                    </a:cubicBezTo>
                    <a:cubicBezTo>
                      <a:pt x="505" y="38"/>
                      <a:pt x="509" y="34"/>
                      <a:pt x="508" y="31"/>
                    </a:cubicBezTo>
                    <a:cubicBezTo>
                      <a:pt x="504" y="23"/>
                      <a:pt x="495" y="30"/>
                      <a:pt x="493" y="18"/>
                    </a:cubicBezTo>
                    <a:cubicBezTo>
                      <a:pt x="493" y="12"/>
                      <a:pt x="503" y="7"/>
                      <a:pt x="500" y="3"/>
                    </a:cubicBezTo>
                    <a:cubicBezTo>
                      <a:pt x="498" y="0"/>
                      <a:pt x="464" y="16"/>
                      <a:pt x="459" y="16"/>
                    </a:cubicBezTo>
                    <a:cubicBezTo>
                      <a:pt x="445" y="15"/>
                      <a:pt x="418" y="9"/>
                      <a:pt x="407" y="18"/>
                    </a:cubicBezTo>
                    <a:cubicBezTo>
                      <a:pt x="400" y="23"/>
                      <a:pt x="400" y="40"/>
                      <a:pt x="393" y="44"/>
                    </a:cubicBezTo>
                    <a:cubicBezTo>
                      <a:pt x="380" y="51"/>
                      <a:pt x="367" y="32"/>
                      <a:pt x="362" y="31"/>
                    </a:cubicBezTo>
                    <a:cubicBezTo>
                      <a:pt x="346" y="29"/>
                      <a:pt x="360" y="39"/>
                      <a:pt x="344" y="31"/>
                    </a:cubicBezTo>
                    <a:cubicBezTo>
                      <a:pt x="344" y="31"/>
                      <a:pt x="344" y="31"/>
                      <a:pt x="344" y="31"/>
                    </a:cubicBezTo>
                    <a:cubicBezTo>
                      <a:pt x="342" y="40"/>
                      <a:pt x="338" y="46"/>
                      <a:pt x="337" y="54"/>
                    </a:cubicBezTo>
                    <a:cubicBezTo>
                      <a:pt x="336" y="59"/>
                      <a:pt x="355" y="67"/>
                      <a:pt x="343" y="74"/>
                    </a:cubicBezTo>
                    <a:cubicBezTo>
                      <a:pt x="329" y="81"/>
                      <a:pt x="324" y="50"/>
                      <a:pt x="311" y="63"/>
                    </a:cubicBezTo>
                    <a:cubicBezTo>
                      <a:pt x="302" y="74"/>
                      <a:pt x="331" y="118"/>
                      <a:pt x="308" y="114"/>
                    </a:cubicBezTo>
                    <a:cubicBezTo>
                      <a:pt x="305" y="113"/>
                      <a:pt x="302" y="94"/>
                      <a:pt x="298" y="93"/>
                    </a:cubicBezTo>
                    <a:cubicBezTo>
                      <a:pt x="286" y="87"/>
                      <a:pt x="278" y="106"/>
                      <a:pt x="268" y="103"/>
                    </a:cubicBezTo>
                    <a:cubicBezTo>
                      <a:pt x="250" y="99"/>
                      <a:pt x="259" y="75"/>
                      <a:pt x="253" y="76"/>
                    </a:cubicBezTo>
                    <a:cubicBezTo>
                      <a:pt x="251" y="76"/>
                      <a:pt x="252" y="82"/>
                      <a:pt x="249" y="82"/>
                    </a:cubicBezTo>
                    <a:cubicBezTo>
                      <a:pt x="247" y="82"/>
                      <a:pt x="248" y="76"/>
                      <a:pt x="246" y="76"/>
                    </a:cubicBezTo>
                    <a:cubicBezTo>
                      <a:pt x="243" y="75"/>
                      <a:pt x="239" y="77"/>
                      <a:pt x="237" y="80"/>
                    </a:cubicBezTo>
                    <a:cubicBezTo>
                      <a:pt x="237" y="80"/>
                      <a:pt x="240" y="101"/>
                      <a:pt x="240" y="101"/>
                    </a:cubicBezTo>
                    <a:cubicBezTo>
                      <a:pt x="237" y="117"/>
                      <a:pt x="213" y="127"/>
                      <a:pt x="213" y="146"/>
                    </a:cubicBezTo>
                    <a:cubicBezTo>
                      <a:pt x="213" y="146"/>
                      <a:pt x="221" y="154"/>
                      <a:pt x="221" y="154"/>
                    </a:cubicBezTo>
                    <a:cubicBezTo>
                      <a:pt x="221" y="158"/>
                      <a:pt x="220" y="163"/>
                      <a:pt x="216" y="165"/>
                    </a:cubicBezTo>
                    <a:cubicBezTo>
                      <a:pt x="208" y="168"/>
                      <a:pt x="207" y="151"/>
                      <a:pt x="204" y="148"/>
                    </a:cubicBezTo>
                    <a:cubicBezTo>
                      <a:pt x="203" y="146"/>
                      <a:pt x="201" y="146"/>
                      <a:pt x="199" y="146"/>
                    </a:cubicBezTo>
                    <a:cubicBezTo>
                      <a:pt x="198" y="145"/>
                      <a:pt x="195" y="145"/>
                      <a:pt x="194" y="144"/>
                    </a:cubicBezTo>
                    <a:cubicBezTo>
                      <a:pt x="193" y="140"/>
                      <a:pt x="206" y="132"/>
                      <a:pt x="197" y="129"/>
                    </a:cubicBezTo>
                    <a:cubicBezTo>
                      <a:pt x="196" y="128"/>
                      <a:pt x="194" y="128"/>
                      <a:pt x="192" y="127"/>
                    </a:cubicBezTo>
                    <a:cubicBezTo>
                      <a:pt x="192" y="128"/>
                      <a:pt x="191" y="128"/>
                      <a:pt x="191" y="129"/>
                    </a:cubicBezTo>
                    <a:cubicBezTo>
                      <a:pt x="186" y="140"/>
                      <a:pt x="189" y="142"/>
                      <a:pt x="179" y="153"/>
                    </a:cubicBezTo>
                    <a:cubicBezTo>
                      <a:pt x="175" y="156"/>
                      <a:pt x="179" y="180"/>
                      <a:pt x="176" y="175"/>
                    </a:cubicBezTo>
                    <a:cubicBezTo>
                      <a:pt x="176" y="175"/>
                      <a:pt x="176" y="175"/>
                      <a:pt x="176" y="175"/>
                    </a:cubicBezTo>
                    <a:cubicBezTo>
                      <a:pt x="174" y="166"/>
                      <a:pt x="175" y="161"/>
                      <a:pt x="174" y="158"/>
                    </a:cubicBezTo>
                    <a:cubicBezTo>
                      <a:pt x="173" y="156"/>
                      <a:pt x="167" y="153"/>
                      <a:pt x="168" y="149"/>
                    </a:cubicBezTo>
                    <a:cubicBezTo>
                      <a:pt x="169" y="146"/>
                      <a:pt x="174" y="152"/>
                      <a:pt x="174" y="151"/>
                    </a:cubicBezTo>
                    <a:cubicBezTo>
                      <a:pt x="177" y="151"/>
                      <a:pt x="184" y="140"/>
                      <a:pt x="186" y="138"/>
                    </a:cubicBezTo>
                    <a:cubicBezTo>
                      <a:pt x="187" y="137"/>
                      <a:pt x="187" y="131"/>
                      <a:pt x="189" y="126"/>
                    </a:cubicBezTo>
                    <a:cubicBezTo>
                      <a:pt x="179" y="123"/>
                      <a:pt x="167" y="118"/>
                      <a:pt x="164" y="110"/>
                    </a:cubicBezTo>
                    <a:cubicBezTo>
                      <a:pt x="163" y="104"/>
                      <a:pt x="169" y="88"/>
                      <a:pt x="164" y="82"/>
                    </a:cubicBezTo>
                    <a:cubicBezTo>
                      <a:pt x="161" y="78"/>
                      <a:pt x="156" y="87"/>
                      <a:pt x="153" y="90"/>
                    </a:cubicBezTo>
                    <a:cubicBezTo>
                      <a:pt x="149" y="93"/>
                      <a:pt x="133" y="103"/>
                      <a:pt x="132" y="108"/>
                    </a:cubicBezTo>
                    <a:cubicBezTo>
                      <a:pt x="132" y="108"/>
                      <a:pt x="139" y="118"/>
                      <a:pt x="139" y="118"/>
                    </a:cubicBezTo>
                    <a:cubicBezTo>
                      <a:pt x="139" y="128"/>
                      <a:pt x="116" y="150"/>
                      <a:pt x="111" y="152"/>
                    </a:cubicBezTo>
                    <a:cubicBezTo>
                      <a:pt x="107" y="154"/>
                      <a:pt x="93" y="143"/>
                      <a:pt x="87" y="144"/>
                    </a:cubicBezTo>
                    <a:cubicBezTo>
                      <a:pt x="76" y="145"/>
                      <a:pt x="57" y="162"/>
                      <a:pt x="44" y="156"/>
                    </a:cubicBezTo>
                    <a:cubicBezTo>
                      <a:pt x="42" y="155"/>
                      <a:pt x="40" y="153"/>
                      <a:pt x="38" y="151"/>
                    </a:cubicBezTo>
                    <a:cubicBezTo>
                      <a:pt x="4" y="174"/>
                      <a:pt x="18" y="164"/>
                      <a:pt x="34" y="188"/>
                    </a:cubicBezTo>
                    <a:cubicBezTo>
                      <a:pt x="36" y="192"/>
                      <a:pt x="32" y="199"/>
                      <a:pt x="35" y="203"/>
                    </a:cubicBezTo>
                    <a:cubicBezTo>
                      <a:pt x="39" y="209"/>
                      <a:pt x="50" y="209"/>
                      <a:pt x="51" y="215"/>
                    </a:cubicBezTo>
                    <a:cubicBezTo>
                      <a:pt x="53" y="223"/>
                      <a:pt x="29" y="251"/>
                      <a:pt x="22" y="251"/>
                    </a:cubicBezTo>
                    <a:cubicBezTo>
                      <a:pt x="19" y="251"/>
                      <a:pt x="17" y="247"/>
                      <a:pt x="14" y="247"/>
                    </a:cubicBezTo>
                    <a:cubicBezTo>
                      <a:pt x="12" y="247"/>
                      <a:pt x="10" y="249"/>
                      <a:pt x="8" y="250"/>
                    </a:cubicBezTo>
                    <a:cubicBezTo>
                      <a:pt x="5" y="251"/>
                      <a:pt x="1" y="251"/>
                      <a:pt x="1" y="253"/>
                    </a:cubicBezTo>
                    <a:cubicBezTo>
                      <a:pt x="0" y="268"/>
                      <a:pt x="32" y="279"/>
                      <a:pt x="37" y="287"/>
                    </a:cubicBezTo>
                    <a:cubicBezTo>
                      <a:pt x="40" y="293"/>
                      <a:pt x="44" y="301"/>
                      <a:pt x="41" y="308"/>
                    </a:cubicBezTo>
                    <a:cubicBezTo>
                      <a:pt x="40" y="310"/>
                      <a:pt x="37" y="305"/>
                      <a:pt x="35" y="306"/>
                    </a:cubicBezTo>
                    <a:cubicBezTo>
                      <a:pt x="33" y="306"/>
                      <a:pt x="31" y="308"/>
                      <a:pt x="31" y="310"/>
                    </a:cubicBezTo>
                    <a:cubicBezTo>
                      <a:pt x="22" y="333"/>
                      <a:pt x="21" y="365"/>
                      <a:pt x="60" y="375"/>
                    </a:cubicBezTo>
                    <a:cubicBezTo>
                      <a:pt x="69" y="377"/>
                      <a:pt x="87" y="366"/>
                      <a:pt x="94" y="371"/>
                    </a:cubicBezTo>
                    <a:cubicBezTo>
                      <a:pt x="107" y="378"/>
                      <a:pt x="79" y="407"/>
                      <a:pt x="83" y="424"/>
                    </a:cubicBezTo>
                    <a:cubicBezTo>
                      <a:pt x="83" y="424"/>
                      <a:pt x="87" y="420"/>
                      <a:pt x="91" y="422"/>
                    </a:cubicBezTo>
                    <a:cubicBezTo>
                      <a:pt x="96" y="423"/>
                      <a:pt x="96" y="418"/>
                      <a:pt x="100" y="419"/>
                    </a:cubicBezTo>
                    <a:cubicBezTo>
                      <a:pt x="104" y="421"/>
                      <a:pt x="107" y="416"/>
                      <a:pt x="116" y="414"/>
                    </a:cubicBezTo>
                    <a:cubicBezTo>
                      <a:pt x="125" y="412"/>
                      <a:pt x="140" y="402"/>
                      <a:pt x="140" y="397"/>
                    </a:cubicBezTo>
                    <a:cubicBezTo>
                      <a:pt x="140" y="392"/>
                      <a:pt x="143" y="395"/>
                      <a:pt x="146" y="383"/>
                    </a:cubicBezTo>
                    <a:cubicBezTo>
                      <a:pt x="148" y="372"/>
                      <a:pt x="165" y="374"/>
                      <a:pt x="163" y="369"/>
                    </a:cubicBezTo>
                    <a:cubicBezTo>
                      <a:pt x="161" y="364"/>
                      <a:pt x="168" y="363"/>
                      <a:pt x="166" y="361"/>
                    </a:cubicBezTo>
                    <a:cubicBezTo>
                      <a:pt x="163" y="359"/>
                      <a:pt x="171" y="352"/>
                      <a:pt x="177" y="349"/>
                    </a:cubicBezTo>
                    <a:cubicBezTo>
                      <a:pt x="184" y="347"/>
                      <a:pt x="182" y="343"/>
                      <a:pt x="192" y="341"/>
                    </a:cubicBezTo>
                    <a:cubicBezTo>
                      <a:pt x="201" y="339"/>
                      <a:pt x="199" y="343"/>
                      <a:pt x="206" y="344"/>
                    </a:cubicBezTo>
                    <a:cubicBezTo>
                      <a:pt x="212" y="344"/>
                      <a:pt x="209" y="346"/>
                      <a:pt x="217" y="346"/>
                    </a:cubicBezTo>
                    <a:cubicBezTo>
                      <a:pt x="229" y="347"/>
                      <a:pt x="224" y="352"/>
                      <a:pt x="231" y="356"/>
                    </a:cubicBezTo>
                    <a:cubicBezTo>
                      <a:pt x="237" y="360"/>
                      <a:pt x="229" y="347"/>
                      <a:pt x="242" y="354"/>
                    </a:cubicBezTo>
                    <a:cubicBezTo>
                      <a:pt x="251" y="359"/>
                      <a:pt x="246" y="360"/>
                      <a:pt x="258" y="365"/>
                    </a:cubicBezTo>
                    <a:cubicBezTo>
                      <a:pt x="270" y="370"/>
                      <a:pt x="267" y="377"/>
                      <a:pt x="272" y="377"/>
                    </a:cubicBezTo>
                    <a:cubicBezTo>
                      <a:pt x="277" y="377"/>
                      <a:pt x="278" y="381"/>
                      <a:pt x="287" y="386"/>
                    </a:cubicBezTo>
                    <a:cubicBezTo>
                      <a:pt x="296" y="391"/>
                      <a:pt x="284" y="381"/>
                      <a:pt x="288" y="381"/>
                    </a:cubicBezTo>
                    <a:cubicBezTo>
                      <a:pt x="291" y="380"/>
                      <a:pt x="299" y="391"/>
                      <a:pt x="303" y="389"/>
                    </a:cubicBezTo>
                    <a:cubicBezTo>
                      <a:pt x="307" y="386"/>
                      <a:pt x="324" y="399"/>
                      <a:pt x="329" y="428"/>
                    </a:cubicBezTo>
                    <a:cubicBezTo>
                      <a:pt x="330" y="439"/>
                      <a:pt x="326" y="453"/>
                      <a:pt x="335" y="461"/>
                    </a:cubicBezTo>
                    <a:cubicBezTo>
                      <a:pt x="344" y="470"/>
                      <a:pt x="340" y="475"/>
                      <a:pt x="346" y="481"/>
                    </a:cubicBezTo>
                    <a:cubicBezTo>
                      <a:pt x="351" y="486"/>
                      <a:pt x="355" y="512"/>
                      <a:pt x="349" y="519"/>
                    </a:cubicBezTo>
                    <a:cubicBezTo>
                      <a:pt x="343" y="525"/>
                      <a:pt x="352" y="532"/>
                      <a:pt x="352" y="528"/>
                    </a:cubicBezTo>
                    <a:cubicBezTo>
                      <a:pt x="352" y="520"/>
                      <a:pt x="376" y="527"/>
                      <a:pt x="373" y="534"/>
                    </a:cubicBezTo>
                    <a:cubicBezTo>
                      <a:pt x="371" y="540"/>
                      <a:pt x="377" y="538"/>
                      <a:pt x="372" y="543"/>
                    </a:cubicBezTo>
                    <a:cubicBezTo>
                      <a:pt x="366" y="547"/>
                      <a:pt x="391" y="548"/>
                      <a:pt x="392" y="557"/>
                    </a:cubicBezTo>
                    <a:cubicBezTo>
                      <a:pt x="394" y="566"/>
                      <a:pt x="400" y="561"/>
                      <a:pt x="401" y="568"/>
                    </a:cubicBezTo>
                    <a:cubicBezTo>
                      <a:pt x="402" y="574"/>
                      <a:pt x="404" y="576"/>
                      <a:pt x="407" y="574"/>
                    </a:cubicBezTo>
                    <a:cubicBezTo>
                      <a:pt x="411" y="573"/>
                      <a:pt x="411" y="589"/>
                      <a:pt x="406" y="589"/>
                    </a:cubicBezTo>
                    <a:cubicBezTo>
                      <a:pt x="401" y="589"/>
                      <a:pt x="398" y="591"/>
                      <a:pt x="404" y="596"/>
                    </a:cubicBezTo>
                    <a:cubicBezTo>
                      <a:pt x="411" y="601"/>
                      <a:pt x="410" y="593"/>
                      <a:pt x="415" y="592"/>
                    </a:cubicBezTo>
                    <a:cubicBezTo>
                      <a:pt x="420" y="591"/>
                      <a:pt x="416" y="594"/>
                      <a:pt x="423" y="594"/>
                    </a:cubicBezTo>
                    <a:cubicBezTo>
                      <a:pt x="430" y="594"/>
                      <a:pt x="453" y="604"/>
                      <a:pt x="456" y="617"/>
                    </a:cubicBezTo>
                    <a:cubicBezTo>
                      <a:pt x="459" y="631"/>
                      <a:pt x="462" y="628"/>
                      <a:pt x="466" y="636"/>
                    </a:cubicBezTo>
                    <a:cubicBezTo>
                      <a:pt x="469" y="645"/>
                      <a:pt x="469" y="634"/>
                      <a:pt x="482" y="645"/>
                    </a:cubicBezTo>
                    <a:cubicBezTo>
                      <a:pt x="494" y="656"/>
                      <a:pt x="496" y="649"/>
                      <a:pt x="500" y="662"/>
                    </a:cubicBezTo>
                    <a:cubicBezTo>
                      <a:pt x="503" y="676"/>
                      <a:pt x="499" y="674"/>
                      <a:pt x="510" y="679"/>
                    </a:cubicBezTo>
                    <a:cubicBezTo>
                      <a:pt x="521" y="684"/>
                      <a:pt x="531" y="702"/>
                      <a:pt x="535" y="709"/>
                    </a:cubicBezTo>
                    <a:cubicBezTo>
                      <a:pt x="539" y="717"/>
                      <a:pt x="540" y="707"/>
                      <a:pt x="546" y="713"/>
                    </a:cubicBezTo>
                    <a:cubicBezTo>
                      <a:pt x="552" y="719"/>
                      <a:pt x="556" y="713"/>
                      <a:pt x="563" y="719"/>
                    </a:cubicBezTo>
                    <a:cubicBezTo>
                      <a:pt x="575" y="729"/>
                      <a:pt x="573" y="747"/>
                      <a:pt x="583" y="737"/>
                    </a:cubicBezTo>
                    <a:cubicBezTo>
                      <a:pt x="594" y="727"/>
                      <a:pt x="605" y="733"/>
                      <a:pt x="618" y="740"/>
                    </a:cubicBezTo>
                    <a:cubicBezTo>
                      <a:pt x="630" y="747"/>
                      <a:pt x="617" y="733"/>
                      <a:pt x="631" y="736"/>
                    </a:cubicBezTo>
                    <a:cubicBezTo>
                      <a:pt x="644" y="738"/>
                      <a:pt x="647" y="752"/>
                      <a:pt x="651" y="756"/>
                    </a:cubicBezTo>
                    <a:cubicBezTo>
                      <a:pt x="656" y="760"/>
                      <a:pt x="651" y="764"/>
                      <a:pt x="656" y="767"/>
                    </a:cubicBezTo>
                    <a:cubicBezTo>
                      <a:pt x="660" y="770"/>
                      <a:pt x="664" y="781"/>
                      <a:pt x="665" y="788"/>
                    </a:cubicBezTo>
                    <a:cubicBezTo>
                      <a:pt x="665" y="796"/>
                      <a:pt x="669" y="795"/>
                      <a:pt x="669" y="793"/>
                    </a:cubicBezTo>
                    <a:cubicBezTo>
                      <a:pt x="668" y="790"/>
                      <a:pt x="667" y="785"/>
                      <a:pt x="673" y="790"/>
                    </a:cubicBezTo>
                    <a:cubicBezTo>
                      <a:pt x="680" y="795"/>
                      <a:pt x="680" y="788"/>
                      <a:pt x="685" y="787"/>
                    </a:cubicBezTo>
                    <a:cubicBezTo>
                      <a:pt x="690" y="787"/>
                      <a:pt x="692" y="798"/>
                      <a:pt x="698" y="798"/>
                    </a:cubicBezTo>
                    <a:cubicBezTo>
                      <a:pt x="704" y="798"/>
                      <a:pt x="706" y="803"/>
                      <a:pt x="702" y="805"/>
                    </a:cubicBezTo>
                    <a:cubicBezTo>
                      <a:pt x="697" y="808"/>
                      <a:pt x="701" y="810"/>
                      <a:pt x="696" y="812"/>
                    </a:cubicBezTo>
                    <a:cubicBezTo>
                      <a:pt x="691" y="814"/>
                      <a:pt x="684" y="824"/>
                      <a:pt x="697" y="816"/>
                    </a:cubicBezTo>
                    <a:cubicBezTo>
                      <a:pt x="710" y="809"/>
                      <a:pt x="708" y="819"/>
                      <a:pt x="714" y="813"/>
                    </a:cubicBezTo>
                    <a:cubicBezTo>
                      <a:pt x="720" y="807"/>
                      <a:pt x="720" y="815"/>
                      <a:pt x="725" y="809"/>
                    </a:cubicBezTo>
                    <a:cubicBezTo>
                      <a:pt x="728" y="805"/>
                      <a:pt x="736" y="809"/>
                      <a:pt x="740" y="819"/>
                    </a:cubicBezTo>
                    <a:cubicBezTo>
                      <a:pt x="744" y="830"/>
                      <a:pt x="750" y="836"/>
                      <a:pt x="751" y="842"/>
                    </a:cubicBezTo>
                    <a:cubicBezTo>
                      <a:pt x="752" y="847"/>
                      <a:pt x="746" y="846"/>
                      <a:pt x="746" y="852"/>
                    </a:cubicBezTo>
                    <a:cubicBezTo>
                      <a:pt x="746" y="858"/>
                      <a:pt x="740" y="856"/>
                      <a:pt x="743" y="861"/>
                    </a:cubicBezTo>
                    <a:cubicBezTo>
                      <a:pt x="746" y="866"/>
                      <a:pt x="746" y="858"/>
                      <a:pt x="752" y="867"/>
                    </a:cubicBezTo>
                    <a:cubicBezTo>
                      <a:pt x="758" y="876"/>
                      <a:pt x="757" y="861"/>
                      <a:pt x="770" y="877"/>
                    </a:cubicBezTo>
                    <a:cubicBezTo>
                      <a:pt x="777" y="887"/>
                      <a:pt x="787" y="898"/>
                      <a:pt x="793" y="887"/>
                    </a:cubicBezTo>
                    <a:cubicBezTo>
                      <a:pt x="800" y="872"/>
                      <a:pt x="819" y="885"/>
                      <a:pt x="821" y="908"/>
                    </a:cubicBezTo>
                    <a:cubicBezTo>
                      <a:pt x="822" y="927"/>
                      <a:pt x="826" y="945"/>
                      <a:pt x="833" y="948"/>
                    </a:cubicBezTo>
                    <a:cubicBezTo>
                      <a:pt x="839" y="952"/>
                      <a:pt x="847" y="976"/>
                      <a:pt x="846" y="988"/>
                    </a:cubicBezTo>
                    <a:cubicBezTo>
                      <a:pt x="845" y="1001"/>
                      <a:pt x="851" y="1017"/>
                      <a:pt x="857" y="1019"/>
                    </a:cubicBezTo>
                    <a:cubicBezTo>
                      <a:pt x="863" y="1021"/>
                      <a:pt x="863" y="1031"/>
                      <a:pt x="857" y="1041"/>
                    </a:cubicBezTo>
                    <a:cubicBezTo>
                      <a:pt x="852" y="1051"/>
                      <a:pt x="842" y="1041"/>
                      <a:pt x="838" y="1047"/>
                    </a:cubicBezTo>
                    <a:cubicBezTo>
                      <a:pt x="834" y="1053"/>
                      <a:pt x="829" y="1049"/>
                      <a:pt x="826" y="1055"/>
                    </a:cubicBezTo>
                    <a:cubicBezTo>
                      <a:pt x="823" y="1063"/>
                      <a:pt x="838" y="1062"/>
                      <a:pt x="832" y="1075"/>
                    </a:cubicBezTo>
                    <a:cubicBezTo>
                      <a:pt x="826" y="1087"/>
                      <a:pt x="824" y="1101"/>
                      <a:pt x="818" y="1102"/>
                    </a:cubicBezTo>
                    <a:cubicBezTo>
                      <a:pt x="808" y="1103"/>
                      <a:pt x="806" y="1106"/>
                      <a:pt x="809" y="1113"/>
                    </a:cubicBezTo>
                    <a:cubicBezTo>
                      <a:pt x="812" y="1120"/>
                      <a:pt x="805" y="1120"/>
                      <a:pt x="808" y="1124"/>
                    </a:cubicBezTo>
                    <a:cubicBezTo>
                      <a:pt x="812" y="1128"/>
                      <a:pt x="805" y="1132"/>
                      <a:pt x="814" y="1140"/>
                    </a:cubicBezTo>
                    <a:cubicBezTo>
                      <a:pt x="822" y="1147"/>
                      <a:pt x="822" y="1141"/>
                      <a:pt x="838" y="1143"/>
                    </a:cubicBezTo>
                    <a:cubicBezTo>
                      <a:pt x="855" y="1145"/>
                      <a:pt x="855" y="1125"/>
                      <a:pt x="855" y="1119"/>
                    </a:cubicBezTo>
                    <a:cubicBezTo>
                      <a:pt x="856" y="1113"/>
                      <a:pt x="860" y="1113"/>
                      <a:pt x="867" y="1102"/>
                    </a:cubicBezTo>
                    <a:cubicBezTo>
                      <a:pt x="874" y="1091"/>
                      <a:pt x="878" y="1100"/>
                      <a:pt x="889" y="1085"/>
                    </a:cubicBezTo>
                    <a:cubicBezTo>
                      <a:pt x="894" y="1078"/>
                      <a:pt x="892" y="1061"/>
                      <a:pt x="891" y="1056"/>
                    </a:cubicBezTo>
                    <a:cubicBezTo>
                      <a:pt x="886" y="1043"/>
                      <a:pt x="892" y="1046"/>
                      <a:pt x="893" y="1039"/>
                    </a:cubicBezTo>
                    <a:cubicBezTo>
                      <a:pt x="894" y="1032"/>
                      <a:pt x="900" y="1034"/>
                      <a:pt x="905" y="1028"/>
                    </a:cubicBezTo>
                    <a:cubicBezTo>
                      <a:pt x="910" y="1023"/>
                      <a:pt x="927" y="1017"/>
                      <a:pt x="929" y="1022"/>
                    </a:cubicBezTo>
                    <a:cubicBezTo>
                      <a:pt x="932" y="1026"/>
                      <a:pt x="936" y="1019"/>
                      <a:pt x="937" y="1023"/>
                    </a:cubicBezTo>
                    <a:cubicBezTo>
                      <a:pt x="938" y="1027"/>
                      <a:pt x="947" y="1017"/>
                      <a:pt x="945" y="1015"/>
                    </a:cubicBezTo>
                    <a:cubicBezTo>
                      <a:pt x="942" y="1011"/>
                      <a:pt x="951" y="1010"/>
                      <a:pt x="945" y="1007"/>
                    </a:cubicBezTo>
                    <a:cubicBezTo>
                      <a:pt x="934" y="1002"/>
                      <a:pt x="947" y="988"/>
                      <a:pt x="941" y="984"/>
                    </a:cubicBezTo>
                    <a:cubicBezTo>
                      <a:pt x="935" y="979"/>
                      <a:pt x="949" y="966"/>
                      <a:pt x="940" y="962"/>
                    </a:cubicBezTo>
                    <a:cubicBezTo>
                      <a:pt x="934" y="960"/>
                      <a:pt x="939" y="957"/>
                      <a:pt x="926" y="952"/>
                    </a:cubicBezTo>
                    <a:cubicBezTo>
                      <a:pt x="907" y="943"/>
                      <a:pt x="922" y="938"/>
                      <a:pt x="903" y="937"/>
                    </a:cubicBezTo>
                    <a:cubicBezTo>
                      <a:pt x="879" y="936"/>
                      <a:pt x="892" y="929"/>
                      <a:pt x="886" y="921"/>
                    </a:cubicBezTo>
                    <a:cubicBezTo>
                      <a:pt x="877" y="911"/>
                      <a:pt x="898" y="905"/>
                      <a:pt x="896" y="891"/>
                    </a:cubicBezTo>
                    <a:cubicBezTo>
                      <a:pt x="895" y="877"/>
                      <a:pt x="895" y="884"/>
                      <a:pt x="906" y="861"/>
                    </a:cubicBezTo>
                    <a:cubicBezTo>
                      <a:pt x="922" y="827"/>
                      <a:pt x="940" y="822"/>
                      <a:pt x="944" y="828"/>
                    </a:cubicBezTo>
                    <a:cubicBezTo>
                      <a:pt x="950" y="835"/>
                      <a:pt x="949" y="827"/>
                      <a:pt x="952" y="835"/>
                    </a:cubicBezTo>
                    <a:cubicBezTo>
                      <a:pt x="955" y="842"/>
                      <a:pt x="936" y="832"/>
                      <a:pt x="960" y="847"/>
                    </a:cubicBezTo>
                    <a:cubicBezTo>
                      <a:pt x="984" y="862"/>
                      <a:pt x="986" y="850"/>
                      <a:pt x="1000" y="855"/>
                    </a:cubicBezTo>
                    <a:cubicBezTo>
                      <a:pt x="1015" y="860"/>
                      <a:pt x="1008" y="864"/>
                      <a:pt x="1017" y="874"/>
                    </a:cubicBezTo>
                    <a:cubicBezTo>
                      <a:pt x="1026" y="884"/>
                      <a:pt x="1013" y="879"/>
                      <a:pt x="1019" y="885"/>
                    </a:cubicBezTo>
                    <a:cubicBezTo>
                      <a:pt x="1024" y="892"/>
                      <a:pt x="1014" y="885"/>
                      <a:pt x="1023" y="898"/>
                    </a:cubicBezTo>
                    <a:cubicBezTo>
                      <a:pt x="1033" y="912"/>
                      <a:pt x="1038" y="909"/>
                      <a:pt x="1048" y="914"/>
                    </a:cubicBezTo>
                    <a:cubicBezTo>
                      <a:pt x="1059" y="918"/>
                      <a:pt x="1053" y="894"/>
                      <a:pt x="1062" y="884"/>
                    </a:cubicBezTo>
                    <a:cubicBezTo>
                      <a:pt x="1070" y="873"/>
                      <a:pt x="1062" y="876"/>
                      <a:pt x="1061" y="865"/>
                    </a:cubicBezTo>
                    <a:cubicBezTo>
                      <a:pt x="1060" y="855"/>
                      <a:pt x="1043" y="837"/>
                      <a:pt x="1031" y="830"/>
                    </a:cubicBezTo>
                    <a:cubicBezTo>
                      <a:pt x="1019" y="824"/>
                      <a:pt x="1024" y="812"/>
                      <a:pt x="1018" y="812"/>
                    </a:cubicBezTo>
                    <a:cubicBezTo>
                      <a:pt x="1012" y="811"/>
                      <a:pt x="1017" y="808"/>
                      <a:pt x="1008" y="806"/>
                    </a:cubicBezTo>
                    <a:cubicBezTo>
                      <a:pt x="999" y="805"/>
                      <a:pt x="1006" y="804"/>
                      <a:pt x="982" y="794"/>
                    </a:cubicBezTo>
                    <a:cubicBezTo>
                      <a:pt x="952" y="781"/>
                      <a:pt x="980" y="780"/>
                      <a:pt x="919" y="752"/>
                    </a:cubicBezTo>
                    <a:cubicBezTo>
                      <a:pt x="851" y="722"/>
                      <a:pt x="836" y="715"/>
                      <a:pt x="831" y="701"/>
                    </a:cubicBezTo>
                    <a:cubicBezTo>
                      <a:pt x="826" y="688"/>
                      <a:pt x="862" y="678"/>
                      <a:pt x="859" y="665"/>
                    </a:cubicBezTo>
                    <a:cubicBezTo>
                      <a:pt x="856" y="654"/>
                      <a:pt x="848" y="646"/>
                      <a:pt x="827" y="652"/>
                    </a:cubicBezTo>
                    <a:cubicBezTo>
                      <a:pt x="806" y="658"/>
                      <a:pt x="813" y="647"/>
                      <a:pt x="795" y="655"/>
                    </a:cubicBezTo>
                    <a:cubicBezTo>
                      <a:pt x="784" y="659"/>
                      <a:pt x="781" y="652"/>
                      <a:pt x="768" y="653"/>
                    </a:cubicBezTo>
                    <a:cubicBezTo>
                      <a:pt x="755" y="655"/>
                      <a:pt x="760" y="647"/>
                      <a:pt x="744" y="642"/>
                    </a:cubicBezTo>
                    <a:cubicBezTo>
                      <a:pt x="727" y="637"/>
                      <a:pt x="727" y="632"/>
                      <a:pt x="726" y="626"/>
                    </a:cubicBezTo>
                    <a:cubicBezTo>
                      <a:pt x="725" y="620"/>
                      <a:pt x="713" y="620"/>
                      <a:pt x="703" y="607"/>
                    </a:cubicBezTo>
                    <a:cubicBezTo>
                      <a:pt x="694" y="595"/>
                      <a:pt x="677" y="585"/>
                      <a:pt x="663" y="562"/>
                    </a:cubicBezTo>
                    <a:cubicBezTo>
                      <a:pt x="650" y="538"/>
                      <a:pt x="655" y="521"/>
                      <a:pt x="640" y="487"/>
                    </a:cubicBezTo>
                    <a:cubicBezTo>
                      <a:pt x="624" y="453"/>
                      <a:pt x="632" y="450"/>
                      <a:pt x="626" y="449"/>
                    </a:cubicBezTo>
                    <a:cubicBezTo>
                      <a:pt x="621" y="448"/>
                      <a:pt x="619" y="436"/>
                      <a:pt x="617" y="442"/>
                    </a:cubicBezTo>
                    <a:cubicBezTo>
                      <a:pt x="615" y="447"/>
                      <a:pt x="595" y="434"/>
                      <a:pt x="577" y="416"/>
                    </a:cubicBezTo>
                    <a:cubicBezTo>
                      <a:pt x="560" y="397"/>
                      <a:pt x="546" y="399"/>
                      <a:pt x="539" y="391"/>
                    </a:cubicBezTo>
                    <a:cubicBezTo>
                      <a:pt x="533" y="383"/>
                      <a:pt x="529" y="383"/>
                      <a:pt x="521" y="373"/>
                    </a:cubicBezTo>
                    <a:cubicBezTo>
                      <a:pt x="513" y="363"/>
                      <a:pt x="513" y="348"/>
                      <a:pt x="509" y="337"/>
                    </a:cubicBezTo>
                    <a:cubicBezTo>
                      <a:pt x="505" y="326"/>
                      <a:pt x="512" y="318"/>
                      <a:pt x="507" y="315"/>
                    </a:cubicBezTo>
                    <a:cubicBezTo>
                      <a:pt x="503" y="312"/>
                      <a:pt x="504" y="295"/>
                      <a:pt x="508" y="289"/>
                    </a:cubicBezTo>
                    <a:cubicBezTo>
                      <a:pt x="512" y="284"/>
                      <a:pt x="514" y="297"/>
                      <a:pt x="518" y="295"/>
                    </a:cubicBezTo>
                    <a:cubicBezTo>
                      <a:pt x="523" y="293"/>
                      <a:pt x="519" y="289"/>
                      <a:pt x="523" y="289"/>
                    </a:cubicBezTo>
                    <a:cubicBezTo>
                      <a:pt x="527" y="289"/>
                      <a:pt x="526" y="278"/>
                      <a:pt x="531" y="275"/>
                    </a:cubicBezTo>
                    <a:cubicBezTo>
                      <a:pt x="535" y="271"/>
                      <a:pt x="523" y="271"/>
                      <a:pt x="520" y="264"/>
                    </a:cubicBezTo>
                    <a:cubicBezTo>
                      <a:pt x="519" y="261"/>
                      <a:pt x="510" y="255"/>
                      <a:pt x="512" y="251"/>
                    </a:cubicBezTo>
                    <a:cubicBezTo>
                      <a:pt x="513" y="247"/>
                      <a:pt x="511" y="244"/>
                      <a:pt x="510" y="239"/>
                    </a:cubicBezTo>
                    <a:cubicBezTo>
                      <a:pt x="508" y="235"/>
                      <a:pt x="505" y="246"/>
                      <a:pt x="504" y="241"/>
                    </a:cubicBezTo>
                    <a:cubicBezTo>
                      <a:pt x="502" y="236"/>
                      <a:pt x="504" y="232"/>
                      <a:pt x="500" y="235"/>
                    </a:cubicBezTo>
                    <a:cubicBezTo>
                      <a:pt x="496" y="238"/>
                      <a:pt x="499" y="229"/>
                      <a:pt x="496" y="227"/>
                    </a:cubicBezTo>
                    <a:cubicBezTo>
                      <a:pt x="494" y="225"/>
                      <a:pt x="500" y="222"/>
                      <a:pt x="501" y="218"/>
                    </a:cubicBezTo>
                    <a:cubicBezTo>
                      <a:pt x="502" y="214"/>
                      <a:pt x="507" y="214"/>
                      <a:pt x="512" y="214"/>
                    </a:cubicBezTo>
                    <a:cubicBezTo>
                      <a:pt x="518" y="214"/>
                      <a:pt x="507" y="211"/>
                      <a:pt x="514" y="205"/>
                    </a:cubicBezTo>
                    <a:cubicBezTo>
                      <a:pt x="520" y="199"/>
                      <a:pt x="520" y="207"/>
                      <a:pt x="522" y="202"/>
                    </a:cubicBezTo>
                    <a:cubicBezTo>
                      <a:pt x="524" y="197"/>
                      <a:pt x="526" y="201"/>
                      <a:pt x="530" y="197"/>
                    </a:cubicBezTo>
                    <a:cubicBezTo>
                      <a:pt x="533" y="194"/>
                      <a:pt x="536" y="201"/>
                      <a:pt x="532" y="202"/>
                    </a:cubicBezTo>
                    <a:cubicBezTo>
                      <a:pt x="527" y="202"/>
                      <a:pt x="531" y="209"/>
                      <a:pt x="525" y="208"/>
                    </a:cubicBezTo>
                    <a:cubicBezTo>
                      <a:pt x="521" y="207"/>
                      <a:pt x="516" y="218"/>
                      <a:pt x="526" y="212"/>
                    </a:cubicBezTo>
                    <a:cubicBezTo>
                      <a:pt x="532" y="208"/>
                      <a:pt x="544" y="205"/>
                      <a:pt x="558" y="194"/>
                    </a:cubicBezTo>
                    <a:cubicBezTo>
                      <a:pt x="573" y="184"/>
                      <a:pt x="576" y="193"/>
                      <a:pt x="583" y="184"/>
                    </a:cubicBezTo>
                    <a:cubicBezTo>
                      <a:pt x="591" y="176"/>
                      <a:pt x="573" y="186"/>
                      <a:pt x="580" y="177"/>
                    </a:cubicBezTo>
                    <a:cubicBezTo>
                      <a:pt x="584" y="171"/>
                      <a:pt x="587" y="169"/>
                      <a:pt x="591" y="172"/>
                    </a:cubicBezTo>
                    <a:cubicBezTo>
                      <a:pt x="596" y="175"/>
                      <a:pt x="606" y="172"/>
                      <a:pt x="605" y="179"/>
                    </a:cubicBezTo>
                    <a:cubicBezTo>
                      <a:pt x="605" y="186"/>
                      <a:pt x="615" y="181"/>
                      <a:pt x="619" y="178"/>
                    </a:cubicBezTo>
                    <a:cubicBezTo>
                      <a:pt x="623" y="176"/>
                      <a:pt x="614" y="167"/>
                      <a:pt x="622" y="169"/>
                    </a:cubicBezTo>
                    <a:cubicBezTo>
                      <a:pt x="627" y="170"/>
                      <a:pt x="631" y="174"/>
                      <a:pt x="632" y="177"/>
                    </a:cubicBezTo>
                    <a:cubicBezTo>
                      <a:pt x="634" y="181"/>
                      <a:pt x="640" y="182"/>
                      <a:pt x="639" y="185"/>
                    </a:cubicBezTo>
                    <a:cubicBezTo>
                      <a:pt x="638" y="189"/>
                      <a:pt x="640" y="186"/>
                      <a:pt x="642" y="189"/>
                    </a:cubicBezTo>
                    <a:cubicBezTo>
                      <a:pt x="647" y="195"/>
                      <a:pt x="636" y="189"/>
                      <a:pt x="635" y="192"/>
                    </a:cubicBezTo>
                    <a:cubicBezTo>
                      <a:pt x="639" y="195"/>
                      <a:pt x="652" y="199"/>
                      <a:pt x="652" y="188"/>
                    </a:cubicBezTo>
                    <a:close/>
                    <a:moveTo>
                      <a:pt x="246" y="156"/>
                    </a:moveTo>
                    <a:cubicBezTo>
                      <a:pt x="247" y="156"/>
                      <a:pt x="249" y="160"/>
                      <a:pt x="248" y="161"/>
                    </a:cubicBezTo>
                    <a:cubicBezTo>
                      <a:pt x="244" y="163"/>
                      <a:pt x="237" y="148"/>
                      <a:pt x="237" y="147"/>
                    </a:cubicBezTo>
                    <a:cubicBezTo>
                      <a:pt x="234" y="146"/>
                      <a:pt x="219" y="168"/>
                      <a:pt x="220" y="162"/>
                    </a:cubicBezTo>
                    <a:cubicBezTo>
                      <a:pt x="221" y="162"/>
                      <a:pt x="221" y="162"/>
                      <a:pt x="221" y="162"/>
                    </a:cubicBezTo>
                    <a:cubicBezTo>
                      <a:pt x="221" y="161"/>
                      <a:pt x="222" y="160"/>
                      <a:pt x="222" y="160"/>
                    </a:cubicBezTo>
                    <a:cubicBezTo>
                      <a:pt x="227" y="152"/>
                      <a:pt x="234" y="126"/>
                      <a:pt x="243" y="122"/>
                    </a:cubicBezTo>
                    <a:cubicBezTo>
                      <a:pt x="244" y="121"/>
                      <a:pt x="247" y="118"/>
                      <a:pt x="248" y="119"/>
                    </a:cubicBezTo>
                    <a:cubicBezTo>
                      <a:pt x="253" y="124"/>
                      <a:pt x="238" y="132"/>
                      <a:pt x="239" y="139"/>
                    </a:cubicBezTo>
                    <a:cubicBezTo>
                      <a:pt x="239" y="147"/>
                      <a:pt x="242" y="151"/>
                      <a:pt x="246" y="156"/>
                    </a:cubicBezTo>
                    <a:close/>
                    <a:moveTo>
                      <a:pt x="303" y="184"/>
                    </a:moveTo>
                    <a:cubicBezTo>
                      <a:pt x="302" y="184"/>
                      <a:pt x="302" y="184"/>
                      <a:pt x="302" y="184"/>
                    </a:cubicBezTo>
                    <a:cubicBezTo>
                      <a:pt x="302" y="184"/>
                      <a:pt x="309" y="164"/>
                      <a:pt x="310" y="165"/>
                    </a:cubicBezTo>
                    <a:cubicBezTo>
                      <a:pt x="312" y="165"/>
                      <a:pt x="314" y="185"/>
                      <a:pt x="303" y="184"/>
                    </a:cubicBezTo>
                    <a:close/>
                    <a:moveTo>
                      <a:pt x="380" y="159"/>
                    </a:moveTo>
                    <a:cubicBezTo>
                      <a:pt x="374" y="178"/>
                      <a:pt x="366" y="185"/>
                      <a:pt x="367" y="203"/>
                    </a:cubicBezTo>
                    <a:cubicBezTo>
                      <a:pt x="368" y="212"/>
                      <a:pt x="364" y="210"/>
                      <a:pt x="359" y="209"/>
                    </a:cubicBezTo>
                    <a:cubicBezTo>
                      <a:pt x="355" y="209"/>
                      <a:pt x="348" y="207"/>
                      <a:pt x="350" y="203"/>
                    </a:cubicBezTo>
                    <a:cubicBezTo>
                      <a:pt x="350" y="203"/>
                      <a:pt x="350" y="203"/>
                      <a:pt x="350" y="203"/>
                    </a:cubicBezTo>
                    <a:cubicBezTo>
                      <a:pt x="357" y="197"/>
                      <a:pt x="349" y="192"/>
                      <a:pt x="349" y="192"/>
                    </a:cubicBezTo>
                    <a:cubicBezTo>
                      <a:pt x="351" y="186"/>
                      <a:pt x="364" y="183"/>
                      <a:pt x="367" y="176"/>
                    </a:cubicBezTo>
                    <a:cubicBezTo>
                      <a:pt x="369" y="173"/>
                      <a:pt x="378" y="155"/>
                      <a:pt x="379" y="156"/>
                    </a:cubicBezTo>
                    <a:cubicBezTo>
                      <a:pt x="380" y="156"/>
                      <a:pt x="381" y="158"/>
                      <a:pt x="380" y="159"/>
                    </a:cubicBezTo>
                    <a:close/>
                    <a:moveTo>
                      <a:pt x="479" y="576"/>
                    </a:moveTo>
                    <a:cubicBezTo>
                      <a:pt x="473" y="580"/>
                      <a:pt x="461" y="565"/>
                      <a:pt x="476" y="562"/>
                    </a:cubicBezTo>
                    <a:cubicBezTo>
                      <a:pt x="476" y="562"/>
                      <a:pt x="476" y="562"/>
                      <a:pt x="476" y="562"/>
                    </a:cubicBezTo>
                    <a:cubicBezTo>
                      <a:pt x="480" y="563"/>
                      <a:pt x="484" y="572"/>
                      <a:pt x="479" y="576"/>
                    </a:cubicBezTo>
                    <a:close/>
                    <a:moveTo>
                      <a:pt x="491" y="508"/>
                    </a:moveTo>
                    <a:cubicBezTo>
                      <a:pt x="491" y="508"/>
                      <a:pt x="491" y="508"/>
                      <a:pt x="491" y="508"/>
                    </a:cubicBezTo>
                    <a:cubicBezTo>
                      <a:pt x="489" y="507"/>
                      <a:pt x="479" y="498"/>
                      <a:pt x="483" y="496"/>
                    </a:cubicBezTo>
                    <a:cubicBezTo>
                      <a:pt x="502" y="484"/>
                      <a:pt x="492" y="512"/>
                      <a:pt x="491" y="508"/>
                    </a:cubicBezTo>
                    <a:close/>
                    <a:moveTo>
                      <a:pt x="505" y="624"/>
                    </a:moveTo>
                    <a:cubicBezTo>
                      <a:pt x="509" y="626"/>
                      <a:pt x="504" y="634"/>
                      <a:pt x="500" y="632"/>
                    </a:cubicBezTo>
                    <a:cubicBezTo>
                      <a:pt x="492" y="627"/>
                      <a:pt x="502" y="620"/>
                      <a:pt x="505" y="624"/>
                    </a:cubicBezTo>
                    <a:close/>
                    <a:moveTo>
                      <a:pt x="497" y="312"/>
                    </a:moveTo>
                    <a:cubicBezTo>
                      <a:pt x="499" y="312"/>
                      <a:pt x="501" y="315"/>
                      <a:pt x="502" y="314"/>
                    </a:cubicBezTo>
                    <a:cubicBezTo>
                      <a:pt x="502" y="313"/>
                      <a:pt x="505" y="321"/>
                      <a:pt x="503" y="321"/>
                    </a:cubicBezTo>
                    <a:cubicBezTo>
                      <a:pt x="499" y="321"/>
                      <a:pt x="495" y="328"/>
                      <a:pt x="494" y="321"/>
                    </a:cubicBezTo>
                    <a:cubicBezTo>
                      <a:pt x="494" y="320"/>
                      <a:pt x="494" y="319"/>
                      <a:pt x="494" y="320"/>
                    </a:cubicBezTo>
                    <a:cubicBezTo>
                      <a:pt x="495" y="325"/>
                      <a:pt x="492" y="324"/>
                      <a:pt x="492" y="322"/>
                    </a:cubicBezTo>
                    <a:cubicBezTo>
                      <a:pt x="492" y="322"/>
                      <a:pt x="492" y="322"/>
                      <a:pt x="492" y="322"/>
                    </a:cubicBezTo>
                    <a:cubicBezTo>
                      <a:pt x="490" y="321"/>
                      <a:pt x="489" y="313"/>
                      <a:pt x="497" y="3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2" name="Freeform 1138"/>
              <p:cNvSpPr>
                <a:spLocks/>
              </p:cNvSpPr>
              <p:nvPr/>
            </p:nvSpPr>
            <p:spPr bwMode="auto">
              <a:xfrm>
                <a:off x="2609" y="335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3" name="Freeform 1139"/>
              <p:cNvSpPr>
                <a:spLocks/>
              </p:cNvSpPr>
              <p:nvPr/>
            </p:nvSpPr>
            <p:spPr bwMode="auto">
              <a:xfrm>
                <a:off x="2473" y="3478"/>
                <a:ext cx="101" cy="195"/>
              </a:xfrm>
              <a:custGeom>
                <a:avLst/>
                <a:gdLst>
                  <a:gd name="T0" fmla="*/ 147 w 154"/>
                  <a:gd name="T1" fmla="*/ 85 h 297"/>
                  <a:gd name="T2" fmla="*/ 144 w 154"/>
                  <a:gd name="T3" fmla="*/ 70 h 297"/>
                  <a:gd name="T4" fmla="*/ 139 w 154"/>
                  <a:gd name="T5" fmla="*/ 57 h 297"/>
                  <a:gd name="T6" fmla="*/ 141 w 154"/>
                  <a:gd name="T7" fmla="*/ 52 h 297"/>
                  <a:gd name="T8" fmla="*/ 135 w 154"/>
                  <a:gd name="T9" fmla="*/ 49 h 297"/>
                  <a:gd name="T10" fmla="*/ 130 w 154"/>
                  <a:gd name="T11" fmla="*/ 45 h 297"/>
                  <a:gd name="T12" fmla="*/ 124 w 154"/>
                  <a:gd name="T13" fmla="*/ 43 h 297"/>
                  <a:gd name="T14" fmla="*/ 131 w 154"/>
                  <a:gd name="T15" fmla="*/ 35 h 297"/>
                  <a:gd name="T16" fmla="*/ 133 w 154"/>
                  <a:gd name="T17" fmla="*/ 32 h 297"/>
                  <a:gd name="T18" fmla="*/ 127 w 154"/>
                  <a:gd name="T19" fmla="*/ 30 h 297"/>
                  <a:gd name="T20" fmla="*/ 129 w 154"/>
                  <a:gd name="T21" fmla="*/ 21 h 297"/>
                  <a:gd name="T22" fmla="*/ 124 w 154"/>
                  <a:gd name="T23" fmla="*/ 16 h 297"/>
                  <a:gd name="T24" fmla="*/ 117 w 154"/>
                  <a:gd name="T25" fmla="*/ 17 h 297"/>
                  <a:gd name="T26" fmla="*/ 107 w 154"/>
                  <a:gd name="T27" fmla="*/ 10 h 297"/>
                  <a:gd name="T28" fmla="*/ 93 w 154"/>
                  <a:gd name="T29" fmla="*/ 6 h 297"/>
                  <a:gd name="T30" fmla="*/ 80 w 154"/>
                  <a:gd name="T31" fmla="*/ 18 h 297"/>
                  <a:gd name="T32" fmla="*/ 55 w 154"/>
                  <a:gd name="T33" fmla="*/ 45 h 297"/>
                  <a:gd name="T34" fmla="*/ 22 w 154"/>
                  <a:gd name="T35" fmla="*/ 54 h 297"/>
                  <a:gd name="T36" fmla="*/ 7 w 154"/>
                  <a:gd name="T37" fmla="*/ 52 h 297"/>
                  <a:gd name="T38" fmla="*/ 6 w 154"/>
                  <a:gd name="T39" fmla="*/ 75 h 297"/>
                  <a:gd name="T40" fmla="*/ 7 w 154"/>
                  <a:gd name="T41" fmla="*/ 81 h 297"/>
                  <a:gd name="T42" fmla="*/ 18 w 154"/>
                  <a:gd name="T43" fmla="*/ 89 h 297"/>
                  <a:gd name="T44" fmla="*/ 29 w 154"/>
                  <a:gd name="T45" fmla="*/ 117 h 297"/>
                  <a:gd name="T46" fmla="*/ 28 w 154"/>
                  <a:gd name="T47" fmla="*/ 150 h 297"/>
                  <a:gd name="T48" fmla="*/ 24 w 154"/>
                  <a:gd name="T49" fmla="*/ 161 h 297"/>
                  <a:gd name="T50" fmla="*/ 33 w 154"/>
                  <a:gd name="T51" fmla="*/ 167 h 297"/>
                  <a:gd name="T52" fmla="*/ 30 w 154"/>
                  <a:gd name="T53" fmla="*/ 202 h 297"/>
                  <a:gd name="T54" fmla="*/ 24 w 154"/>
                  <a:gd name="T55" fmla="*/ 235 h 297"/>
                  <a:gd name="T56" fmla="*/ 27 w 154"/>
                  <a:gd name="T57" fmla="*/ 260 h 297"/>
                  <a:gd name="T58" fmla="*/ 40 w 154"/>
                  <a:gd name="T59" fmla="*/ 275 h 297"/>
                  <a:gd name="T60" fmla="*/ 46 w 154"/>
                  <a:gd name="T61" fmla="*/ 292 h 297"/>
                  <a:gd name="T62" fmla="*/ 61 w 154"/>
                  <a:gd name="T63" fmla="*/ 291 h 297"/>
                  <a:gd name="T64" fmla="*/ 80 w 154"/>
                  <a:gd name="T65" fmla="*/ 267 h 297"/>
                  <a:gd name="T66" fmla="*/ 102 w 154"/>
                  <a:gd name="T67" fmla="*/ 250 h 297"/>
                  <a:gd name="T68" fmla="*/ 125 w 154"/>
                  <a:gd name="T69" fmla="*/ 263 h 297"/>
                  <a:gd name="T70" fmla="*/ 133 w 154"/>
                  <a:gd name="T71" fmla="*/ 242 h 297"/>
                  <a:gd name="T72" fmla="*/ 136 w 154"/>
                  <a:gd name="T73" fmla="*/ 211 h 297"/>
                  <a:gd name="T74" fmla="*/ 138 w 154"/>
                  <a:gd name="T75" fmla="*/ 192 h 297"/>
                  <a:gd name="T76" fmla="*/ 139 w 154"/>
                  <a:gd name="T77" fmla="*/ 169 h 297"/>
                  <a:gd name="T78" fmla="*/ 139 w 154"/>
                  <a:gd name="T79" fmla="*/ 161 h 297"/>
                  <a:gd name="T80" fmla="*/ 141 w 154"/>
                  <a:gd name="T81" fmla="*/ 144 h 297"/>
                  <a:gd name="T82" fmla="*/ 137 w 154"/>
                  <a:gd name="T83" fmla="*/ 120 h 297"/>
                  <a:gd name="T84" fmla="*/ 147 w 154"/>
                  <a:gd name="T85" fmla="*/ 106 h 297"/>
                  <a:gd name="T86" fmla="*/ 150 w 154"/>
                  <a:gd name="T87" fmla="*/ 9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4" h="297">
                    <a:moveTo>
                      <a:pt x="150" y="90"/>
                    </a:moveTo>
                    <a:cubicBezTo>
                      <a:pt x="147" y="89"/>
                      <a:pt x="151" y="85"/>
                      <a:pt x="147" y="85"/>
                    </a:cubicBezTo>
                    <a:cubicBezTo>
                      <a:pt x="145" y="85"/>
                      <a:pt x="146" y="82"/>
                      <a:pt x="145" y="80"/>
                    </a:cubicBezTo>
                    <a:cubicBezTo>
                      <a:pt x="144" y="77"/>
                      <a:pt x="147" y="71"/>
                      <a:pt x="144" y="70"/>
                    </a:cubicBezTo>
                    <a:cubicBezTo>
                      <a:pt x="140" y="69"/>
                      <a:pt x="144" y="64"/>
                      <a:pt x="141" y="63"/>
                    </a:cubicBezTo>
                    <a:cubicBezTo>
                      <a:pt x="138" y="62"/>
                      <a:pt x="137" y="58"/>
                      <a:pt x="139" y="57"/>
                    </a:cubicBezTo>
                    <a:cubicBezTo>
                      <a:pt x="141" y="57"/>
                      <a:pt x="138" y="54"/>
                      <a:pt x="141" y="54"/>
                    </a:cubicBezTo>
                    <a:cubicBezTo>
                      <a:pt x="144" y="54"/>
                      <a:pt x="143" y="54"/>
                      <a:pt x="141" y="52"/>
                    </a:cubicBezTo>
                    <a:cubicBezTo>
                      <a:pt x="139" y="50"/>
                      <a:pt x="137" y="53"/>
                      <a:pt x="137" y="50"/>
                    </a:cubicBezTo>
                    <a:cubicBezTo>
                      <a:pt x="137" y="47"/>
                      <a:pt x="136" y="49"/>
                      <a:pt x="135" y="49"/>
                    </a:cubicBezTo>
                    <a:cubicBezTo>
                      <a:pt x="133" y="47"/>
                      <a:pt x="137" y="44"/>
                      <a:pt x="135" y="43"/>
                    </a:cubicBezTo>
                    <a:cubicBezTo>
                      <a:pt x="133" y="43"/>
                      <a:pt x="131" y="47"/>
                      <a:pt x="130" y="45"/>
                    </a:cubicBezTo>
                    <a:cubicBezTo>
                      <a:pt x="129" y="44"/>
                      <a:pt x="129" y="46"/>
                      <a:pt x="128" y="44"/>
                    </a:cubicBezTo>
                    <a:cubicBezTo>
                      <a:pt x="127" y="43"/>
                      <a:pt x="123" y="46"/>
                      <a:pt x="124" y="43"/>
                    </a:cubicBezTo>
                    <a:cubicBezTo>
                      <a:pt x="125" y="40"/>
                      <a:pt x="127" y="45"/>
                      <a:pt x="130" y="41"/>
                    </a:cubicBezTo>
                    <a:cubicBezTo>
                      <a:pt x="133" y="35"/>
                      <a:pt x="128" y="39"/>
                      <a:pt x="131" y="35"/>
                    </a:cubicBezTo>
                    <a:cubicBezTo>
                      <a:pt x="134" y="31"/>
                      <a:pt x="135" y="38"/>
                      <a:pt x="137" y="35"/>
                    </a:cubicBezTo>
                    <a:cubicBezTo>
                      <a:pt x="139" y="32"/>
                      <a:pt x="135" y="34"/>
                      <a:pt x="133" y="32"/>
                    </a:cubicBezTo>
                    <a:cubicBezTo>
                      <a:pt x="131" y="30"/>
                      <a:pt x="130" y="33"/>
                      <a:pt x="129" y="34"/>
                    </a:cubicBezTo>
                    <a:cubicBezTo>
                      <a:pt x="127" y="34"/>
                      <a:pt x="129" y="29"/>
                      <a:pt x="127" y="30"/>
                    </a:cubicBezTo>
                    <a:cubicBezTo>
                      <a:pt x="126" y="31"/>
                      <a:pt x="124" y="30"/>
                      <a:pt x="126" y="25"/>
                    </a:cubicBezTo>
                    <a:cubicBezTo>
                      <a:pt x="127" y="21"/>
                      <a:pt x="128" y="27"/>
                      <a:pt x="129" y="21"/>
                    </a:cubicBezTo>
                    <a:cubicBezTo>
                      <a:pt x="130" y="18"/>
                      <a:pt x="127" y="19"/>
                      <a:pt x="127" y="17"/>
                    </a:cubicBezTo>
                    <a:cubicBezTo>
                      <a:pt x="126" y="15"/>
                      <a:pt x="124" y="13"/>
                      <a:pt x="124" y="16"/>
                    </a:cubicBezTo>
                    <a:cubicBezTo>
                      <a:pt x="125" y="18"/>
                      <a:pt x="119" y="15"/>
                      <a:pt x="120" y="17"/>
                    </a:cubicBezTo>
                    <a:cubicBezTo>
                      <a:pt x="121" y="19"/>
                      <a:pt x="119" y="20"/>
                      <a:pt x="117" y="17"/>
                    </a:cubicBezTo>
                    <a:cubicBezTo>
                      <a:pt x="115" y="13"/>
                      <a:pt x="118" y="12"/>
                      <a:pt x="114" y="12"/>
                    </a:cubicBezTo>
                    <a:cubicBezTo>
                      <a:pt x="110" y="12"/>
                      <a:pt x="112" y="8"/>
                      <a:pt x="107" y="10"/>
                    </a:cubicBezTo>
                    <a:cubicBezTo>
                      <a:pt x="104" y="11"/>
                      <a:pt x="100" y="0"/>
                      <a:pt x="97" y="3"/>
                    </a:cubicBezTo>
                    <a:cubicBezTo>
                      <a:pt x="94" y="6"/>
                      <a:pt x="94" y="1"/>
                      <a:pt x="93" y="6"/>
                    </a:cubicBezTo>
                    <a:cubicBezTo>
                      <a:pt x="91" y="14"/>
                      <a:pt x="97" y="12"/>
                      <a:pt x="89" y="17"/>
                    </a:cubicBezTo>
                    <a:cubicBezTo>
                      <a:pt x="81" y="22"/>
                      <a:pt x="85" y="15"/>
                      <a:pt x="80" y="18"/>
                    </a:cubicBezTo>
                    <a:cubicBezTo>
                      <a:pt x="76" y="21"/>
                      <a:pt x="77" y="25"/>
                      <a:pt x="71" y="29"/>
                    </a:cubicBezTo>
                    <a:cubicBezTo>
                      <a:pt x="65" y="33"/>
                      <a:pt x="65" y="44"/>
                      <a:pt x="55" y="45"/>
                    </a:cubicBezTo>
                    <a:cubicBezTo>
                      <a:pt x="39" y="47"/>
                      <a:pt x="50" y="52"/>
                      <a:pt x="37" y="55"/>
                    </a:cubicBezTo>
                    <a:cubicBezTo>
                      <a:pt x="24" y="58"/>
                      <a:pt x="32" y="53"/>
                      <a:pt x="22" y="54"/>
                    </a:cubicBezTo>
                    <a:cubicBezTo>
                      <a:pt x="7" y="55"/>
                      <a:pt x="11" y="31"/>
                      <a:pt x="7" y="39"/>
                    </a:cubicBezTo>
                    <a:cubicBezTo>
                      <a:pt x="2" y="47"/>
                      <a:pt x="13" y="43"/>
                      <a:pt x="7" y="52"/>
                    </a:cubicBezTo>
                    <a:cubicBezTo>
                      <a:pt x="2" y="61"/>
                      <a:pt x="6" y="58"/>
                      <a:pt x="2" y="65"/>
                    </a:cubicBezTo>
                    <a:cubicBezTo>
                      <a:pt x="0" y="69"/>
                      <a:pt x="8" y="70"/>
                      <a:pt x="6" y="75"/>
                    </a:cubicBezTo>
                    <a:cubicBezTo>
                      <a:pt x="5" y="80"/>
                      <a:pt x="1" y="77"/>
                      <a:pt x="2" y="83"/>
                    </a:cubicBezTo>
                    <a:cubicBezTo>
                      <a:pt x="4" y="96"/>
                      <a:pt x="4" y="79"/>
                      <a:pt x="7" y="81"/>
                    </a:cubicBezTo>
                    <a:cubicBezTo>
                      <a:pt x="10" y="83"/>
                      <a:pt x="5" y="87"/>
                      <a:pt x="9" y="87"/>
                    </a:cubicBezTo>
                    <a:cubicBezTo>
                      <a:pt x="14" y="86"/>
                      <a:pt x="15" y="79"/>
                      <a:pt x="18" y="89"/>
                    </a:cubicBezTo>
                    <a:cubicBezTo>
                      <a:pt x="20" y="97"/>
                      <a:pt x="27" y="99"/>
                      <a:pt x="24" y="109"/>
                    </a:cubicBezTo>
                    <a:cubicBezTo>
                      <a:pt x="21" y="119"/>
                      <a:pt x="23" y="113"/>
                      <a:pt x="29" y="117"/>
                    </a:cubicBezTo>
                    <a:cubicBezTo>
                      <a:pt x="35" y="121"/>
                      <a:pt x="27" y="134"/>
                      <a:pt x="30" y="139"/>
                    </a:cubicBezTo>
                    <a:cubicBezTo>
                      <a:pt x="34" y="143"/>
                      <a:pt x="33" y="151"/>
                      <a:pt x="28" y="150"/>
                    </a:cubicBezTo>
                    <a:cubicBezTo>
                      <a:pt x="22" y="150"/>
                      <a:pt x="21" y="153"/>
                      <a:pt x="25" y="153"/>
                    </a:cubicBezTo>
                    <a:cubicBezTo>
                      <a:pt x="29" y="154"/>
                      <a:pt x="23" y="157"/>
                      <a:pt x="24" y="161"/>
                    </a:cubicBezTo>
                    <a:cubicBezTo>
                      <a:pt x="26" y="166"/>
                      <a:pt x="21" y="164"/>
                      <a:pt x="26" y="171"/>
                    </a:cubicBezTo>
                    <a:cubicBezTo>
                      <a:pt x="31" y="177"/>
                      <a:pt x="23" y="167"/>
                      <a:pt x="33" y="167"/>
                    </a:cubicBezTo>
                    <a:cubicBezTo>
                      <a:pt x="43" y="168"/>
                      <a:pt x="35" y="194"/>
                      <a:pt x="31" y="187"/>
                    </a:cubicBezTo>
                    <a:cubicBezTo>
                      <a:pt x="28" y="180"/>
                      <a:pt x="27" y="189"/>
                      <a:pt x="30" y="202"/>
                    </a:cubicBezTo>
                    <a:cubicBezTo>
                      <a:pt x="33" y="215"/>
                      <a:pt x="21" y="219"/>
                      <a:pt x="25" y="223"/>
                    </a:cubicBezTo>
                    <a:cubicBezTo>
                      <a:pt x="30" y="227"/>
                      <a:pt x="19" y="230"/>
                      <a:pt x="24" y="235"/>
                    </a:cubicBezTo>
                    <a:cubicBezTo>
                      <a:pt x="29" y="241"/>
                      <a:pt x="28" y="242"/>
                      <a:pt x="23" y="248"/>
                    </a:cubicBezTo>
                    <a:cubicBezTo>
                      <a:pt x="19" y="255"/>
                      <a:pt x="27" y="254"/>
                      <a:pt x="27" y="260"/>
                    </a:cubicBezTo>
                    <a:cubicBezTo>
                      <a:pt x="28" y="266"/>
                      <a:pt x="30" y="262"/>
                      <a:pt x="32" y="267"/>
                    </a:cubicBezTo>
                    <a:cubicBezTo>
                      <a:pt x="34" y="272"/>
                      <a:pt x="41" y="269"/>
                      <a:pt x="40" y="275"/>
                    </a:cubicBezTo>
                    <a:cubicBezTo>
                      <a:pt x="38" y="286"/>
                      <a:pt x="45" y="278"/>
                      <a:pt x="44" y="287"/>
                    </a:cubicBezTo>
                    <a:cubicBezTo>
                      <a:pt x="42" y="295"/>
                      <a:pt x="46" y="288"/>
                      <a:pt x="46" y="292"/>
                    </a:cubicBezTo>
                    <a:cubicBezTo>
                      <a:pt x="46" y="297"/>
                      <a:pt x="48" y="291"/>
                      <a:pt x="51" y="288"/>
                    </a:cubicBezTo>
                    <a:cubicBezTo>
                      <a:pt x="54" y="285"/>
                      <a:pt x="56" y="287"/>
                      <a:pt x="61" y="291"/>
                    </a:cubicBezTo>
                    <a:cubicBezTo>
                      <a:pt x="65" y="295"/>
                      <a:pt x="69" y="289"/>
                      <a:pt x="74" y="285"/>
                    </a:cubicBezTo>
                    <a:cubicBezTo>
                      <a:pt x="78" y="281"/>
                      <a:pt x="84" y="272"/>
                      <a:pt x="80" y="267"/>
                    </a:cubicBezTo>
                    <a:cubicBezTo>
                      <a:pt x="76" y="262"/>
                      <a:pt x="85" y="249"/>
                      <a:pt x="89" y="253"/>
                    </a:cubicBezTo>
                    <a:cubicBezTo>
                      <a:pt x="94" y="260"/>
                      <a:pt x="91" y="248"/>
                      <a:pt x="102" y="250"/>
                    </a:cubicBezTo>
                    <a:cubicBezTo>
                      <a:pt x="112" y="253"/>
                      <a:pt x="112" y="263"/>
                      <a:pt x="118" y="262"/>
                    </a:cubicBezTo>
                    <a:cubicBezTo>
                      <a:pt x="125" y="260"/>
                      <a:pt x="123" y="268"/>
                      <a:pt x="125" y="263"/>
                    </a:cubicBezTo>
                    <a:cubicBezTo>
                      <a:pt x="127" y="259"/>
                      <a:pt x="127" y="264"/>
                      <a:pt x="129" y="259"/>
                    </a:cubicBezTo>
                    <a:cubicBezTo>
                      <a:pt x="131" y="255"/>
                      <a:pt x="127" y="245"/>
                      <a:pt x="133" y="242"/>
                    </a:cubicBezTo>
                    <a:cubicBezTo>
                      <a:pt x="139" y="240"/>
                      <a:pt x="127" y="242"/>
                      <a:pt x="134" y="228"/>
                    </a:cubicBezTo>
                    <a:cubicBezTo>
                      <a:pt x="140" y="217"/>
                      <a:pt x="132" y="220"/>
                      <a:pt x="136" y="211"/>
                    </a:cubicBezTo>
                    <a:cubicBezTo>
                      <a:pt x="138" y="207"/>
                      <a:pt x="135" y="199"/>
                      <a:pt x="137" y="197"/>
                    </a:cubicBezTo>
                    <a:cubicBezTo>
                      <a:pt x="138" y="195"/>
                      <a:pt x="136" y="193"/>
                      <a:pt x="138" y="192"/>
                    </a:cubicBezTo>
                    <a:cubicBezTo>
                      <a:pt x="140" y="190"/>
                      <a:pt x="136" y="181"/>
                      <a:pt x="139" y="176"/>
                    </a:cubicBezTo>
                    <a:cubicBezTo>
                      <a:pt x="141" y="173"/>
                      <a:pt x="139" y="175"/>
                      <a:pt x="139" y="169"/>
                    </a:cubicBezTo>
                    <a:cubicBezTo>
                      <a:pt x="139" y="164"/>
                      <a:pt x="142" y="167"/>
                      <a:pt x="142" y="165"/>
                    </a:cubicBezTo>
                    <a:cubicBezTo>
                      <a:pt x="142" y="161"/>
                      <a:pt x="140" y="167"/>
                      <a:pt x="139" y="161"/>
                    </a:cubicBezTo>
                    <a:cubicBezTo>
                      <a:pt x="139" y="155"/>
                      <a:pt x="141" y="159"/>
                      <a:pt x="141" y="155"/>
                    </a:cubicBezTo>
                    <a:cubicBezTo>
                      <a:pt x="141" y="152"/>
                      <a:pt x="145" y="146"/>
                      <a:pt x="141" y="144"/>
                    </a:cubicBezTo>
                    <a:cubicBezTo>
                      <a:pt x="138" y="142"/>
                      <a:pt x="137" y="137"/>
                      <a:pt x="135" y="135"/>
                    </a:cubicBezTo>
                    <a:cubicBezTo>
                      <a:pt x="133" y="134"/>
                      <a:pt x="133" y="125"/>
                      <a:pt x="137" y="120"/>
                    </a:cubicBezTo>
                    <a:cubicBezTo>
                      <a:pt x="140" y="115"/>
                      <a:pt x="140" y="114"/>
                      <a:pt x="142" y="111"/>
                    </a:cubicBezTo>
                    <a:cubicBezTo>
                      <a:pt x="144" y="108"/>
                      <a:pt x="146" y="110"/>
                      <a:pt x="147" y="106"/>
                    </a:cubicBezTo>
                    <a:cubicBezTo>
                      <a:pt x="148" y="101"/>
                      <a:pt x="149" y="103"/>
                      <a:pt x="150" y="99"/>
                    </a:cubicBezTo>
                    <a:cubicBezTo>
                      <a:pt x="151" y="95"/>
                      <a:pt x="154" y="91"/>
                      <a:pt x="150" y="9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4" name="Freeform 1140"/>
              <p:cNvSpPr>
                <a:spLocks/>
              </p:cNvSpPr>
              <p:nvPr/>
            </p:nvSpPr>
            <p:spPr bwMode="auto">
              <a:xfrm>
                <a:off x="2486" y="3650"/>
                <a:ext cx="9" cy="14"/>
              </a:xfrm>
              <a:custGeom>
                <a:avLst/>
                <a:gdLst>
                  <a:gd name="T0" fmla="*/ 11 w 13"/>
                  <a:gd name="T1" fmla="*/ 6 h 20"/>
                  <a:gd name="T2" fmla="*/ 10 w 13"/>
                  <a:gd name="T3" fmla="*/ 5 h 20"/>
                  <a:gd name="T4" fmla="*/ 8 w 13"/>
                  <a:gd name="T5" fmla="*/ 2 h 20"/>
                  <a:gd name="T6" fmla="*/ 3 w 13"/>
                  <a:gd name="T7" fmla="*/ 1 h 20"/>
                  <a:gd name="T8" fmla="*/ 0 w 13"/>
                  <a:gd name="T9" fmla="*/ 5 h 20"/>
                  <a:gd name="T10" fmla="*/ 2 w 13"/>
                  <a:gd name="T11" fmla="*/ 11 h 20"/>
                  <a:gd name="T12" fmla="*/ 5 w 13"/>
                  <a:gd name="T13" fmla="*/ 18 h 20"/>
                  <a:gd name="T14" fmla="*/ 6 w 13"/>
                  <a:gd name="T15" fmla="*/ 19 h 20"/>
                  <a:gd name="T16" fmla="*/ 9 w 13"/>
                  <a:gd name="T17" fmla="*/ 18 h 20"/>
                  <a:gd name="T18" fmla="*/ 9 w 13"/>
                  <a:gd name="T19" fmla="*/ 14 h 20"/>
                  <a:gd name="T20" fmla="*/ 12 w 13"/>
                  <a:gd name="T21" fmla="*/ 8 h 20"/>
                  <a:gd name="T22" fmla="*/ 11 w 13"/>
                  <a:gd name="T2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20">
                    <a:moveTo>
                      <a:pt x="11" y="6"/>
                    </a:moveTo>
                    <a:cubicBezTo>
                      <a:pt x="11" y="8"/>
                      <a:pt x="10" y="8"/>
                      <a:pt x="10" y="5"/>
                    </a:cubicBezTo>
                    <a:cubicBezTo>
                      <a:pt x="10" y="3"/>
                      <a:pt x="9" y="4"/>
                      <a:pt x="8" y="2"/>
                    </a:cubicBezTo>
                    <a:cubicBezTo>
                      <a:pt x="6" y="0"/>
                      <a:pt x="4" y="3"/>
                      <a:pt x="3" y="1"/>
                    </a:cubicBezTo>
                    <a:cubicBezTo>
                      <a:pt x="2" y="0"/>
                      <a:pt x="0" y="1"/>
                      <a:pt x="0" y="5"/>
                    </a:cubicBezTo>
                    <a:cubicBezTo>
                      <a:pt x="0" y="6"/>
                      <a:pt x="1" y="8"/>
                      <a:pt x="2" y="11"/>
                    </a:cubicBezTo>
                    <a:cubicBezTo>
                      <a:pt x="2" y="13"/>
                      <a:pt x="4" y="16"/>
                      <a:pt x="5" y="18"/>
                    </a:cubicBezTo>
                    <a:cubicBezTo>
                      <a:pt x="5" y="20"/>
                      <a:pt x="6" y="19"/>
                      <a:pt x="6" y="19"/>
                    </a:cubicBezTo>
                    <a:cubicBezTo>
                      <a:pt x="7" y="20"/>
                      <a:pt x="9" y="19"/>
                      <a:pt x="9" y="18"/>
                    </a:cubicBezTo>
                    <a:cubicBezTo>
                      <a:pt x="8" y="16"/>
                      <a:pt x="9" y="17"/>
                      <a:pt x="9" y="14"/>
                    </a:cubicBezTo>
                    <a:cubicBezTo>
                      <a:pt x="9" y="12"/>
                      <a:pt x="10" y="8"/>
                      <a:pt x="12" y="8"/>
                    </a:cubicBezTo>
                    <a:cubicBezTo>
                      <a:pt x="13" y="7"/>
                      <a:pt x="12" y="5"/>
                      <a:pt x="11" y="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5" name="Freeform 1141"/>
              <p:cNvSpPr>
                <a:spLocks/>
              </p:cNvSpPr>
              <p:nvPr/>
            </p:nvSpPr>
            <p:spPr bwMode="auto">
              <a:xfrm>
                <a:off x="2478" y="3645"/>
                <a:ext cx="6" cy="9"/>
              </a:xfrm>
              <a:custGeom>
                <a:avLst/>
                <a:gdLst>
                  <a:gd name="T0" fmla="*/ 8 w 9"/>
                  <a:gd name="T1" fmla="*/ 1 h 14"/>
                  <a:gd name="T2" fmla="*/ 4 w 9"/>
                  <a:gd name="T3" fmla="*/ 2 h 14"/>
                  <a:gd name="T4" fmla="*/ 1 w 9"/>
                  <a:gd name="T5" fmla="*/ 5 h 14"/>
                  <a:gd name="T6" fmla="*/ 2 w 9"/>
                  <a:gd name="T7" fmla="*/ 7 h 14"/>
                  <a:gd name="T8" fmla="*/ 4 w 9"/>
                  <a:gd name="T9" fmla="*/ 11 h 14"/>
                  <a:gd name="T10" fmla="*/ 9 w 9"/>
                  <a:gd name="T11" fmla="*/ 9 h 14"/>
                  <a:gd name="T12" fmla="*/ 8 w 9"/>
                  <a:gd name="T13" fmla="*/ 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4">
                    <a:moveTo>
                      <a:pt x="8" y="1"/>
                    </a:moveTo>
                    <a:cubicBezTo>
                      <a:pt x="6" y="3"/>
                      <a:pt x="5" y="0"/>
                      <a:pt x="4" y="2"/>
                    </a:cubicBezTo>
                    <a:cubicBezTo>
                      <a:pt x="3" y="4"/>
                      <a:pt x="2" y="2"/>
                      <a:pt x="1" y="5"/>
                    </a:cubicBezTo>
                    <a:cubicBezTo>
                      <a:pt x="0" y="6"/>
                      <a:pt x="0" y="7"/>
                      <a:pt x="2" y="7"/>
                    </a:cubicBezTo>
                    <a:cubicBezTo>
                      <a:pt x="4" y="7"/>
                      <a:pt x="3" y="10"/>
                      <a:pt x="4" y="11"/>
                    </a:cubicBezTo>
                    <a:cubicBezTo>
                      <a:pt x="5" y="12"/>
                      <a:pt x="9" y="14"/>
                      <a:pt x="9" y="9"/>
                    </a:cubicBezTo>
                    <a:cubicBezTo>
                      <a:pt x="9" y="4"/>
                      <a:pt x="9" y="0"/>
                      <a:pt x="8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6" name="Freeform 1142"/>
              <p:cNvSpPr>
                <a:spLocks/>
              </p:cNvSpPr>
              <p:nvPr/>
            </p:nvSpPr>
            <p:spPr bwMode="auto">
              <a:xfrm>
                <a:off x="2871" y="3706"/>
                <a:ext cx="5" cy="6"/>
              </a:xfrm>
              <a:custGeom>
                <a:avLst/>
                <a:gdLst>
                  <a:gd name="T0" fmla="*/ 4 w 7"/>
                  <a:gd name="T1" fmla="*/ 7 h 10"/>
                  <a:gd name="T2" fmla="*/ 3 w 7"/>
                  <a:gd name="T3" fmla="*/ 2 h 10"/>
                  <a:gd name="T4" fmla="*/ 3 w 7"/>
                  <a:gd name="T5" fmla="*/ 1 h 10"/>
                  <a:gd name="T6" fmla="*/ 4 w 7"/>
                  <a:gd name="T7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0">
                    <a:moveTo>
                      <a:pt x="4" y="7"/>
                    </a:moveTo>
                    <a:cubicBezTo>
                      <a:pt x="7" y="10"/>
                      <a:pt x="7" y="2"/>
                      <a:pt x="3" y="2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0" y="3"/>
                      <a:pt x="4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7" name="Freeform 1143"/>
              <p:cNvSpPr>
                <a:spLocks/>
              </p:cNvSpPr>
              <p:nvPr/>
            </p:nvSpPr>
            <p:spPr bwMode="auto">
              <a:xfrm>
                <a:off x="2867" y="3698"/>
                <a:ext cx="13" cy="10"/>
              </a:xfrm>
              <a:custGeom>
                <a:avLst/>
                <a:gdLst>
                  <a:gd name="T0" fmla="*/ 5 w 21"/>
                  <a:gd name="T1" fmla="*/ 1 h 15"/>
                  <a:gd name="T2" fmla="*/ 6 w 21"/>
                  <a:gd name="T3" fmla="*/ 0 h 15"/>
                  <a:gd name="T4" fmla="*/ 6 w 21"/>
                  <a:gd name="T5" fmla="*/ 0 h 15"/>
                  <a:gd name="T6" fmla="*/ 5 w 21"/>
                  <a:gd name="T7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15">
                    <a:moveTo>
                      <a:pt x="5" y="1"/>
                    </a:moveTo>
                    <a:cubicBezTo>
                      <a:pt x="0" y="15"/>
                      <a:pt x="21" y="1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5" y="1"/>
                      <a:pt x="5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8" name="Freeform 1144"/>
              <p:cNvSpPr>
                <a:spLocks/>
              </p:cNvSpPr>
              <p:nvPr/>
            </p:nvSpPr>
            <p:spPr bwMode="auto">
              <a:xfrm>
                <a:off x="2861" y="3693"/>
                <a:ext cx="7" cy="7"/>
              </a:xfrm>
              <a:custGeom>
                <a:avLst/>
                <a:gdLst>
                  <a:gd name="T0" fmla="*/ 10 w 11"/>
                  <a:gd name="T1" fmla="*/ 5 h 11"/>
                  <a:gd name="T2" fmla="*/ 6 w 11"/>
                  <a:gd name="T3" fmla="*/ 1 h 11"/>
                  <a:gd name="T4" fmla="*/ 6 w 11"/>
                  <a:gd name="T5" fmla="*/ 1 h 11"/>
                  <a:gd name="T6" fmla="*/ 10 w 11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1">
                    <a:moveTo>
                      <a:pt x="10" y="5"/>
                    </a:moveTo>
                    <a:cubicBezTo>
                      <a:pt x="10" y="1"/>
                      <a:pt x="11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0" y="0"/>
                      <a:pt x="11" y="11"/>
                      <a:pt x="10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29" name="Freeform 1145"/>
              <p:cNvSpPr>
                <a:spLocks/>
              </p:cNvSpPr>
              <p:nvPr/>
            </p:nvSpPr>
            <p:spPr bwMode="auto">
              <a:xfrm>
                <a:off x="2808" y="3519"/>
                <a:ext cx="10" cy="6"/>
              </a:xfrm>
              <a:custGeom>
                <a:avLst/>
                <a:gdLst>
                  <a:gd name="T0" fmla="*/ 6 w 15"/>
                  <a:gd name="T1" fmla="*/ 8 h 9"/>
                  <a:gd name="T2" fmla="*/ 3 w 15"/>
                  <a:gd name="T3" fmla="*/ 1 h 9"/>
                  <a:gd name="T4" fmla="*/ 3 w 15"/>
                  <a:gd name="T5" fmla="*/ 1 h 9"/>
                  <a:gd name="T6" fmla="*/ 4 w 15"/>
                  <a:gd name="T7" fmla="*/ 9 h 9"/>
                  <a:gd name="T8" fmla="*/ 6 w 15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9">
                    <a:moveTo>
                      <a:pt x="6" y="8"/>
                    </a:moveTo>
                    <a:cubicBezTo>
                      <a:pt x="15" y="7"/>
                      <a:pt x="6" y="3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0" y="0"/>
                      <a:pt x="2" y="6"/>
                      <a:pt x="4" y="9"/>
                    </a:cubicBezTo>
                    <a:cubicBezTo>
                      <a:pt x="4" y="9"/>
                      <a:pt x="5" y="9"/>
                      <a:pt x="6" y="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0" name="Freeform 1146"/>
              <p:cNvSpPr>
                <a:spLocks/>
              </p:cNvSpPr>
              <p:nvPr/>
            </p:nvSpPr>
            <p:spPr bwMode="auto">
              <a:xfrm>
                <a:off x="2585" y="3346"/>
                <a:ext cx="24" cy="20"/>
              </a:xfrm>
              <a:custGeom>
                <a:avLst/>
                <a:gdLst>
                  <a:gd name="T0" fmla="*/ 30 w 37"/>
                  <a:gd name="T1" fmla="*/ 12 h 32"/>
                  <a:gd name="T2" fmla="*/ 14 w 37"/>
                  <a:gd name="T3" fmla="*/ 13 h 32"/>
                  <a:gd name="T4" fmla="*/ 7 w 37"/>
                  <a:gd name="T5" fmla="*/ 16 h 32"/>
                  <a:gd name="T6" fmla="*/ 28 w 37"/>
                  <a:gd name="T7" fmla="*/ 19 h 32"/>
                  <a:gd name="T8" fmla="*/ 35 w 37"/>
                  <a:gd name="T9" fmla="*/ 26 h 32"/>
                  <a:gd name="T10" fmla="*/ 32 w 37"/>
                  <a:gd name="T11" fmla="*/ 19 h 32"/>
                  <a:gd name="T12" fmla="*/ 37 w 37"/>
                  <a:gd name="T13" fmla="*/ 9 h 32"/>
                  <a:gd name="T14" fmla="*/ 30 w 37"/>
                  <a:gd name="T15" fmla="*/ 1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32">
                    <a:moveTo>
                      <a:pt x="30" y="12"/>
                    </a:moveTo>
                    <a:cubicBezTo>
                      <a:pt x="26" y="13"/>
                      <a:pt x="20" y="15"/>
                      <a:pt x="14" y="13"/>
                    </a:cubicBezTo>
                    <a:cubicBezTo>
                      <a:pt x="12" y="12"/>
                      <a:pt x="7" y="13"/>
                      <a:pt x="7" y="16"/>
                    </a:cubicBezTo>
                    <a:cubicBezTo>
                      <a:pt x="0" y="32"/>
                      <a:pt x="22" y="17"/>
                      <a:pt x="28" y="19"/>
                    </a:cubicBezTo>
                    <a:cubicBezTo>
                      <a:pt x="31" y="20"/>
                      <a:pt x="31" y="27"/>
                      <a:pt x="35" y="26"/>
                    </a:cubicBezTo>
                    <a:cubicBezTo>
                      <a:pt x="37" y="25"/>
                      <a:pt x="31" y="21"/>
                      <a:pt x="32" y="19"/>
                    </a:cubicBezTo>
                    <a:cubicBezTo>
                      <a:pt x="36" y="15"/>
                      <a:pt x="35" y="14"/>
                      <a:pt x="37" y="9"/>
                    </a:cubicBezTo>
                    <a:cubicBezTo>
                      <a:pt x="36" y="0"/>
                      <a:pt x="31" y="11"/>
                      <a:pt x="30" y="1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1" name="Freeform 1147"/>
              <p:cNvSpPr>
                <a:spLocks/>
              </p:cNvSpPr>
              <p:nvPr/>
            </p:nvSpPr>
            <p:spPr bwMode="auto">
              <a:xfrm>
                <a:off x="2722" y="3710"/>
                <a:ext cx="192" cy="138"/>
              </a:xfrm>
              <a:custGeom>
                <a:avLst/>
                <a:gdLst>
                  <a:gd name="T0" fmla="*/ 256 w 292"/>
                  <a:gd name="T1" fmla="*/ 20 h 210"/>
                  <a:gd name="T2" fmla="*/ 254 w 292"/>
                  <a:gd name="T3" fmla="*/ 13 h 210"/>
                  <a:gd name="T4" fmla="*/ 242 w 292"/>
                  <a:gd name="T5" fmla="*/ 30 h 210"/>
                  <a:gd name="T6" fmla="*/ 210 w 292"/>
                  <a:gd name="T7" fmla="*/ 25 h 210"/>
                  <a:gd name="T8" fmla="*/ 201 w 292"/>
                  <a:gd name="T9" fmla="*/ 36 h 210"/>
                  <a:gd name="T10" fmla="*/ 146 w 292"/>
                  <a:gd name="T11" fmla="*/ 39 h 210"/>
                  <a:gd name="T12" fmla="*/ 125 w 292"/>
                  <a:gd name="T13" fmla="*/ 48 h 210"/>
                  <a:gd name="T14" fmla="*/ 103 w 292"/>
                  <a:gd name="T15" fmla="*/ 32 h 210"/>
                  <a:gd name="T16" fmla="*/ 88 w 292"/>
                  <a:gd name="T17" fmla="*/ 31 h 210"/>
                  <a:gd name="T18" fmla="*/ 83 w 292"/>
                  <a:gd name="T19" fmla="*/ 19 h 210"/>
                  <a:gd name="T20" fmla="*/ 46 w 292"/>
                  <a:gd name="T21" fmla="*/ 42 h 210"/>
                  <a:gd name="T22" fmla="*/ 30 w 292"/>
                  <a:gd name="T23" fmla="*/ 23 h 210"/>
                  <a:gd name="T24" fmla="*/ 30 w 292"/>
                  <a:gd name="T25" fmla="*/ 30 h 210"/>
                  <a:gd name="T26" fmla="*/ 15 w 292"/>
                  <a:gd name="T27" fmla="*/ 38 h 210"/>
                  <a:gd name="T28" fmla="*/ 17 w 292"/>
                  <a:gd name="T29" fmla="*/ 86 h 210"/>
                  <a:gd name="T30" fmla="*/ 25 w 292"/>
                  <a:gd name="T31" fmla="*/ 98 h 210"/>
                  <a:gd name="T32" fmla="*/ 69 w 292"/>
                  <a:gd name="T33" fmla="*/ 106 h 210"/>
                  <a:gd name="T34" fmla="*/ 133 w 292"/>
                  <a:gd name="T35" fmla="*/ 153 h 210"/>
                  <a:gd name="T36" fmla="*/ 156 w 292"/>
                  <a:gd name="T37" fmla="*/ 153 h 210"/>
                  <a:gd name="T38" fmla="*/ 222 w 292"/>
                  <a:gd name="T39" fmla="*/ 197 h 210"/>
                  <a:gd name="T40" fmla="*/ 233 w 292"/>
                  <a:gd name="T41" fmla="*/ 201 h 210"/>
                  <a:gd name="T42" fmla="*/ 233 w 292"/>
                  <a:gd name="T43" fmla="*/ 201 h 210"/>
                  <a:gd name="T44" fmla="*/ 245 w 292"/>
                  <a:gd name="T45" fmla="*/ 205 h 210"/>
                  <a:gd name="T46" fmla="*/ 247 w 292"/>
                  <a:gd name="T47" fmla="*/ 175 h 210"/>
                  <a:gd name="T48" fmla="*/ 259 w 292"/>
                  <a:gd name="T49" fmla="*/ 160 h 210"/>
                  <a:gd name="T50" fmla="*/ 250 w 292"/>
                  <a:gd name="T51" fmla="*/ 142 h 210"/>
                  <a:gd name="T52" fmla="*/ 257 w 292"/>
                  <a:gd name="T53" fmla="*/ 136 h 210"/>
                  <a:gd name="T54" fmla="*/ 241 w 292"/>
                  <a:gd name="T55" fmla="*/ 107 h 210"/>
                  <a:gd name="T56" fmla="*/ 273 w 292"/>
                  <a:gd name="T57" fmla="*/ 42 h 210"/>
                  <a:gd name="T58" fmla="*/ 288 w 292"/>
                  <a:gd name="T59" fmla="*/ 15 h 210"/>
                  <a:gd name="T60" fmla="*/ 291 w 292"/>
                  <a:gd name="T61" fmla="*/ 12 h 210"/>
                  <a:gd name="T62" fmla="*/ 256 w 292"/>
                  <a:gd name="T63" fmla="*/ 2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10">
                    <a:moveTo>
                      <a:pt x="256" y="20"/>
                    </a:moveTo>
                    <a:cubicBezTo>
                      <a:pt x="255" y="19"/>
                      <a:pt x="256" y="12"/>
                      <a:pt x="254" y="13"/>
                    </a:cubicBezTo>
                    <a:cubicBezTo>
                      <a:pt x="253" y="13"/>
                      <a:pt x="249" y="27"/>
                      <a:pt x="242" y="30"/>
                    </a:cubicBezTo>
                    <a:cubicBezTo>
                      <a:pt x="237" y="32"/>
                      <a:pt x="220" y="22"/>
                      <a:pt x="210" y="25"/>
                    </a:cubicBezTo>
                    <a:cubicBezTo>
                      <a:pt x="206" y="26"/>
                      <a:pt x="205" y="34"/>
                      <a:pt x="201" y="36"/>
                    </a:cubicBezTo>
                    <a:cubicBezTo>
                      <a:pt x="181" y="45"/>
                      <a:pt x="164" y="39"/>
                      <a:pt x="146" y="39"/>
                    </a:cubicBezTo>
                    <a:cubicBezTo>
                      <a:pt x="139" y="40"/>
                      <a:pt x="133" y="48"/>
                      <a:pt x="125" y="48"/>
                    </a:cubicBezTo>
                    <a:cubicBezTo>
                      <a:pt x="111" y="49"/>
                      <a:pt x="109" y="38"/>
                      <a:pt x="103" y="32"/>
                    </a:cubicBezTo>
                    <a:cubicBezTo>
                      <a:pt x="101" y="29"/>
                      <a:pt x="93" y="35"/>
                      <a:pt x="88" y="31"/>
                    </a:cubicBezTo>
                    <a:cubicBezTo>
                      <a:pt x="87" y="30"/>
                      <a:pt x="89" y="20"/>
                      <a:pt x="83" y="19"/>
                    </a:cubicBezTo>
                    <a:cubicBezTo>
                      <a:pt x="61" y="14"/>
                      <a:pt x="66" y="43"/>
                      <a:pt x="46" y="42"/>
                    </a:cubicBezTo>
                    <a:cubicBezTo>
                      <a:pt x="39" y="42"/>
                      <a:pt x="34" y="20"/>
                      <a:pt x="30" y="23"/>
                    </a:cubicBezTo>
                    <a:cubicBezTo>
                      <a:pt x="28" y="25"/>
                      <a:pt x="32" y="28"/>
                      <a:pt x="30" y="30"/>
                    </a:cubicBezTo>
                    <a:cubicBezTo>
                      <a:pt x="27" y="34"/>
                      <a:pt x="19" y="34"/>
                      <a:pt x="15" y="38"/>
                    </a:cubicBezTo>
                    <a:cubicBezTo>
                      <a:pt x="0" y="53"/>
                      <a:pt x="5" y="74"/>
                      <a:pt x="17" y="86"/>
                    </a:cubicBezTo>
                    <a:cubicBezTo>
                      <a:pt x="20" y="89"/>
                      <a:pt x="21" y="97"/>
                      <a:pt x="25" y="98"/>
                    </a:cubicBezTo>
                    <a:cubicBezTo>
                      <a:pt x="28" y="99"/>
                      <a:pt x="57" y="101"/>
                      <a:pt x="69" y="106"/>
                    </a:cubicBezTo>
                    <a:cubicBezTo>
                      <a:pt x="90" y="115"/>
                      <a:pt x="111" y="142"/>
                      <a:pt x="133" y="153"/>
                    </a:cubicBezTo>
                    <a:cubicBezTo>
                      <a:pt x="140" y="156"/>
                      <a:pt x="149" y="150"/>
                      <a:pt x="156" y="153"/>
                    </a:cubicBezTo>
                    <a:cubicBezTo>
                      <a:pt x="195" y="167"/>
                      <a:pt x="169" y="192"/>
                      <a:pt x="222" y="197"/>
                    </a:cubicBezTo>
                    <a:cubicBezTo>
                      <a:pt x="226" y="198"/>
                      <a:pt x="230" y="204"/>
                      <a:pt x="233" y="201"/>
                    </a:cubicBezTo>
                    <a:cubicBezTo>
                      <a:pt x="233" y="201"/>
                      <a:pt x="233" y="201"/>
                      <a:pt x="233" y="201"/>
                    </a:cubicBezTo>
                    <a:cubicBezTo>
                      <a:pt x="237" y="198"/>
                      <a:pt x="240" y="210"/>
                      <a:pt x="245" y="205"/>
                    </a:cubicBezTo>
                    <a:cubicBezTo>
                      <a:pt x="248" y="201"/>
                      <a:pt x="241" y="183"/>
                      <a:pt x="247" y="175"/>
                    </a:cubicBezTo>
                    <a:cubicBezTo>
                      <a:pt x="256" y="162"/>
                      <a:pt x="262" y="168"/>
                      <a:pt x="259" y="160"/>
                    </a:cubicBezTo>
                    <a:cubicBezTo>
                      <a:pt x="257" y="155"/>
                      <a:pt x="251" y="147"/>
                      <a:pt x="250" y="142"/>
                    </a:cubicBezTo>
                    <a:cubicBezTo>
                      <a:pt x="248" y="133"/>
                      <a:pt x="257" y="139"/>
                      <a:pt x="257" y="136"/>
                    </a:cubicBezTo>
                    <a:cubicBezTo>
                      <a:pt x="254" y="125"/>
                      <a:pt x="237" y="129"/>
                      <a:pt x="241" y="107"/>
                    </a:cubicBezTo>
                    <a:cubicBezTo>
                      <a:pt x="246" y="83"/>
                      <a:pt x="263" y="65"/>
                      <a:pt x="273" y="42"/>
                    </a:cubicBezTo>
                    <a:cubicBezTo>
                      <a:pt x="277" y="33"/>
                      <a:pt x="284" y="17"/>
                      <a:pt x="288" y="15"/>
                    </a:cubicBezTo>
                    <a:cubicBezTo>
                      <a:pt x="288" y="14"/>
                      <a:pt x="292" y="13"/>
                      <a:pt x="291" y="12"/>
                    </a:cubicBezTo>
                    <a:cubicBezTo>
                      <a:pt x="280" y="0"/>
                      <a:pt x="267" y="27"/>
                      <a:pt x="256" y="2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2" name="Freeform 1148"/>
              <p:cNvSpPr>
                <a:spLocks noEditPoints="1"/>
              </p:cNvSpPr>
              <p:nvPr/>
            </p:nvSpPr>
            <p:spPr bwMode="auto">
              <a:xfrm>
                <a:off x="563" y="1211"/>
                <a:ext cx="647" cy="322"/>
              </a:xfrm>
              <a:custGeom>
                <a:avLst/>
                <a:gdLst>
                  <a:gd name="T0" fmla="*/ 916 w 987"/>
                  <a:gd name="T1" fmla="*/ 298 h 491"/>
                  <a:gd name="T2" fmla="*/ 944 w 987"/>
                  <a:gd name="T3" fmla="*/ 269 h 491"/>
                  <a:gd name="T4" fmla="*/ 927 w 987"/>
                  <a:gd name="T5" fmla="*/ 239 h 491"/>
                  <a:gd name="T6" fmla="*/ 964 w 987"/>
                  <a:gd name="T7" fmla="*/ 224 h 491"/>
                  <a:gd name="T8" fmla="*/ 940 w 987"/>
                  <a:gd name="T9" fmla="*/ 204 h 491"/>
                  <a:gd name="T10" fmla="*/ 920 w 987"/>
                  <a:gd name="T11" fmla="*/ 146 h 491"/>
                  <a:gd name="T12" fmla="*/ 905 w 987"/>
                  <a:gd name="T13" fmla="*/ 136 h 491"/>
                  <a:gd name="T14" fmla="*/ 856 w 987"/>
                  <a:gd name="T15" fmla="*/ 64 h 491"/>
                  <a:gd name="T16" fmla="*/ 815 w 987"/>
                  <a:gd name="T17" fmla="*/ 68 h 491"/>
                  <a:gd name="T18" fmla="*/ 711 w 987"/>
                  <a:gd name="T19" fmla="*/ 19 h 491"/>
                  <a:gd name="T20" fmla="*/ 698 w 987"/>
                  <a:gd name="T21" fmla="*/ 72 h 491"/>
                  <a:gd name="T22" fmla="*/ 625 w 987"/>
                  <a:gd name="T23" fmla="*/ 106 h 491"/>
                  <a:gd name="T24" fmla="*/ 578 w 987"/>
                  <a:gd name="T25" fmla="*/ 147 h 491"/>
                  <a:gd name="T26" fmla="*/ 514 w 987"/>
                  <a:gd name="T27" fmla="*/ 65 h 491"/>
                  <a:gd name="T28" fmla="*/ 458 w 987"/>
                  <a:gd name="T29" fmla="*/ 92 h 491"/>
                  <a:gd name="T30" fmla="*/ 406 w 987"/>
                  <a:gd name="T31" fmla="*/ 87 h 491"/>
                  <a:gd name="T32" fmla="*/ 355 w 987"/>
                  <a:gd name="T33" fmla="*/ 160 h 491"/>
                  <a:gd name="T34" fmla="*/ 309 w 987"/>
                  <a:gd name="T35" fmla="*/ 208 h 491"/>
                  <a:gd name="T36" fmla="*/ 274 w 987"/>
                  <a:gd name="T37" fmla="*/ 160 h 491"/>
                  <a:gd name="T38" fmla="*/ 289 w 987"/>
                  <a:gd name="T39" fmla="*/ 113 h 491"/>
                  <a:gd name="T40" fmla="*/ 288 w 987"/>
                  <a:gd name="T41" fmla="*/ 93 h 491"/>
                  <a:gd name="T42" fmla="*/ 229 w 987"/>
                  <a:gd name="T43" fmla="*/ 61 h 491"/>
                  <a:gd name="T44" fmla="*/ 184 w 987"/>
                  <a:gd name="T45" fmla="*/ 26 h 491"/>
                  <a:gd name="T46" fmla="*/ 122 w 987"/>
                  <a:gd name="T47" fmla="*/ 38 h 491"/>
                  <a:gd name="T48" fmla="*/ 165 w 987"/>
                  <a:gd name="T49" fmla="*/ 73 h 491"/>
                  <a:gd name="T50" fmla="*/ 181 w 987"/>
                  <a:gd name="T51" fmla="*/ 97 h 491"/>
                  <a:gd name="T52" fmla="*/ 143 w 987"/>
                  <a:gd name="T53" fmla="*/ 88 h 491"/>
                  <a:gd name="T54" fmla="*/ 102 w 987"/>
                  <a:gd name="T55" fmla="*/ 93 h 491"/>
                  <a:gd name="T56" fmla="*/ 121 w 987"/>
                  <a:gd name="T57" fmla="*/ 127 h 491"/>
                  <a:gd name="T58" fmla="*/ 67 w 987"/>
                  <a:gd name="T59" fmla="*/ 153 h 491"/>
                  <a:gd name="T60" fmla="*/ 39 w 987"/>
                  <a:gd name="T61" fmla="*/ 171 h 491"/>
                  <a:gd name="T62" fmla="*/ 157 w 987"/>
                  <a:gd name="T63" fmla="*/ 154 h 491"/>
                  <a:gd name="T64" fmla="*/ 184 w 987"/>
                  <a:gd name="T65" fmla="*/ 168 h 491"/>
                  <a:gd name="T66" fmla="*/ 221 w 987"/>
                  <a:gd name="T67" fmla="*/ 172 h 491"/>
                  <a:gd name="T68" fmla="*/ 178 w 987"/>
                  <a:gd name="T69" fmla="*/ 219 h 491"/>
                  <a:gd name="T70" fmla="*/ 163 w 987"/>
                  <a:gd name="T71" fmla="*/ 233 h 491"/>
                  <a:gd name="T72" fmla="*/ 112 w 987"/>
                  <a:gd name="T73" fmla="*/ 253 h 491"/>
                  <a:gd name="T74" fmla="*/ 170 w 987"/>
                  <a:gd name="T75" fmla="*/ 278 h 491"/>
                  <a:gd name="T76" fmla="*/ 188 w 987"/>
                  <a:gd name="T77" fmla="*/ 296 h 491"/>
                  <a:gd name="T78" fmla="*/ 225 w 987"/>
                  <a:gd name="T79" fmla="*/ 310 h 491"/>
                  <a:gd name="T80" fmla="*/ 273 w 987"/>
                  <a:gd name="T81" fmla="*/ 310 h 491"/>
                  <a:gd name="T82" fmla="*/ 275 w 987"/>
                  <a:gd name="T83" fmla="*/ 338 h 491"/>
                  <a:gd name="T84" fmla="*/ 224 w 987"/>
                  <a:gd name="T85" fmla="*/ 372 h 491"/>
                  <a:gd name="T86" fmla="*/ 165 w 987"/>
                  <a:gd name="T87" fmla="*/ 409 h 491"/>
                  <a:gd name="T88" fmla="*/ 284 w 987"/>
                  <a:gd name="T89" fmla="*/ 418 h 491"/>
                  <a:gd name="T90" fmla="*/ 369 w 987"/>
                  <a:gd name="T91" fmla="*/ 420 h 491"/>
                  <a:gd name="T92" fmla="*/ 373 w 987"/>
                  <a:gd name="T93" fmla="*/ 450 h 491"/>
                  <a:gd name="T94" fmla="*/ 561 w 987"/>
                  <a:gd name="T95" fmla="*/ 476 h 491"/>
                  <a:gd name="T96" fmla="*/ 595 w 987"/>
                  <a:gd name="T97" fmla="*/ 450 h 491"/>
                  <a:gd name="T98" fmla="*/ 617 w 987"/>
                  <a:gd name="T99" fmla="*/ 436 h 491"/>
                  <a:gd name="T100" fmla="*/ 676 w 987"/>
                  <a:gd name="T101" fmla="*/ 408 h 491"/>
                  <a:gd name="T102" fmla="*/ 732 w 987"/>
                  <a:gd name="T103" fmla="*/ 395 h 491"/>
                  <a:gd name="T104" fmla="*/ 808 w 987"/>
                  <a:gd name="T105" fmla="*/ 356 h 491"/>
                  <a:gd name="T106" fmla="*/ 843 w 987"/>
                  <a:gd name="T107" fmla="*/ 351 h 491"/>
                  <a:gd name="T108" fmla="*/ 910 w 987"/>
                  <a:gd name="T109" fmla="*/ 307 h 491"/>
                  <a:gd name="T110" fmla="*/ 740 w 987"/>
                  <a:gd name="T111" fmla="*/ 144 h 491"/>
                  <a:gd name="T112" fmla="*/ 906 w 987"/>
                  <a:gd name="T113" fmla="*/ 190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7" h="491">
                    <a:moveTo>
                      <a:pt x="910" y="307"/>
                    </a:moveTo>
                    <a:cubicBezTo>
                      <a:pt x="909" y="306"/>
                      <a:pt x="908" y="307"/>
                      <a:pt x="907" y="307"/>
                    </a:cubicBezTo>
                    <a:cubicBezTo>
                      <a:pt x="900" y="312"/>
                      <a:pt x="897" y="316"/>
                      <a:pt x="890" y="310"/>
                    </a:cubicBezTo>
                    <a:cubicBezTo>
                      <a:pt x="884" y="306"/>
                      <a:pt x="897" y="305"/>
                      <a:pt x="899" y="306"/>
                    </a:cubicBezTo>
                    <a:cubicBezTo>
                      <a:pt x="908" y="309"/>
                      <a:pt x="899" y="299"/>
                      <a:pt x="898" y="298"/>
                    </a:cubicBezTo>
                    <a:cubicBezTo>
                      <a:pt x="898" y="298"/>
                      <a:pt x="897" y="297"/>
                      <a:pt x="897" y="296"/>
                    </a:cubicBezTo>
                    <a:cubicBezTo>
                      <a:pt x="903" y="293"/>
                      <a:pt x="916" y="304"/>
                      <a:pt x="916" y="298"/>
                    </a:cubicBezTo>
                    <a:cubicBezTo>
                      <a:pt x="917" y="293"/>
                      <a:pt x="898" y="279"/>
                      <a:pt x="895" y="276"/>
                    </a:cubicBezTo>
                    <a:cubicBezTo>
                      <a:pt x="893" y="273"/>
                      <a:pt x="904" y="277"/>
                      <a:pt x="906" y="279"/>
                    </a:cubicBezTo>
                    <a:cubicBezTo>
                      <a:pt x="911" y="285"/>
                      <a:pt x="912" y="289"/>
                      <a:pt x="920" y="291"/>
                    </a:cubicBezTo>
                    <a:cubicBezTo>
                      <a:pt x="920" y="291"/>
                      <a:pt x="921" y="291"/>
                      <a:pt x="921" y="291"/>
                    </a:cubicBezTo>
                    <a:cubicBezTo>
                      <a:pt x="939" y="284"/>
                      <a:pt x="944" y="274"/>
                      <a:pt x="954" y="276"/>
                    </a:cubicBezTo>
                    <a:cubicBezTo>
                      <a:pt x="955" y="276"/>
                      <a:pt x="956" y="276"/>
                      <a:pt x="956" y="275"/>
                    </a:cubicBezTo>
                    <a:cubicBezTo>
                      <a:pt x="956" y="273"/>
                      <a:pt x="943" y="271"/>
                      <a:pt x="944" y="269"/>
                    </a:cubicBezTo>
                    <a:cubicBezTo>
                      <a:pt x="945" y="268"/>
                      <a:pt x="966" y="274"/>
                      <a:pt x="962" y="265"/>
                    </a:cubicBezTo>
                    <a:cubicBezTo>
                      <a:pt x="958" y="259"/>
                      <a:pt x="948" y="260"/>
                      <a:pt x="943" y="259"/>
                    </a:cubicBezTo>
                    <a:cubicBezTo>
                      <a:pt x="943" y="259"/>
                      <a:pt x="934" y="256"/>
                      <a:pt x="936" y="255"/>
                    </a:cubicBezTo>
                    <a:cubicBezTo>
                      <a:pt x="939" y="254"/>
                      <a:pt x="968" y="261"/>
                      <a:pt x="968" y="257"/>
                    </a:cubicBezTo>
                    <a:cubicBezTo>
                      <a:pt x="967" y="248"/>
                      <a:pt x="935" y="242"/>
                      <a:pt x="927" y="242"/>
                    </a:cubicBezTo>
                    <a:cubicBezTo>
                      <a:pt x="926" y="242"/>
                      <a:pt x="920" y="242"/>
                      <a:pt x="920" y="240"/>
                    </a:cubicBezTo>
                    <a:cubicBezTo>
                      <a:pt x="920" y="239"/>
                      <a:pt x="926" y="239"/>
                      <a:pt x="927" y="239"/>
                    </a:cubicBezTo>
                    <a:cubicBezTo>
                      <a:pt x="930" y="239"/>
                      <a:pt x="933" y="239"/>
                      <a:pt x="936" y="239"/>
                    </a:cubicBezTo>
                    <a:cubicBezTo>
                      <a:pt x="939" y="239"/>
                      <a:pt x="944" y="239"/>
                      <a:pt x="940" y="236"/>
                    </a:cubicBezTo>
                    <a:cubicBezTo>
                      <a:pt x="939" y="235"/>
                      <a:pt x="937" y="233"/>
                      <a:pt x="938" y="233"/>
                    </a:cubicBezTo>
                    <a:cubicBezTo>
                      <a:pt x="951" y="235"/>
                      <a:pt x="960" y="252"/>
                      <a:pt x="973" y="247"/>
                    </a:cubicBezTo>
                    <a:cubicBezTo>
                      <a:pt x="976" y="246"/>
                      <a:pt x="974" y="240"/>
                      <a:pt x="976" y="240"/>
                    </a:cubicBezTo>
                    <a:cubicBezTo>
                      <a:pt x="979" y="238"/>
                      <a:pt x="985" y="238"/>
                      <a:pt x="986" y="234"/>
                    </a:cubicBezTo>
                    <a:cubicBezTo>
                      <a:pt x="987" y="210"/>
                      <a:pt x="975" y="234"/>
                      <a:pt x="964" y="224"/>
                    </a:cubicBezTo>
                    <a:cubicBezTo>
                      <a:pt x="960" y="221"/>
                      <a:pt x="977" y="222"/>
                      <a:pt x="975" y="217"/>
                    </a:cubicBezTo>
                    <a:cubicBezTo>
                      <a:pt x="975" y="216"/>
                      <a:pt x="950" y="216"/>
                      <a:pt x="947" y="216"/>
                    </a:cubicBezTo>
                    <a:cubicBezTo>
                      <a:pt x="946" y="216"/>
                      <a:pt x="937" y="217"/>
                      <a:pt x="938" y="216"/>
                    </a:cubicBezTo>
                    <a:cubicBezTo>
                      <a:pt x="943" y="206"/>
                      <a:pt x="977" y="220"/>
                      <a:pt x="979" y="205"/>
                    </a:cubicBezTo>
                    <a:cubicBezTo>
                      <a:pt x="980" y="203"/>
                      <a:pt x="975" y="202"/>
                      <a:pt x="974" y="201"/>
                    </a:cubicBezTo>
                    <a:cubicBezTo>
                      <a:pt x="967" y="196"/>
                      <a:pt x="956" y="202"/>
                      <a:pt x="947" y="202"/>
                    </a:cubicBezTo>
                    <a:cubicBezTo>
                      <a:pt x="945" y="202"/>
                      <a:pt x="941" y="205"/>
                      <a:pt x="940" y="204"/>
                    </a:cubicBezTo>
                    <a:cubicBezTo>
                      <a:pt x="939" y="199"/>
                      <a:pt x="962" y="197"/>
                      <a:pt x="963" y="195"/>
                    </a:cubicBezTo>
                    <a:cubicBezTo>
                      <a:pt x="967" y="192"/>
                      <a:pt x="962" y="191"/>
                      <a:pt x="960" y="190"/>
                    </a:cubicBezTo>
                    <a:cubicBezTo>
                      <a:pt x="957" y="190"/>
                      <a:pt x="976" y="184"/>
                      <a:pt x="976" y="169"/>
                    </a:cubicBezTo>
                    <a:cubicBezTo>
                      <a:pt x="976" y="157"/>
                      <a:pt x="961" y="166"/>
                      <a:pt x="959" y="166"/>
                    </a:cubicBezTo>
                    <a:cubicBezTo>
                      <a:pt x="948" y="164"/>
                      <a:pt x="961" y="150"/>
                      <a:pt x="942" y="154"/>
                    </a:cubicBezTo>
                    <a:cubicBezTo>
                      <a:pt x="937" y="155"/>
                      <a:pt x="931" y="150"/>
                      <a:pt x="927" y="148"/>
                    </a:cubicBezTo>
                    <a:cubicBezTo>
                      <a:pt x="925" y="147"/>
                      <a:pt x="921" y="144"/>
                      <a:pt x="920" y="146"/>
                    </a:cubicBezTo>
                    <a:cubicBezTo>
                      <a:pt x="920" y="147"/>
                      <a:pt x="923" y="151"/>
                      <a:pt x="919" y="148"/>
                    </a:cubicBezTo>
                    <a:cubicBezTo>
                      <a:pt x="918" y="147"/>
                      <a:pt x="917" y="147"/>
                      <a:pt x="915" y="149"/>
                    </a:cubicBezTo>
                    <a:cubicBezTo>
                      <a:pt x="908" y="153"/>
                      <a:pt x="898" y="168"/>
                      <a:pt x="891" y="170"/>
                    </a:cubicBezTo>
                    <a:cubicBezTo>
                      <a:pt x="888" y="170"/>
                      <a:pt x="892" y="164"/>
                      <a:pt x="894" y="162"/>
                    </a:cubicBezTo>
                    <a:cubicBezTo>
                      <a:pt x="898" y="158"/>
                      <a:pt x="901" y="154"/>
                      <a:pt x="905" y="150"/>
                    </a:cubicBezTo>
                    <a:cubicBezTo>
                      <a:pt x="908" y="145"/>
                      <a:pt x="910" y="145"/>
                      <a:pt x="914" y="142"/>
                    </a:cubicBezTo>
                    <a:cubicBezTo>
                      <a:pt x="918" y="140"/>
                      <a:pt x="906" y="140"/>
                      <a:pt x="905" y="136"/>
                    </a:cubicBezTo>
                    <a:cubicBezTo>
                      <a:pt x="905" y="132"/>
                      <a:pt x="913" y="129"/>
                      <a:pt x="911" y="125"/>
                    </a:cubicBezTo>
                    <a:cubicBezTo>
                      <a:pt x="906" y="119"/>
                      <a:pt x="870" y="139"/>
                      <a:pt x="867" y="133"/>
                    </a:cubicBezTo>
                    <a:cubicBezTo>
                      <a:pt x="866" y="130"/>
                      <a:pt x="872" y="129"/>
                      <a:pt x="871" y="127"/>
                    </a:cubicBezTo>
                    <a:cubicBezTo>
                      <a:pt x="870" y="123"/>
                      <a:pt x="863" y="129"/>
                      <a:pt x="864" y="126"/>
                    </a:cubicBezTo>
                    <a:cubicBezTo>
                      <a:pt x="871" y="111"/>
                      <a:pt x="898" y="109"/>
                      <a:pt x="882" y="86"/>
                    </a:cubicBezTo>
                    <a:cubicBezTo>
                      <a:pt x="878" y="80"/>
                      <a:pt x="847" y="93"/>
                      <a:pt x="836" y="76"/>
                    </a:cubicBezTo>
                    <a:cubicBezTo>
                      <a:pt x="834" y="74"/>
                      <a:pt x="854" y="67"/>
                      <a:pt x="856" y="64"/>
                    </a:cubicBezTo>
                    <a:cubicBezTo>
                      <a:pt x="857" y="63"/>
                      <a:pt x="857" y="61"/>
                      <a:pt x="857" y="60"/>
                    </a:cubicBezTo>
                    <a:cubicBezTo>
                      <a:pt x="857" y="55"/>
                      <a:pt x="852" y="55"/>
                      <a:pt x="851" y="52"/>
                    </a:cubicBezTo>
                    <a:cubicBezTo>
                      <a:pt x="850" y="50"/>
                      <a:pt x="867" y="44"/>
                      <a:pt x="869" y="43"/>
                    </a:cubicBezTo>
                    <a:cubicBezTo>
                      <a:pt x="870" y="42"/>
                      <a:pt x="892" y="35"/>
                      <a:pt x="891" y="34"/>
                    </a:cubicBezTo>
                    <a:cubicBezTo>
                      <a:pt x="889" y="32"/>
                      <a:pt x="856" y="34"/>
                      <a:pt x="854" y="37"/>
                    </a:cubicBezTo>
                    <a:cubicBezTo>
                      <a:pt x="840" y="49"/>
                      <a:pt x="839" y="46"/>
                      <a:pt x="822" y="53"/>
                    </a:cubicBezTo>
                    <a:cubicBezTo>
                      <a:pt x="816" y="55"/>
                      <a:pt x="828" y="74"/>
                      <a:pt x="815" y="68"/>
                    </a:cubicBezTo>
                    <a:cubicBezTo>
                      <a:pt x="809" y="66"/>
                      <a:pt x="805" y="59"/>
                      <a:pt x="801" y="57"/>
                    </a:cubicBezTo>
                    <a:cubicBezTo>
                      <a:pt x="798" y="56"/>
                      <a:pt x="793" y="60"/>
                      <a:pt x="790" y="58"/>
                    </a:cubicBezTo>
                    <a:cubicBezTo>
                      <a:pt x="781" y="53"/>
                      <a:pt x="789" y="45"/>
                      <a:pt x="790" y="35"/>
                    </a:cubicBezTo>
                    <a:cubicBezTo>
                      <a:pt x="791" y="30"/>
                      <a:pt x="786" y="31"/>
                      <a:pt x="781" y="31"/>
                    </a:cubicBezTo>
                    <a:cubicBezTo>
                      <a:pt x="764" y="29"/>
                      <a:pt x="775" y="25"/>
                      <a:pt x="772" y="18"/>
                    </a:cubicBezTo>
                    <a:cubicBezTo>
                      <a:pt x="764" y="0"/>
                      <a:pt x="738" y="19"/>
                      <a:pt x="735" y="19"/>
                    </a:cubicBezTo>
                    <a:cubicBezTo>
                      <a:pt x="734" y="19"/>
                      <a:pt x="713" y="9"/>
                      <a:pt x="711" y="19"/>
                    </a:cubicBezTo>
                    <a:cubicBezTo>
                      <a:pt x="709" y="27"/>
                      <a:pt x="725" y="40"/>
                      <a:pt x="725" y="51"/>
                    </a:cubicBezTo>
                    <a:cubicBezTo>
                      <a:pt x="726" y="53"/>
                      <a:pt x="725" y="55"/>
                      <a:pt x="723" y="57"/>
                    </a:cubicBezTo>
                    <a:cubicBezTo>
                      <a:pt x="718" y="63"/>
                      <a:pt x="723" y="73"/>
                      <a:pt x="721" y="69"/>
                    </a:cubicBezTo>
                    <a:cubicBezTo>
                      <a:pt x="718" y="63"/>
                      <a:pt x="715" y="63"/>
                      <a:pt x="712" y="64"/>
                    </a:cubicBezTo>
                    <a:cubicBezTo>
                      <a:pt x="702" y="68"/>
                      <a:pt x="703" y="70"/>
                      <a:pt x="707" y="74"/>
                    </a:cubicBezTo>
                    <a:cubicBezTo>
                      <a:pt x="708" y="74"/>
                      <a:pt x="710" y="78"/>
                      <a:pt x="710" y="79"/>
                    </a:cubicBezTo>
                    <a:cubicBezTo>
                      <a:pt x="707" y="81"/>
                      <a:pt x="700" y="71"/>
                      <a:pt x="698" y="72"/>
                    </a:cubicBezTo>
                    <a:cubicBezTo>
                      <a:pt x="663" y="80"/>
                      <a:pt x="686" y="57"/>
                      <a:pt x="661" y="60"/>
                    </a:cubicBezTo>
                    <a:cubicBezTo>
                      <a:pt x="643" y="62"/>
                      <a:pt x="646" y="90"/>
                      <a:pt x="637" y="99"/>
                    </a:cubicBezTo>
                    <a:cubicBezTo>
                      <a:pt x="636" y="100"/>
                      <a:pt x="635" y="97"/>
                      <a:pt x="635" y="97"/>
                    </a:cubicBezTo>
                    <a:cubicBezTo>
                      <a:pt x="634" y="92"/>
                      <a:pt x="629" y="92"/>
                      <a:pt x="624" y="92"/>
                    </a:cubicBezTo>
                    <a:cubicBezTo>
                      <a:pt x="623" y="92"/>
                      <a:pt x="621" y="92"/>
                      <a:pt x="620" y="93"/>
                    </a:cubicBezTo>
                    <a:cubicBezTo>
                      <a:pt x="620" y="94"/>
                      <a:pt x="623" y="95"/>
                      <a:pt x="624" y="95"/>
                    </a:cubicBezTo>
                    <a:cubicBezTo>
                      <a:pt x="626" y="95"/>
                      <a:pt x="625" y="106"/>
                      <a:pt x="625" y="106"/>
                    </a:cubicBezTo>
                    <a:cubicBezTo>
                      <a:pt x="625" y="106"/>
                      <a:pt x="618" y="96"/>
                      <a:pt x="617" y="94"/>
                    </a:cubicBezTo>
                    <a:cubicBezTo>
                      <a:pt x="609" y="86"/>
                      <a:pt x="602" y="74"/>
                      <a:pt x="592" y="70"/>
                    </a:cubicBezTo>
                    <a:cubicBezTo>
                      <a:pt x="576" y="64"/>
                      <a:pt x="538" y="64"/>
                      <a:pt x="559" y="92"/>
                    </a:cubicBezTo>
                    <a:cubicBezTo>
                      <a:pt x="559" y="92"/>
                      <a:pt x="559" y="92"/>
                      <a:pt x="559" y="92"/>
                    </a:cubicBezTo>
                    <a:cubicBezTo>
                      <a:pt x="561" y="95"/>
                      <a:pt x="562" y="96"/>
                      <a:pt x="564" y="98"/>
                    </a:cubicBezTo>
                    <a:cubicBezTo>
                      <a:pt x="581" y="116"/>
                      <a:pt x="570" y="124"/>
                      <a:pt x="578" y="138"/>
                    </a:cubicBezTo>
                    <a:cubicBezTo>
                      <a:pt x="578" y="139"/>
                      <a:pt x="582" y="148"/>
                      <a:pt x="578" y="147"/>
                    </a:cubicBezTo>
                    <a:cubicBezTo>
                      <a:pt x="567" y="144"/>
                      <a:pt x="571" y="120"/>
                      <a:pt x="566" y="114"/>
                    </a:cubicBezTo>
                    <a:cubicBezTo>
                      <a:pt x="557" y="103"/>
                      <a:pt x="547" y="106"/>
                      <a:pt x="536" y="97"/>
                    </a:cubicBezTo>
                    <a:cubicBezTo>
                      <a:pt x="536" y="97"/>
                      <a:pt x="536" y="95"/>
                      <a:pt x="536" y="94"/>
                    </a:cubicBezTo>
                    <a:cubicBezTo>
                      <a:pt x="540" y="77"/>
                      <a:pt x="530" y="85"/>
                      <a:pt x="525" y="79"/>
                    </a:cubicBezTo>
                    <a:cubicBezTo>
                      <a:pt x="525" y="79"/>
                      <a:pt x="533" y="66"/>
                      <a:pt x="521" y="67"/>
                    </a:cubicBezTo>
                    <a:cubicBezTo>
                      <a:pt x="519" y="67"/>
                      <a:pt x="518" y="68"/>
                      <a:pt x="516" y="69"/>
                    </a:cubicBezTo>
                    <a:cubicBezTo>
                      <a:pt x="512" y="74"/>
                      <a:pt x="511" y="69"/>
                      <a:pt x="514" y="65"/>
                    </a:cubicBezTo>
                    <a:cubicBezTo>
                      <a:pt x="515" y="64"/>
                      <a:pt x="515" y="63"/>
                      <a:pt x="513" y="63"/>
                    </a:cubicBezTo>
                    <a:cubicBezTo>
                      <a:pt x="503" y="61"/>
                      <a:pt x="510" y="67"/>
                      <a:pt x="503" y="70"/>
                    </a:cubicBezTo>
                    <a:cubicBezTo>
                      <a:pt x="501" y="72"/>
                      <a:pt x="498" y="63"/>
                      <a:pt x="495" y="65"/>
                    </a:cubicBezTo>
                    <a:cubicBezTo>
                      <a:pt x="495" y="65"/>
                      <a:pt x="495" y="65"/>
                      <a:pt x="495" y="65"/>
                    </a:cubicBezTo>
                    <a:cubicBezTo>
                      <a:pt x="493" y="66"/>
                      <a:pt x="489" y="67"/>
                      <a:pt x="488" y="70"/>
                    </a:cubicBezTo>
                    <a:cubicBezTo>
                      <a:pt x="486" y="74"/>
                      <a:pt x="494" y="80"/>
                      <a:pt x="490" y="82"/>
                    </a:cubicBezTo>
                    <a:cubicBezTo>
                      <a:pt x="487" y="84"/>
                      <a:pt x="454" y="66"/>
                      <a:pt x="458" y="92"/>
                    </a:cubicBezTo>
                    <a:cubicBezTo>
                      <a:pt x="457" y="97"/>
                      <a:pt x="450" y="94"/>
                      <a:pt x="449" y="99"/>
                    </a:cubicBezTo>
                    <a:cubicBezTo>
                      <a:pt x="449" y="104"/>
                      <a:pt x="471" y="126"/>
                      <a:pt x="457" y="133"/>
                    </a:cubicBezTo>
                    <a:cubicBezTo>
                      <a:pt x="452" y="136"/>
                      <a:pt x="455" y="130"/>
                      <a:pt x="448" y="129"/>
                    </a:cubicBezTo>
                    <a:cubicBezTo>
                      <a:pt x="445" y="128"/>
                      <a:pt x="446" y="136"/>
                      <a:pt x="438" y="131"/>
                    </a:cubicBezTo>
                    <a:cubicBezTo>
                      <a:pt x="438" y="131"/>
                      <a:pt x="438" y="131"/>
                      <a:pt x="438" y="131"/>
                    </a:cubicBezTo>
                    <a:cubicBezTo>
                      <a:pt x="435" y="126"/>
                      <a:pt x="436" y="119"/>
                      <a:pt x="433" y="114"/>
                    </a:cubicBezTo>
                    <a:cubicBezTo>
                      <a:pt x="427" y="105"/>
                      <a:pt x="414" y="110"/>
                      <a:pt x="406" y="87"/>
                    </a:cubicBezTo>
                    <a:cubicBezTo>
                      <a:pt x="406" y="87"/>
                      <a:pt x="406" y="87"/>
                      <a:pt x="406" y="87"/>
                    </a:cubicBezTo>
                    <a:cubicBezTo>
                      <a:pt x="402" y="78"/>
                      <a:pt x="399" y="73"/>
                      <a:pt x="397" y="74"/>
                    </a:cubicBezTo>
                    <a:cubicBezTo>
                      <a:pt x="390" y="76"/>
                      <a:pt x="369" y="75"/>
                      <a:pt x="368" y="80"/>
                    </a:cubicBezTo>
                    <a:cubicBezTo>
                      <a:pt x="363" y="113"/>
                      <a:pt x="396" y="128"/>
                      <a:pt x="373" y="163"/>
                    </a:cubicBezTo>
                    <a:cubicBezTo>
                      <a:pt x="371" y="165"/>
                      <a:pt x="371" y="154"/>
                      <a:pt x="369" y="155"/>
                    </a:cubicBezTo>
                    <a:cubicBezTo>
                      <a:pt x="350" y="159"/>
                      <a:pt x="375" y="163"/>
                      <a:pt x="366" y="170"/>
                    </a:cubicBezTo>
                    <a:cubicBezTo>
                      <a:pt x="359" y="175"/>
                      <a:pt x="355" y="162"/>
                      <a:pt x="355" y="160"/>
                    </a:cubicBezTo>
                    <a:cubicBezTo>
                      <a:pt x="355" y="157"/>
                      <a:pt x="351" y="163"/>
                      <a:pt x="349" y="163"/>
                    </a:cubicBezTo>
                    <a:cubicBezTo>
                      <a:pt x="344" y="161"/>
                      <a:pt x="356" y="140"/>
                      <a:pt x="346" y="140"/>
                    </a:cubicBezTo>
                    <a:cubicBezTo>
                      <a:pt x="324" y="138"/>
                      <a:pt x="313" y="174"/>
                      <a:pt x="325" y="192"/>
                    </a:cubicBezTo>
                    <a:cubicBezTo>
                      <a:pt x="325" y="192"/>
                      <a:pt x="325" y="192"/>
                      <a:pt x="325" y="193"/>
                    </a:cubicBezTo>
                    <a:cubicBezTo>
                      <a:pt x="322" y="197"/>
                      <a:pt x="312" y="174"/>
                      <a:pt x="309" y="176"/>
                    </a:cubicBezTo>
                    <a:cubicBezTo>
                      <a:pt x="305" y="177"/>
                      <a:pt x="311" y="190"/>
                      <a:pt x="311" y="193"/>
                    </a:cubicBezTo>
                    <a:cubicBezTo>
                      <a:pt x="311" y="199"/>
                      <a:pt x="305" y="203"/>
                      <a:pt x="309" y="208"/>
                    </a:cubicBezTo>
                    <a:cubicBezTo>
                      <a:pt x="311" y="211"/>
                      <a:pt x="311" y="223"/>
                      <a:pt x="308" y="220"/>
                    </a:cubicBezTo>
                    <a:cubicBezTo>
                      <a:pt x="306" y="218"/>
                      <a:pt x="308" y="214"/>
                      <a:pt x="306" y="211"/>
                    </a:cubicBezTo>
                    <a:cubicBezTo>
                      <a:pt x="296" y="200"/>
                      <a:pt x="305" y="178"/>
                      <a:pt x="292" y="172"/>
                    </a:cubicBezTo>
                    <a:cubicBezTo>
                      <a:pt x="287" y="170"/>
                      <a:pt x="279" y="180"/>
                      <a:pt x="274" y="178"/>
                    </a:cubicBezTo>
                    <a:cubicBezTo>
                      <a:pt x="274" y="178"/>
                      <a:pt x="279" y="175"/>
                      <a:pt x="279" y="174"/>
                    </a:cubicBezTo>
                    <a:cubicBezTo>
                      <a:pt x="284" y="171"/>
                      <a:pt x="290" y="167"/>
                      <a:pt x="290" y="161"/>
                    </a:cubicBezTo>
                    <a:cubicBezTo>
                      <a:pt x="290" y="143"/>
                      <a:pt x="277" y="164"/>
                      <a:pt x="274" y="160"/>
                    </a:cubicBezTo>
                    <a:cubicBezTo>
                      <a:pt x="272" y="158"/>
                      <a:pt x="283" y="152"/>
                      <a:pt x="281" y="149"/>
                    </a:cubicBezTo>
                    <a:cubicBezTo>
                      <a:pt x="275" y="140"/>
                      <a:pt x="265" y="156"/>
                      <a:pt x="255" y="132"/>
                    </a:cubicBezTo>
                    <a:cubicBezTo>
                      <a:pt x="254" y="131"/>
                      <a:pt x="247" y="129"/>
                      <a:pt x="247" y="128"/>
                    </a:cubicBezTo>
                    <a:cubicBezTo>
                      <a:pt x="255" y="116"/>
                      <a:pt x="269" y="158"/>
                      <a:pt x="287" y="133"/>
                    </a:cubicBezTo>
                    <a:cubicBezTo>
                      <a:pt x="289" y="130"/>
                      <a:pt x="274" y="133"/>
                      <a:pt x="274" y="129"/>
                    </a:cubicBezTo>
                    <a:cubicBezTo>
                      <a:pt x="275" y="121"/>
                      <a:pt x="289" y="122"/>
                      <a:pt x="292" y="115"/>
                    </a:cubicBezTo>
                    <a:cubicBezTo>
                      <a:pt x="292" y="114"/>
                      <a:pt x="290" y="113"/>
                      <a:pt x="289" y="113"/>
                    </a:cubicBezTo>
                    <a:cubicBezTo>
                      <a:pt x="286" y="111"/>
                      <a:pt x="292" y="103"/>
                      <a:pt x="289" y="102"/>
                    </a:cubicBezTo>
                    <a:cubicBezTo>
                      <a:pt x="287" y="102"/>
                      <a:pt x="278" y="104"/>
                      <a:pt x="278" y="103"/>
                    </a:cubicBezTo>
                    <a:cubicBezTo>
                      <a:pt x="278" y="102"/>
                      <a:pt x="282" y="100"/>
                      <a:pt x="283" y="99"/>
                    </a:cubicBezTo>
                    <a:cubicBezTo>
                      <a:pt x="283" y="99"/>
                      <a:pt x="283" y="99"/>
                      <a:pt x="283" y="99"/>
                    </a:cubicBezTo>
                    <a:cubicBezTo>
                      <a:pt x="277" y="97"/>
                      <a:pt x="264" y="97"/>
                      <a:pt x="272" y="97"/>
                    </a:cubicBezTo>
                    <a:cubicBezTo>
                      <a:pt x="275" y="97"/>
                      <a:pt x="277" y="96"/>
                      <a:pt x="280" y="95"/>
                    </a:cubicBezTo>
                    <a:cubicBezTo>
                      <a:pt x="282" y="95"/>
                      <a:pt x="289" y="96"/>
                      <a:pt x="288" y="93"/>
                    </a:cubicBezTo>
                    <a:cubicBezTo>
                      <a:pt x="288" y="93"/>
                      <a:pt x="288" y="93"/>
                      <a:pt x="288" y="93"/>
                    </a:cubicBezTo>
                    <a:cubicBezTo>
                      <a:pt x="283" y="85"/>
                      <a:pt x="276" y="93"/>
                      <a:pt x="270" y="90"/>
                    </a:cubicBezTo>
                    <a:cubicBezTo>
                      <a:pt x="268" y="89"/>
                      <a:pt x="272" y="71"/>
                      <a:pt x="260" y="80"/>
                    </a:cubicBezTo>
                    <a:cubicBezTo>
                      <a:pt x="260" y="80"/>
                      <a:pt x="262" y="85"/>
                      <a:pt x="262" y="87"/>
                    </a:cubicBezTo>
                    <a:cubicBezTo>
                      <a:pt x="261" y="88"/>
                      <a:pt x="259" y="91"/>
                      <a:pt x="257" y="90"/>
                    </a:cubicBezTo>
                    <a:cubicBezTo>
                      <a:pt x="254" y="87"/>
                      <a:pt x="255" y="70"/>
                      <a:pt x="250" y="65"/>
                    </a:cubicBezTo>
                    <a:cubicBezTo>
                      <a:pt x="246" y="60"/>
                      <a:pt x="233" y="61"/>
                      <a:pt x="229" y="61"/>
                    </a:cubicBezTo>
                    <a:cubicBezTo>
                      <a:pt x="228" y="61"/>
                      <a:pt x="231" y="59"/>
                      <a:pt x="232" y="59"/>
                    </a:cubicBezTo>
                    <a:cubicBezTo>
                      <a:pt x="236" y="56"/>
                      <a:pt x="225" y="49"/>
                      <a:pt x="220" y="49"/>
                    </a:cubicBezTo>
                    <a:cubicBezTo>
                      <a:pt x="219" y="48"/>
                      <a:pt x="209" y="54"/>
                      <a:pt x="207" y="51"/>
                    </a:cubicBezTo>
                    <a:cubicBezTo>
                      <a:pt x="205" y="48"/>
                      <a:pt x="212" y="43"/>
                      <a:pt x="209" y="41"/>
                    </a:cubicBezTo>
                    <a:cubicBezTo>
                      <a:pt x="192" y="28"/>
                      <a:pt x="196" y="17"/>
                      <a:pt x="187" y="21"/>
                    </a:cubicBezTo>
                    <a:cubicBezTo>
                      <a:pt x="185" y="22"/>
                      <a:pt x="192" y="25"/>
                      <a:pt x="188" y="27"/>
                    </a:cubicBezTo>
                    <a:cubicBezTo>
                      <a:pt x="185" y="29"/>
                      <a:pt x="185" y="26"/>
                      <a:pt x="184" y="26"/>
                    </a:cubicBezTo>
                    <a:cubicBezTo>
                      <a:pt x="171" y="19"/>
                      <a:pt x="174" y="31"/>
                      <a:pt x="164" y="28"/>
                    </a:cubicBezTo>
                    <a:cubicBezTo>
                      <a:pt x="162" y="27"/>
                      <a:pt x="146" y="17"/>
                      <a:pt x="143" y="21"/>
                    </a:cubicBezTo>
                    <a:cubicBezTo>
                      <a:pt x="143" y="22"/>
                      <a:pt x="151" y="26"/>
                      <a:pt x="151" y="27"/>
                    </a:cubicBezTo>
                    <a:cubicBezTo>
                      <a:pt x="151" y="28"/>
                      <a:pt x="137" y="20"/>
                      <a:pt x="137" y="29"/>
                    </a:cubicBezTo>
                    <a:cubicBezTo>
                      <a:pt x="137" y="29"/>
                      <a:pt x="129" y="23"/>
                      <a:pt x="127" y="27"/>
                    </a:cubicBezTo>
                    <a:cubicBezTo>
                      <a:pt x="125" y="30"/>
                      <a:pt x="137" y="29"/>
                      <a:pt x="136" y="33"/>
                    </a:cubicBezTo>
                    <a:cubicBezTo>
                      <a:pt x="135" y="40"/>
                      <a:pt x="121" y="38"/>
                      <a:pt x="122" y="38"/>
                    </a:cubicBezTo>
                    <a:cubicBezTo>
                      <a:pt x="122" y="44"/>
                      <a:pt x="140" y="49"/>
                      <a:pt x="144" y="47"/>
                    </a:cubicBezTo>
                    <a:cubicBezTo>
                      <a:pt x="150" y="44"/>
                      <a:pt x="179" y="30"/>
                      <a:pt x="167" y="43"/>
                    </a:cubicBezTo>
                    <a:cubicBezTo>
                      <a:pt x="165" y="45"/>
                      <a:pt x="163" y="47"/>
                      <a:pt x="167" y="48"/>
                    </a:cubicBezTo>
                    <a:cubicBezTo>
                      <a:pt x="176" y="51"/>
                      <a:pt x="181" y="43"/>
                      <a:pt x="185" y="45"/>
                    </a:cubicBezTo>
                    <a:cubicBezTo>
                      <a:pt x="186" y="45"/>
                      <a:pt x="170" y="51"/>
                      <a:pt x="182" y="52"/>
                    </a:cubicBezTo>
                    <a:cubicBezTo>
                      <a:pt x="217" y="55"/>
                      <a:pt x="154" y="55"/>
                      <a:pt x="139" y="58"/>
                    </a:cubicBezTo>
                    <a:cubicBezTo>
                      <a:pt x="134" y="59"/>
                      <a:pt x="159" y="71"/>
                      <a:pt x="165" y="73"/>
                    </a:cubicBezTo>
                    <a:cubicBezTo>
                      <a:pt x="177" y="79"/>
                      <a:pt x="179" y="83"/>
                      <a:pt x="186" y="81"/>
                    </a:cubicBezTo>
                    <a:cubicBezTo>
                      <a:pt x="187" y="81"/>
                      <a:pt x="194" y="78"/>
                      <a:pt x="194" y="79"/>
                    </a:cubicBezTo>
                    <a:cubicBezTo>
                      <a:pt x="194" y="85"/>
                      <a:pt x="180" y="81"/>
                      <a:pt x="188" y="91"/>
                    </a:cubicBezTo>
                    <a:cubicBezTo>
                      <a:pt x="192" y="96"/>
                      <a:pt x="201" y="104"/>
                      <a:pt x="196" y="107"/>
                    </a:cubicBezTo>
                    <a:cubicBezTo>
                      <a:pt x="195" y="107"/>
                      <a:pt x="179" y="124"/>
                      <a:pt x="188" y="113"/>
                    </a:cubicBezTo>
                    <a:cubicBezTo>
                      <a:pt x="194" y="106"/>
                      <a:pt x="187" y="105"/>
                      <a:pt x="187" y="105"/>
                    </a:cubicBezTo>
                    <a:cubicBezTo>
                      <a:pt x="187" y="105"/>
                      <a:pt x="183" y="96"/>
                      <a:pt x="181" y="97"/>
                    </a:cubicBezTo>
                    <a:cubicBezTo>
                      <a:pt x="181" y="97"/>
                      <a:pt x="170" y="120"/>
                      <a:pt x="169" y="119"/>
                    </a:cubicBezTo>
                    <a:cubicBezTo>
                      <a:pt x="165" y="115"/>
                      <a:pt x="187" y="88"/>
                      <a:pt x="167" y="84"/>
                    </a:cubicBezTo>
                    <a:cubicBezTo>
                      <a:pt x="155" y="82"/>
                      <a:pt x="158" y="107"/>
                      <a:pt x="154" y="106"/>
                    </a:cubicBezTo>
                    <a:cubicBezTo>
                      <a:pt x="154" y="106"/>
                      <a:pt x="154" y="98"/>
                      <a:pt x="154" y="96"/>
                    </a:cubicBezTo>
                    <a:cubicBezTo>
                      <a:pt x="154" y="95"/>
                      <a:pt x="144" y="101"/>
                      <a:pt x="145" y="101"/>
                    </a:cubicBezTo>
                    <a:cubicBezTo>
                      <a:pt x="155" y="91"/>
                      <a:pt x="149" y="93"/>
                      <a:pt x="147" y="90"/>
                    </a:cubicBezTo>
                    <a:cubicBezTo>
                      <a:pt x="146" y="87"/>
                      <a:pt x="145" y="83"/>
                      <a:pt x="143" y="88"/>
                    </a:cubicBezTo>
                    <a:cubicBezTo>
                      <a:pt x="139" y="98"/>
                      <a:pt x="135" y="102"/>
                      <a:pt x="140" y="89"/>
                    </a:cubicBezTo>
                    <a:cubicBezTo>
                      <a:pt x="143" y="81"/>
                      <a:pt x="101" y="51"/>
                      <a:pt x="86" y="68"/>
                    </a:cubicBezTo>
                    <a:cubicBezTo>
                      <a:pt x="81" y="74"/>
                      <a:pt x="96" y="70"/>
                      <a:pt x="98" y="73"/>
                    </a:cubicBezTo>
                    <a:cubicBezTo>
                      <a:pt x="100" y="75"/>
                      <a:pt x="106" y="79"/>
                      <a:pt x="103" y="78"/>
                    </a:cubicBezTo>
                    <a:cubicBezTo>
                      <a:pt x="101" y="77"/>
                      <a:pt x="77" y="70"/>
                      <a:pt x="79" y="76"/>
                    </a:cubicBezTo>
                    <a:cubicBezTo>
                      <a:pt x="82" y="82"/>
                      <a:pt x="108" y="87"/>
                      <a:pt x="105" y="95"/>
                    </a:cubicBezTo>
                    <a:cubicBezTo>
                      <a:pt x="105" y="96"/>
                      <a:pt x="102" y="93"/>
                      <a:pt x="102" y="93"/>
                    </a:cubicBezTo>
                    <a:cubicBezTo>
                      <a:pt x="99" y="89"/>
                      <a:pt x="62" y="74"/>
                      <a:pt x="65" y="91"/>
                    </a:cubicBezTo>
                    <a:cubicBezTo>
                      <a:pt x="68" y="100"/>
                      <a:pt x="95" y="112"/>
                      <a:pt x="103" y="113"/>
                    </a:cubicBezTo>
                    <a:cubicBezTo>
                      <a:pt x="109" y="113"/>
                      <a:pt x="124" y="114"/>
                      <a:pt x="119" y="117"/>
                    </a:cubicBezTo>
                    <a:cubicBezTo>
                      <a:pt x="117" y="120"/>
                      <a:pt x="67" y="103"/>
                      <a:pt x="64" y="106"/>
                    </a:cubicBezTo>
                    <a:cubicBezTo>
                      <a:pt x="48" y="117"/>
                      <a:pt x="82" y="130"/>
                      <a:pt x="90" y="131"/>
                    </a:cubicBezTo>
                    <a:cubicBezTo>
                      <a:pt x="97" y="131"/>
                      <a:pt x="109" y="131"/>
                      <a:pt x="116" y="128"/>
                    </a:cubicBezTo>
                    <a:cubicBezTo>
                      <a:pt x="117" y="128"/>
                      <a:pt x="121" y="125"/>
                      <a:pt x="121" y="127"/>
                    </a:cubicBezTo>
                    <a:cubicBezTo>
                      <a:pt x="125" y="137"/>
                      <a:pt x="90" y="129"/>
                      <a:pt x="90" y="136"/>
                    </a:cubicBezTo>
                    <a:cubicBezTo>
                      <a:pt x="90" y="147"/>
                      <a:pt x="111" y="139"/>
                      <a:pt x="113" y="142"/>
                    </a:cubicBezTo>
                    <a:cubicBezTo>
                      <a:pt x="114" y="143"/>
                      <a:pt x="109" y="144"/>
                      <a:pt x="109" y="144"/>
                    </a:cubicBezTo>
                    <a:cubicBezTo>
                      <a:pt x="102" y="145"/>
                      <a:pt x="88" y="157"/>
                      <a:pt x="89" y="147"/>
                    </a:cubicBezTo>
                    <a:cubicBezTo>
                      <a:pt x="90" y="141"/>
                      <a:pt x="45" y="118"/>
                      <a:pt x="40" y="122"/>
                    </a:cubicBezTo>
                    <a:cubicBezTo>
                      <a:pt x="27" y="132"/>
                      <a:pt x="54" y="144"/>
                      <a:pt x="59" y="147"/>
                    </a:cubicBezTo>
                    <a:cubicBezTo>
                      <a:pt x="59" y="147"/>
                      <a:pt x="67" y="152"/>
                      <a:pt x="67" y="153"/>
                    </a:cubicBezTo>
                    <a:cubicBezTo>
                      <a:pt x="64" y="155"/>
                      <a:pt x="45" y="141"/>
                      <a:pt x="42" y="147"/>
                    </a:cubicBezTo>
                    <a:cubicBezTo>
                      <a:pt x="39" y="151"/>
                      <a:pt x="62" y="164"/>
                      <a:pt x="65" y="164"/>
                    </a:cubicBezTo>
                    <a:cubicBezTo>
                      <a:pt x="65" y="164"/>
                      <a:pt x="67" y="164"/>
                      <a:pt x="67" y="164"/>
                    </a:cubicBezTo>
                    <a:cubicBezTo>
                      <a:pt x="59" y="176"/>
                      <a:pt x="30" y="142"/>
                      <a:pt x="20" y="148"/>
                    </a:cubicBezTo>
                    <a:cubicBezTo>
                      <a:pt x="15" y="151"/>
                      <a:pt x="19" y="158"/>
                      <a:pt x="15" y="160"/>
                    </a:cubicBezTo>
                    <a:cubicBezTo>
                      <a:pt x="14" y="161"/>
                      <a:pt x="0" y="166"/>
                      <a:pt x="1" y="169"/>
                    </a:cubicBezTo>
                    <a:cubicBezTo>
                      <a:pt x="2" y="172"/>
                      <a:pt x="34" y="170"/>
                      <a:pt x="39" y="171"/>
                    </a:cubicBezTo>
                    <a:cubicBezTo>
                      <a:pt x="40" y="172"/>
                      <a:pt x="48" y="175"/>
                      <a:pt x="48" y="175"/>
                    </a:cubicBezTo>
                    <a:cubicBezTo>
                      <a:pt x="48" y="175"/>
                      <a:pt x="49" y="183"/>
                      <a:pt x="58" y="184"/>
                    </a:cubicBezTo>
                    <a:cubicBezTo>
                      <a:pt x="72" y="184"/>
                      <a:pt x="96" y="172"/>
                      <a:pt x="102" y="166"/>
                    </a:cubicBezTo>
                    <a:cubicBezTo>
                      <a:pt x="103" y="166"/>
                      <a:pt x="118" y="178"/>
                      <a:pt x="122" y="167"/>
                    </a:cubicBezTo>
                    <a:cubicBezTo>
                      <a:pt x="123" y="164"/>
                      <a:pt x="118" y="161"/>
                      <a:pt x="123" y="157"/>
                    </a:cubicBezTo>
                    <a:cubicBezTo>
                      <a:pt x="127" y="154"/>
                      <a:pt x="132" y="165"/>
                      <a:pt x="137" y="163"/>
                    </a:cubicBezTo>
                    <a:cubicBezTo>
                      <a:pt x="142" y="161"/>
                      <a:pt x="151" y="148"/>
                      <a:pt x="157" y="154"/>
                    </a:cubicBezTo>
                    <a:cubicBezTo>
                      <a:pt x="158" y="156"/>
                      <a:pt x="148" y="163"/>
                      <a:pt x="149" y="163"/>
                    </a:cubicBezTo>
                    <a:cubicBezTo>
                      <a:pt x="152" y="164"/>
                      <a:pt x="160" y="170"/>
                      <a:pt x="163" y="169"/>
                    </a:cubicBezTo>
                    <a:cubicBezTo>
                      <a:pt x="166" y="168"/>
                      <a:pt x="158" y="151"/>
                      <a:pt x="160" y="150"/>
                    </a:cubicBezTo>
                    <a:cubicBezTo>
                      <a:pt x="172" y="142"/>
                      <a:pt x="161" y="166"/>
                      <a:pt x="171" y="164"/>
                    </a:cubicBezTo>
                    <a:cubicBezTo>
                      <a:pt x="174" y="164"/>
                      <a:pt x="179" y="162"/>
                      <a:pt x="178" y="155"/>
                    </a:cubicBezTo>
                    <a:cubicBezTo>
                      <a:pt x="178" y="154"/>
                      <a:pt x="178" y="149"/>
                      <a:pt x="178" y="149"/>
                    </a:cubicBezTo>
                    <a:cubicBezTo>
                      <a:pt x="184" y="148"/>
                      <a:pt x="182" y="168"/>
                      <a:pt x="184" y="168"/>
                    </a:cubicBezTo>
                    <a:cubicBezTo>
                      <a:pt x="190" y="171"/>
                      <a:pt x="191" y="162"/>
                      <a:pt x="191" y="162"/>
                    </a:cubicBezTo>
                    <a:cubicBezTo>
                      <a:pt x="204" y="156"/>
                      <a:pt x="195" y="167"/>
                      <a:pt x="204" y="163"/>
                    </a:cubicBezTo>
                    <a:cubicBezTo>
                      <a:pt x="206" y="163"/>
                      <a:pt x="209" y="161"/>
                      <a:pt x="211" y="159"/>
                    </a:cubicBezTo>
                    <a:cubicBezTo>
                      <a:pt x="213" y="157"/>
                      <a:pt x="214" y="152"/>
                      <a:pt x="218" y="154"/>
                    </a:cubicBezTo>
                    <a:cubicBezTo>
                      <a:pt x="225" y="159"/>
                      <a:pt x="191" y="169"/>
                      <a:pt x="193" y="172"/>
                    </a:cubicBezTo>
                    <a:cubicBezTo>
                      <a:pt x="207" y="193"/>
                      <a:pt x="216" y="165"/>
                      <a:pt x="218" y="165"/>
                    </a:cubicBezTo>
                    <a:cubicBezTo>
                      <a:pt x="220" y="165"/>
                      <a:pt x="221" y="171"/>
                      <a:pt x="221" y="172"/>
                    </a:cubicBezTo>
                    <a:cubicBezTo>
                      <a:pt x="223" y="175"/>
                      <a:pt x="229" y="171"/>
                      <a:pt x="232" y="173"/>
                    </a:cubicBezTo>
                    <a:cubicBezTo>
                      <a:pt x="234" y="174"/>
                      <a:pt x="228" y="178"/>
                      <a:pt x="230" y="179"/>
                    </a:cubicBezTo>
                    <a:cubicBezTo>
                      <a:pt x="233" y="179"/>
                      <a:pt x="246" y="179"/>
                      <a:pt x="248" y="178"/>
                    </a:cubicBezTo>
                    <a:cubicBezTo>
                      <a:pt x="249" y="178"/>
                      <a:pt x="255" y="176"/>
                      <a:pt x="255" y="177"/>
                    </a:cubicBezTo>
                    <a:cubicBezTo>
                      <a:pt x="253" y="179"/>
                      <a:pt x="245" y="182"/>
                      <a:pt x="242" y="182"/>
                    </a:cubicBezTo>
                    <a:cubicBezTo>
                      <a:pt x="227" y="184"/>
                      <a:pt x="190" y="202"/>
                      <a:pt x="178" y="216"/>
                    </a:cubicBezTo>
                    <a:cubicBezTo>
                      <a:pt x="178" y="216"/>
                      <a:pt x="178" y="218"/>
                      <a:pt x="178" y="219"/>
                    </a:cubicBezTo>
                    <a:cubicBezTo>
                      <a:pt x="176" y="221"/>
                      <a:pt x="183" y="221"/>
                      <a:pt x="184" y="221"/>
                    </a:cubicBezTo>
                    <a:cubicBezTo>
                      <a:pt x="192" y="222"/>
                      <a:pt x="212" y="231"/>
                      <a:pt x="221" y="229"/>
                    </a:cubicBezTo>
                    <a:cubicBezTo>
                      <a:pt x="239" y="224"/>
                      <a:pt x="255" y="202"/>
                      <a:pt x="247" y="229"/>
                    </a:cubicBezTo>
                    <a:cubicBezTo>
                      <a:pt x="245" y="233"/>
                      <a:pt x="246" y="238"/>
                      <a:pt x="246" y="239"/>
                    </a:cubicBezTo>
                    <a:cubicBezTo>
                      <a:pt x="243" y="245"/>
                      <a:pt x="188" y="234"/>
                      <a:pt x="177" y="238"/>
                    </a:cubicBezTo>
                    <a:cubicBezTo>
                      <a:pt x="174" y="240"/>
                      <a:pt x="179" y="249"/>
                      <a:pt x="176" y="249"/>
                    </a:cubicBezTo>
                    <a:cubicBezTo>
                      <a:pt x="162" y="249"/>
                      <a:pt x="165" y="234"/>
                      <a:pt x="163" y="233"/>
                    </a:cubicBezTo>
                    <a:cubicBezTo>
                      <a:pt x="150" y="231"/>
                      <a:pt x="155" y="243"/>
                      <a:pt x="152" y="244"/>
                    </a:cubicBezTo>
                    <a:cubicBezTo>
                      <a:pt x="146" y="246"/>
                      <a:pt x="139" y="241"/>
                      <a:pt x="136" y="245"/>
                    </a:cubicBezTo>
                    <a:cubicBezTo>
                      <a:pt x="133" y="248"/>
                      <a:pt x="134" y="257"/>
                      <a:pt x="129" y="257"/>
                    </a:cubicBezTo>
                    <a:cubicBezTo>
                      <a:pt x="119" y="257"/>
                      <a:pt x="130" y="246"/>
                      <a:pt x="131" y="244"/>
                    </a:cubicBezTo>
                    <a:cubicBezTo>
                      <a:pt x="131" y="244"/>
                      <a:pt x="124" y="243"/>
                      <a:pt x="122" y="242"/>
                    </a:cubicBezTo>
                    <a:cubicBezTo>
                      <a:pt x="115" y="241"/>
                      <a:pt x="118" y="254"/>
                      <a:pt x="118" y="256"/>
                    </a:cubicBezTo>
                    <a:cubicBezTo>
                      <a:pt x="115" y="261"/>
                      <a:pt x="112" y="253"/>
                      <a:pt x="112" y="253"/>
                    </a:cubicBezTo>
                    <a:cubicBezTo>
                      <a:pt x="107" y="244"/>
                      <a:pt x="92" y="259"/>
                      <a:pt x="81" y="261"/>
                    </a:cubicBezTo>
                    <a:cubicBezTo>
                      <a:pt x="70" y="263"/>
                      <a:pt x="53" y="249"/>
                      <a:pt x="44" y="262"/>
                    </a:cubicBezTo>
                    <a:cubicBezTo>
                      <a:pt x="40" y="267"/>
                      <a:pt x="59" y="286"/>
                      <a:pt x="64" y="286"/>
                    </a:cubicBezTo>
                    <a:cubicBezTo>
                      <a:pt x="88" y="286"/>
                      <a:pt x="85" y="273"/>
                      <a:pt x="112" y="271"/>
                    </a:cubicBezTo>
                    <a:cubicBezTo>
                      <a:pt x="123" y="270"/>
                      <a:pt x="160" y="281"/>
                      <a:pt x="163" y="279"/>
                    </a:cubicBezTo>
                    <a:cubicBezTo>
                      <a:pt x="164" y="278"/>
                      <a:pt x="160" y="276"/>
                      <a:pt x="160" y="275"/>
                    </a:cubicBezTo>
                    <a:cubicBezTo>
                      <a:pt x="162" y="270"/>
                      <a:pt x="167" y="278"/>
                      <a:pt x="170" y="278"/>
                    </a:cubicBezTo>
                    <a:cubicBezTo>
                      <a:pt x="171" y="278"/>
                      <a:pt x="175" y="277"/>
                      <a:pt x="177" y="276"/>
                    </a:cubicBezTo>
                    <a:cubicBezTo>
                      <a:pt x="184" y="273"/>
                      <a:pt x="198" y="279"/>
                      <a:pt x="199" y="282"/>
                    </a:cubicBezTo>
                    <a:cubicBezTo>
                      <a:pt x="200" y="285"/>
                      <a:pt x="192" y="291"/>
                      <a:pt x="194" y="292"/>
                    </a:cubicBezTo>
                    <a:cubicBezTo>
                      <a:pt x="196" y="293"/>
                      <a:pt x="207" y="284"/>
                      <a:pt x="211" y="285"/>
                    </a:cubicBezTo>
                    <a:cubicBezTo>
                      <a:pt x="212" y="286"/>
                      <a:pt x="203" y="291"/>
                      <a:pt x="203" y="292"/>
                    </a:cubicBezTo>
                    <a:cubicBezTo>
                      <a:pt x="200" y="293"/>
                      <a:pt x="200" y="297"/>
                      <a:pt x="196" y="298"/>
                    </a:cubicBezTo>
                    <a:cubicBezTo>
                      <a:pt x="194" y="299"/>
                      <a:pt x="189" y="293"/>
                      <a:pt x="188" y="296"/>
                    </a:cubicBezTo>
                    <a:cubicBezTo>
                      <a:pt x="188" y="297"/>
                      <a:pt x="193" y="301"/>
                      <a:pt x="193" y="302"/>
                    </a:cubicBezTo>
                    <a:cubicBezTo>
                      <a:pt x="194" y="303"/>
                      <a:pt x="197" y="302"/>
                      <a:pt x="197" y="304"/>
                    </a:cubicBezTo>
                    <a:cubicBezTo>
                      <a:pt x="197" y="304"/>
                      <a:pt x="195" y="305"/>
                      <a:pt x="196" y="306"/>
                    </a:cubicBezTo>
                    <a:cubicBezTo>
                      <a:pt x="197" y="317"/>
                      <a:pt x="200" y="307"/>
                      <a:pt x="206" y="309"/>
                    </a:cubicBezTo>
                    <a:cubicBezTo>
                      <a:pt x="210" y="311"/>
                      <a:pt x="205" y="318"/>
                      <a:pt x="205" y="322"/>
                    </a:cubicBezTo>
                    <a:cubicBezTo>
                      <a:pt x="205" y="325"/>
                      <a:pt x="210" y="325"/>
                      <a:pt x="212" y="327"/>
                    </a:cubicBezTo>
                    <a:cubicBezTo>
                      <a:pt x="215" y="333"/>
                      <a:pt x="218" y="311"/>
                      <a:pt x="225" y="310"/>
                    </a:cubicBezTo>
                    <a:cubicBezTo>
                      <a:pt x="227" y="310"/>
                      <a:pt x="222" y="318"/>
                      <a:pt x="226" y="317"/>
                    </a:cubicBezTo>
                    <a:cubicBezTo>
                      <a:pt x="235" y="315"/>
                      <a:pt x="246" y="309"/>
                      <a:pt x="250" y="301"/>
                    </a:cubicBezTo>
                    <a:cubicBezTo>
                      <a:pt x="255" y="292"/>
                      <a:pt x="255" y="299"/>
                      <a:pt x="255" y="300"/>
                    </a:cubicBezTo>
                    <a:cubicBezTo>
                      <a:pt x="255" y="300"/>
                      <a:pt x="270" y="294"/>
                      <a:pt x="272" y="298"/>
                    </a:cubicBezTo>
                    <a:cubicBezTo>
                      <a:pt x="273" y="303"/>
                      <a:pt x="255" y="299"/>
                      <a:pt x="257" y="303"/>
                    </a:cubicBezTo>
                    <a:cubicBezTo>
                      <a:pt x="259" y="306"/>
                      <a:pt x="262" y="303"/>
                      <a:pt x="266" y="308"/>
                    </a:cubicBezTo>
                    <a:cubicBezTo>
                      <a:pt x="268" y="309"/>
                      <a:pt x="275" y="309"/>
                      <a:pt x="273" y="310"/>
                    </a:cubicBezTo>
                    <a:cubicBezTo>
                      <a:pt x="270" y="311"/>
                      <a:pt x="264" y="311"/>
                      <a:pt x="263" y="309"/>
                    </a:cubicBezTo>
                    <a:cubicBezTo>
                      <a:pt x="258" y="299"/>
                      <a:pt x="220" y="327"/>
                      <a:pt x="224" y="336"/>
                    </a:cubicBezTo>
                    <a:cubicBezTo>
                      <a:pt x="226" y="341"/>
                      <a:pt x="242" y="332"/>
                      <a:pt x="240" y="337"/>
                    </a:cubicBezTo>
                    <a:cubicBezTo>
                      <a:pt x="238" y="342"/>
                      <a:pt x="220" y="341"/>
                      <a:pt x="219" y="348"/>
                    </a:cubicBezTo>
                    <a:cubicBezTo>
                      <a:pt x="218" y="351"/>
                      <a:pt x="233" y="350"/>
                      <a:pt x="235" y="349"/>
                    </a:cubicBezTo>
                    <a:cubicBezTo>
                      <a:pt x="245" y="342"/>
                      <a:pt x="253" y="333"/>
                      <a:pt x="265" y="335"/>
                    </a:cubicBezTo>
                    <a:cubicBezTo>
                      <a:pt x="268" y="336"/>
                      <a:pt x="282" y="334"/>
                      <a:pt x="275" y="338"/>
                    </a:cubicBezTo>
                    <a:cubicBezTo>
                      <a:pt x="272" y="339"/>
                      <a:pt x="276" y="339"/>
                      <a:pt x="277" y="339"/>
                    </a:cubicBezTo>
                    <a:cubicBezTo>
                      <a:pt x="278" y="338"/>
                      <a:pt x="285" y="336"/>
                      <a:pt x="284" y="338"/>
                    </a:cubicBezTo>
                    <a:cubicBezTo>
                      <a:pt x="278" y="348"/>
                      <a:pt x="254" y="336"/>
                      <a:pt x="238" y="355"/>
                    </a:cubicBezTo>
                    <a:cubicBezTo>
                      <a:pt x="233" y="360"/>
                      <a:pt x="252" y="368"/>
                      <a:pt x="252" y="368"/>
                    </a:cubicBezTo>
                    <a:cubicBezTo>
                      <a:pt x="253" y="368"/>
                      <a:pt x="255" y="367"/>
                      <a:pt x="254" y="368"/>
                    </a:cubicBezTo>
                    <a:cubicBezTo>
                      <a:pt x="254" y="369"/>
                      <a:pt x="238" y="376"/>
                      <a:pt x="234" y="372"/>
                    </a:cubicBezTo>
                    <a:cubicBezTo>
                      <a:pt x="234" y="372"/>
                      <a:pt x="224" y="370"/>
                      <a:pt x="224" y="372"/>
                    </a:cubicBezTo>
                    <a:cubicBezTo>
                      <a:pt x="223" y="376"/>
                      <a:pt x="238" y="376"/>
                      <a:pt x="234" y="378"/>
                    </a:cubicBezTo>
                    <a:cubicBezTo>
                      <a:pt x="232" y="379"/>
                      <a:pt x="230" y="378"/>
                      <a:pt x="230" y="378"/>
                    </a:cubicBezTo>
                    <a:cubicBezTo>
                      <a:pt x="216" y="381"/>
                      <a:pt x="232" y="380"/>
                      <a:pt x="231" y="384"/>
                    </a:cubicBezTo>
                    <a:cubicBezTo>
                      <a:pt x="228" y="392"/>
                      <a:pt x="202" y="391"/>
                      <a:pt x="195" y="393"/>
                    </a:cubicBezTo>
                    <a:cubicBezTo>
                      <a:pt x="171" y="402"/>
                      <a:pt x="174" y="380"/>
                      <a:pt x="165" y="383"/>
                    </a:cubicBezTo>
                    <a:cubicBezTo>
                      <a:pt x="157" y="386"/>
                      <a:pt x="169" y="402"/>
                      <a:pt x="166" y="404"/>
                    </a:cubicBezTo>
                    <a:cubicBezTo>
                      <a:pt x="166" y="405"/>
                      <a:pt x="165" y="408"/>
                      <a:pt x="165" y="409"/>
                    </a:cubicBezTo>
                    <a:cubicBezTo>
                      <a:pt x="165" y="411"/>
                      <a:pt x="163" y="411"/>
                      <a:pt x="163" y="412"/>
                    </a:cubicBezTo>
                    <a:cubicBezTo>
                      <a:pt x="163" y="414"/>
                      <a:pt x="166" y="414"/>
                      <a:pt x="166" y="415"/>
                    </a:cubicBezTo>
                    <a:cubicBezTo>
                      <a:pt x="165" y="418"/>
                      <a:pt x="162" y="423"/>
                      <a:pt x="167" y="425"/>
                    </a:cubicBezTo>
                    <a:cubicBezTo>
                      <a:pt x="168" y="425"/>
                      <a:pt x="169" y="423"/>
                      <a:pt x="171" y="422"/>
                    </a:cubicBezTo>
                    <a:cubicBezTo>
                      <a:pt x="183" y="419"/>
                      <a:pt x="236" y="423"/>
                      <a:pt x="244" y="416"/>
                    </a:cubicBezTo>
                    <a:cubicBezTo>
                      <a:pt x="244" y="415"/>
                      <a:pt x="244" y="414"/>
                      <a:pt x="246" y="414"/>
                    </a:cubicBezTo>
                    <a:cubicBezTo>
                      <a:pt x="260" y="415"/>
                      <a:pt x="267" y="422"/>
                      <a:pt x="284" y="418"/>
                    </a:cubicBezTo>
                    <a:cubicBezTo>
                      <a:pt x="307" y="413"/>
                      <a:pt x="282" y="405"/>
                      <a:pt x="299" y="402"/>
                    </a:cubicBezTo>
                    <a:cubicBezTo>
                      <a:pt x="325" y="398"/>
                      <a:pt x="295" y="408"/>
                      <a:pt x="301" y="414"/>
                    </a:cubicBezTo>
                    <a:cubicBezTo>
                      <a:pt x="309" y="422"/>
                      <a:pt x="345" y="433"/>
                      <a:pt x="345" y="418"/>
                    </a:cubicBezTo>
                    <a:cubicBezTo>
                      <a:pt x="345" y="407"/>
                      <a:pt x="346" y="427"/>
                      <a:pt x="345" y="427"/>
                    </a:cubicBezTo>
                    <a:cubicBezTo>
                      <a:pt x="365" y="431"/>
                      <a:pt x="331" y="427"/>
                      <a:pt x="342" y="432"/>
                    </a:cubicBezTo>
                    <a:cubicBezTo>
                      <a:pt x="346" y="433"/>
                      <a:pt x="349" y="438"/>
                      <a:pt x="353" y="438"/>
                    </a:cubicBezTo>
                    <a:cubicBezTo>
                      <a:pt x="358" y="438"/>
                      <a:pt x="358" y="416"/>
                      <a:pt x="369" y="420"/>
                    </a:cubicBezTo>
                    <a:cubicBezTo>
                      <a:pt x="371" y="420"/>
                      <a:pt x="370" y="424"/>
                      <a:pt x="369" y="425"/>
                    </a:cubicBezTo>
                    <a:cubicBezTo>
                      <a:pt x="366" y="428"/>
                      <a:pt x="383" y="433"/>
                      <a:pt x="378" y="436"/>
                    </a:cubicBezTo>
                    <a:cubicBezTo>
                      <a:pt x="374" y="438"/>
                      <a:pt x="359" y="424"/>
                      <a:pt x="359" y="440"/>
                    </a:cubicBezTo>
                    <a:cubicBezTo>
                      <a:pt x="359" y="445"/>
                      <a:pt x="370" y="450"/>
                      <a:pt x="369" y="449"/>
                    </a:cubicBezTo>
                    <a:cubicBezTo>
                      <a:pt x="367" y="447"/>
                      <a:pt x="366" y="444"/>
                      <a:pt x="366" y="442"/>
                    </a:cubicBezTo>
                    <a:cubicBezTo>
                      <a:pt x="367" y="439"/>
                      <a:pt x="368" y="448"/>
                      <a:pt x="372" y="449"/>
                    </a:cubicBezTo>
                    <a:cubicBezTo>
                      <a:pt x="373" y="450"/>
                      <a:pt x="373" y="450"/>
                      <a:pt x="373" y="450"/>
                    </a:cubicBezTo>
                    <a:cubicBezTo>
                      <a:pt x="373" y="450"/>
                      <a:pt x="374" y="453"/>
                      <a:pt x="375" y="455"/>
                    </a:cubicBezTo>
                    <a:cubicBezTo>
                      <a:pt x="378" y="462"/>
                      <a:pt x="405" y="466"/>
                      <a:pt x="419" y="464"/>
                    </a:cubicBezTo>
                    <a:cubicBezTo>
                      <a:pt x="426" y="464"/>
                      <a:pt x="438" y="464"/>
                      <a:pt x="429" y="466"/>
                    </a:cubicBezTo>
                    <a:cubicBezTo>
                      <a:pt x="423" y="467"/>
                      <a:pt x="440" y="468"/>
                      <a:pt x="445" y="471"/>
                    </a:cubicBezTo>
                    <a:cubicBezTo>
                      <a:pt x="456" y="475"/>
                      <a:pt x="467" y="478"/>
                      <a:pt x="478" y="481"/>
                    </a:cubicBezTo>
                    <a:cubicBezTo>
                      <a:pt x="495" y="485"/>
                      <a:pt x="542" y="491"/>
                      <a:pt x="568" y="477"/>
                    </a:cubicBezTo>
                    <a:cubicBezTo>
                      <a:pt x="570" y="476"/>
                      <a:pt x="564" y="475"/>
                      <a:pt x="561" y="476"/>
                    </a:cubicBezTo>
                    <a:cubicBezTo>
                      <a:pt x="559" y="476"/>
                      <a:pt x="555" y="464"/>
                      <a:pt x="556" y="463"/>
                    </a:cubicBezTo>
                    <a:cubicBezTo>
                      <a:pt x="557" y="463"/>
                      <a:pt x="563" y="465"/>
                      <a:pt x="565" y="465"/>
                    </a:cubicBezTo>
                    <a:cubicBezTo>
                      <a:pt x="566" y="465"/>
                      <a:pt x="569" y="466"/>
                      <a:pt x="570" y="466"/>
                    </a:cubicBezTo>
                    <a:cubicBezTo>
                      <a:pt x="579" y="463"/>
                      <a:pt x="563" y="467"/>
                      <a:pt x="566" y="472"/>
                    </a:cubicBezTo>
                    <a:cubicBezTo>
                      <a:pt x="568" y="475"/>
                      <a:pt x="589" y="467"/>
                      <a:pt x="591" y="465"/>
                    </a:cubicBezTo>
                    <a:cubicBezTo>
                      <a:pt x="592" y="464"/>
                      <a:pt x="592" y="463"/>
                      <a:pt x="593" y="461"/>
                    </a:cubicBezTo>
                    <a:cubicBezTo>
                      <a:pt x="596" y="456"/>
                      <a:pt x="586" y="445"/>
                      <a:pt x="595" y="450"/>
                    </a:cubicBezTo>
                    <a:cubicBezTo>
                      <a:pt x="595" y="451"/>
                      <a:pt x="596" y="452"/>
                      <a:pt x="598" y="451"/>
                    </a:cubicBezTo>
                    <a:cubicBezTo>
                      <a:pt x="600" y="450"/>
                      <a:pt x="602" y="446"/>
                      <a:pt x="602" y="445"/>
                    </a:cubicBezTo>
                    <a:cubicBezTo>
                      <a:pt x="603" y="440"/>
                      <a:pt x="585" y="450"/>
                      <a:pt x="587" y="445"/>
                    </a:cubicBezTo>
                    <a:cubicBezTo>
                      <a:pt x="588" y="440"/>
                      <a:pt x="603" y="433"/>
                      <a:pt x="603" y="433"/>
                    </a:cubicBezTo>
                    <a:cubicBezTo>
                      <a:pt x="611" y="435"/>
                      <a:pt x="604" y="428"/>
                      <a:pt x="613" y="432"/>
                    </a:cubicBezTo>
                    <a:cubicBezTo>
                      <a:pt x="614" y="433"/>
                      <a:pt x="614" y="434"/>
                      <a:pt x="613" y="435"/>
                    </a:cubicBezTo>
                    <a:cubicBezTo>
                      <a:pt x="607" y="440"/>
                      <a:pt x="617" y="436"/>
                      <a:pt x="617" y="436"/>
                    </a:cubicBezTo>
                    <a:cubicBezTo>
                      <a:pt x="623" y="434"/>
                      <a:pt x="619" y="430"/>
                      <a:pt x="624" y="428"/>
                    </a:cubicBezTo>
                    <a:cubicBezTo>
                      <a:pt x="626" y="427"/>
                      <a:pt x="625" y="432"/>
                      <a:pt x="625" y="434"/>
                    </a:cubicBezTo>
                    <a:cubicBezTo>
                      <a:pt x="626" y="436"/>
                      <a:pt x="651" y="425"/>
                      <a:pt x="654" y="424"/>
                    </a:cubicBezTo>
                    <a:cubicBezTo>
                      <a:pt x="660" y="421"/>
                      <a:pt x="670" y="431"/>
                      <a:pt x="673" y="425"/>
                    </a:cubicBezTo>
                    <a:cubicBezTo>
                      <a:pt x="674" y="424"/>
                      <a:pt x="671" y="419"/>
                      <a:pt x="671" y="418"/>
                    </a:cubicBezTo>
                    <a:cubicBezTo>
                      <a:pt x="671" y="414"/>
                      <a:pt x="676" y="420"/>
                      <a:pt x="675" y="415"/>
                    </a:cubicBezTo>
                    <a:cubicBezTo>
                      <a:pt x="675" y="414"/>
                      <a:pt x="675" y="407"/>
                      <a:pt x="676" y="408"/>
                    </a:cubicBezTo>
                    <a:cubicBezTo>
                      <a:pt x="684" y="409"/>
                      <a:pt x="674" y="425"/>
                      <a:pt x="676" y="427"/>
                    </a:cubicBezTo>
                    <a:cubicBezTo>
                      <a:pt x="679" y="430"/>
                      <a:pt x="680" y="428"/>
                      <a:pt x="682" y="425"/>
                    </a:cubicBezTo>
                    <a:cubicBezTo>
                      <a:pt x="684" y="422"/>
                      <a:pt x="684" y="422"/>
                      <a:pt x="684" y="419"/>
                    </a:cubicBezTo>
                    <a:cubicBezTo>
                      <a:pt x="684" y="415"/>
                      <a:pt x="688" y="424"/>
                      <a:pt x="692" y="425"/>
                    </a:cubicBezTo>
                    <a:cubicBezTo>
                      <a:pt x="695" y="426"/>
                      <a:pt x="690" y="417"/>
                      <a:pt x="693" y="416"/>
                    </a:cubicBezTo>
                    <a:cubicBezTo>
                      <a:pt x="708" y="412"/>
                      <a:pt x="722" y="413"/>
                      <a:pt x="725" y="406"/>
                    </a:cubicBezTo>
                    <a:cubicBezTo>
                      <a:pt x="726" y="403"/>
                      <a:pt x="732" y="397"/>
                      <a:pt x="732" y="395"/>
                    </a:cubicBezTo>
                    <a:cubicBezTo>
                      <a:pt x="732" y="394"/>
                      <a:pt x="752" y="385"/>
                      <a:pt x="754" y="384"/>
                    </a:cubicBezTo>
                    <a:cubicBezTo>
                      <a:pt x="757" y="381"/>
                      <a:pt x="767" y="379"/>
                      <a:pt x="764" y="376"/>
                    </a:cubicBezTo>
                    <a:cubicBezTo>
                      <a:pt x="758" y="371"/>
                      <a:pt x="782" y="373"/>
                      <a:pt x="788" y="368"/>
                    </a:cubicBezTo>
                    <a:cubicBezTo>
                      <a:pt x="792" y="365"/>
                      <a:pt x="791" y="362"/>
                      <a:pt x="791" y="362"/>
                    </a:cubicBezTo>
                    <a:cubicBezTo>
                      <a:pt x="792" y="363"/>
                      <a:pt x="797" y="361"/>
                      <a:pt x="798" y="361"/>
                    </a:cubicBezTo>
                    <a:cubicBezTo>
                      <a:pt x="803" y="360"/>
                      <a:pt x="816" y="361"/>
                      <a:pt x="813" y="357"/>
                    </a:cubicBezTo>
                    <a:cubicBezTo>
                      <a:pt x="812" y="356"/>
                      <a:pt x="809" y="357"/>
                      <a:pt x="808" y="356"/>
                    </a:cubicBezTo>
                    <a:cubicBezTo>
                      <a:pt x="804" y="354"/>
                      <a:pt x="816" y="354"/>
                      <a:pt x="818" y="350"/>
                    </a:cubicBezTo>
                    <a:cubicBezTo>
                      <a:pt x="819" y="349"/>
                      <a:pt x="819" y="343"/>
                      <a:pt x="817" y="339"/>
                    </a:cubicBezTo>
                    <a:cubicBezTo>
                      <a:pt x="816" y="338"/>
                      <a:pt x="815" y="337"/>
                      <a:pt x="817" y="339"/>
                    </a:cubicBezTo>
                    <a:cubicBezTo>
                      <a:pt x="824" y="344"/>
                      <a:pt x="823" y="357"/>
                      <a:pt x="825" y="346"/>
                    </a:cubicBezTo>
                    <a:cubicBezTo>
                      <a:pt x="826" y="344"/>
                      <a:pt x="829" y="353"/>
                      <a:pt x="832" y="351"/>
                    </a:cubicBezTo>
                    <a:cubicBezTo>
                      <a:pt x="835" y="348"/>
                      <a:pt x="829" y="357"/>
                      <a:pt x="834" y="356"/>
                    </a:cubicBezTo>
                    <a:cubicBezTo>
                      <a:pt x="834" y="356"/>
                      <a:pt x="840" y="350"/>
                      <a:pt x="843" y="351"/>
                    </a:cubicBezTo>
                    <a:cubicBezTo>
                      <a:pt x="848" y="353"/>
                      <a:pt x="851" y="358"/>
                      <a:pt x="855" y="357"/>
                    </a:cubicBezTo>
                    <a:cubicBezTo>
                      <a:pt x="861" y="356"/>
                      <a:pt x="857" y="352"/>
                      <a:pt x="860" y="347"/>
                    </a:cubicBezTo>
                    <a:cubicBezTo>
                      <a:pt x="864" y="339"/>
                      <a:pt x="879" y="330"/>
                      <a:pt x="884" y="331"/>
                    </a:cubicBezTo>
                    <a:cubicBezTo>
                      <a:pt x="885" y="331"/>
                      <a:pt x="888" y="332"/>
                      <a:pt x="887" y="333"/>
                    </a:cubicBezTo>
                    <a:cubicBezTo>
                      <a:pt x="887" y="336"/>
                      <a:pt x="874" y="337"/>
                      <a:pt x="876" y="338"/>
                    </a:cubicBezTo>
                    <a:cubicBezTo>
                      <a:pt x="889" y="352"/>
                      <a:pt x="899" y="319"/>
                      <a:pt x="901" y="316"/>
                    </a:cubicBezTo>
                    <a:cubicBezTo>
                      <a:pt x="903" y="315"/>
                      <a:pt x="910" y="309"/>
                      <a:pt x="910" y="307"/>
                    </a:cubicBezTo>
                    <a:close/>
                    <a:moveTo>
                      <a:pt x="750" y="168"/>
                    </a:moveTo>
                    <a:cubicBezTo>
                      <a:pt x="746" y="165"/>
                      <a:pt x="748" y="157"/>
                      <a:pt x="748" y="156"/>
                    </a:cubicBezTo>
                    <a:cubicBezTo>
                      <a:pt x="745" y="151"/>
                      <a:pt x="730" y="146"/>
                      <a:pt x="727" y="140"/>
                    </a:cubicBezTo>
                    <a:cubicBezTo>
                      <a:pt x="726" y="137"/>
                      <a:pt x="729" y="130"/>
                      <a:pt x="729" y="129"/>
                    </a:cubicBezTo>
                    <a:cubicBezTo>
                      <a:pt x="728" y="129"/>
                      <a:pt x="727" y="120"/>
                      <a:pt x="728" y="121"/>
                    </a:cubicBezTo>
                    <a:cubicBezTo>
                      <a:pt x="735" y="124"/>
                      <a:pt x="731" y="138"/>
                      <a:pt x="740" y="144"/>
                    </a:cubicBezTo>
                    <a:cubicBezTo>
                      <a:pt x="740" y="144"/>
                      <a:pt x="740" y="144"/>
                      <a:pt x="740" y="144"/>
                    </a:cubicBezTo>
                    <a:cubicBezTo>
                      <a:pt x="749" y="149"/>
                      <a:pt x="754" y="157"/>
                      <a:pt x="750" y="166"/>
                    </a:cubicBezTo>
                    <a:cubicBezTo>
                      <a:pt x="750" y="167"/>
                      <a:pt x="752" y="170"/>
                      <a:pt x="750" y="168"/>
                    </a:cubicBezTo>
                    <a:close/>
                    <a:moveTo>
                      <a:pt x="874" y="225"/>
                    </a:moveTo>
                    <a:cubicBezTo>
                      <a:pt x="878" y="221"/>
                      <a:pt x="883" y="219"/>
                      <a:pt x="887" y="216"/>
                    </a:cubicBezTo>
                    <a:cubicBezTo>
                      <a:pt x="892" y="212"/>
                      <a:pt x="894" y="208"/>
                      <a:pt x="901" y="205"/>
                    </a:cubicBezTo>
                    <a:cubicBezTo>
                      <a:pt x="905" y="203"/>
                      <a:pt x="903" y="190"/>
                      <a:pt x="906" y="190"/>
                    </a:cubicBezTo>
                    <a:cubicBezTo>
                      <a:pt x="906" y="190"/>
                      <a:pt x="906" y="190"/>
                      <a:pt x="906" y="190"/>
                    </a:cubicBezTo>
                    <a:cubicBezTo>
                      <a:pt x="914" y="210"/>
                      <a:pt x="852" y="240"/>
                      <a:pt x="874" y="22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3" name="Freeform 1149"/>
              <p:cNvSpPr>
                <a:spLocks/>
              </p:cNvSpPr>
              <p:nvPr/>
            </p:nvSpPr>
            <p:spPr bwMode="auto">
              <a:xfrm>
                <a:off x="674" y="1394"/>
                <a:ext cx="1" cy="0"/>
              </a:xfrm>
              <a:custGeom>
                <a:avLst/>
                <a:gdLst>
                  <a:gd name="T0" fmla="*/ 1 w 1"/>
                  <a:gd name="T1" fmla="*/ 1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1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4" name="Freeform 1150"/>
              <p:cNvSpPr>
                <a:spLocks noEditPoints="1"/>
              </p:cNvSpPr>
              <p:nvPr/>
            </p:nvSpPr>
            <p:spPr bwMode="auto">
              <a:xfrm>
                <a:off x="2942" y="2868"/>
                <a:ext cx="399" cy="253"/>
              </a:xfrm>
              <a:custGeom>
                <a:avLst/>
                <a:gdLst>
                  <a:gd name="T0" fmla="*/ 504 w 608"/>
                  <a:gd name="T1" fmla="*/ 38 h 386"/>
                  <a:gd name="T2" fmla="*/ 473 w 608"/>
                  <a:gd name="T3" fmla="*/ 9 h 386"/>
                  <a:gd name="T4" fmla="*/ 390 w 608"/>
                  <a:gd name="T5" fmla="*/ 16 h 386"/>
                  <a:gd name="T6" fmla="*/ 357 w 608"/>
                  <a:gd name="T7" fmla="*/ 50 h 386"/>
                  <a:gd name="T8" fmla="*/ 314 w 608"/>
                  <a:gd name="T9" fmla="*/ 54 h 386"/>
                  <a:gd name="T10" fmla="*/ 240 w 608"/>
                  <a:gd name="T11" fmla="*/ 80 h 386"/>
                  <a:gd name="T12" fmla="*/ 206 w 608"/>
                  <a:gd name="T13" fmla="*/ 116 h 386"/>
                  <a:gd name="T14" fmla="*/ 99 w 608"/>
                  <a:gd name="T15" fmla="*/ 80 h 386"/>
                  <a:gd name="T16" fmla="*/ 84 w 608"/>
                  <a:gd name="T17" fmla="*/ 121 h 386"/>
                  <a:gd name="T18" fmla="*/ 60 w 608"/>
                  <a:gd name="T19" fmla="*/ 127 h 386"/>
                  <a:gd name="T20" fmla="*/ 51 w 608"/>
                  <a:gd name="T21" fmla="*/ 121 h 386"/>
                  <a:gd name="T22" fmla="*/ 49 w 608"/>
                  <a:gd name="T23" fmla="*/ 121 h 386"/>
                  <a:gd name="T24" fmla="*/ 49 w 608"/>
                  <a:gd name="T25" fmla="*/ 121 h 386"/>
                  <a:gd name="T26" fmla="*/ 28 w 608"/>
                  <a:gd name="T27" fmla="*/ 123 h 386"/>
                  <a:gd name="T28" fmla="*/ 28 w 608"/>
                  <a:gd name="T29" fmla="*/ 162 h 386"/>
                  <a:gd name="T30" fmla="*/ 35 w 608"/>
                  <a:gd name="T31" fmla="*/ 196 h 386"/>
                  <a:gd name="T32" fmla="*/ 13 w 608"/>
                  <a:gd name="T33" fmla="*/ 230 h 386"/>
                  <a:gd name="T34" fmla="*/ 37 w 608"/>
                  <a:gd name="T35" fmla="*/ 278 h 386"/>
                  <a:gd name="T36" fmla="*/ 105 w 608"/>
                  <a:gd name="T37" fmla="*/ 345 h 386"/>
                  <a:gd name="T38" fmla="*/ 216 w 608"/>
                  <a:gd name="T39" fmla="*/ 366 h 386"/>
                  <a:gd name="T40" fmla="*/ 238 w 608"/>
                  <a:gd name="T41" fmla="*/ 350 h 386"/>
                  <a:gd name="T42" fmla="*/ 368 w 608"/>
                  <a:gd name="T43" fmla="*/ 326 h 386"/>
                  <a:gd name="T44" fmla="*/ 418 w 608"/>
                  <a:gd name="T45" fmla="*/ 304 h 386"/>
                  <a:gd name="T46" fmla="*/ 488 w 608"/>
                  <a:gd name="T47" fmla="*/ 226 h 386"/>
                  <a:gd name="T48" fmla="*/ 522 w 608"/>
                  <a:gd name="T49" fmla="*/ 166 h 386"/>
                  <a:gd name="T50" fmla="*/ 577 w 608"/>
                  <a:gd name="T51" fmla="*/ 115 h 386"/>
                  <a:gd name="T52" fmla="*/ 597 w 608"/>
                  <a:gd name="T53" fmla="*/ 74 h 386"/>
                  <a:gd name="T54" fmla="*/ 531 w 608"/>
                  <a:gd name="T55" fmla="*/ 30 h 386"/>
                  <a:gd name="T56" fmla="*/ 177 w 608"/>
                  <a:gd name="T57" fmla="*/ 220 h 386"/>
                  <a:gd name="T58" fmla="*/ 99 w 608"/>
                  <a:gd name="T59" fmla="*/ 248 h 386"/>
                  <a:gd name="T60" fmla="*/ 156 w 608"/>
                  <a:gd name="T61" fmla="*/ 226 h 386"/>
                  <a:gd name="T62" fmla="*/ 173 w 608"/>
                  <a:gd name="T63" fmla="*/ 207 h 386"/>
                  <a:gd name="T64" fmla="*/ 177 w 608"/>
                  <a:gd name="T65" fmla="*/ 220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08" h="386">
                    <a:moveTo>
                      <a:pt x="510" y="37"/>
                    </a:moveTo>
                    <a:cubicBezTo>
                      <a:pt x="508" y="37"/>
                      <a:pt x="506" y="38"/>
                      <a:pt x="504" y="38"/>
                    </a:cubicBezTo>
                    <a:cubicBezTo>
                      <a:pt x="503" y="39"/>
                      <a:pt x="500" y="40"/>
                      <a:pt x="499" y="39"/>
                    </a:cubicBezTo>
                    <a:cubicBezTo>
                      <a:pt x="487" y="33"/>
                      <a:pt x="490" y="12"/>
                      <a:pt x="473" y="9"/>
                    </a:cubicBezTo>
                    <a:cubicBezTo>
                      <a:pt x="465" y="8"/>
                      <a:pt x="454" y="20"/>
                      <a:pt x="445" y="20"/>
                    </a:cubicBezTo>
                    <a:cubicBezTo>
                      <a:pt x="428" y="20"/>
                      <a:pt x="408" y="0"/>
                      <a:pt x="390" y="16"/>
                    </a:cubicBezTo>
                    <a:cubicBezTo>
                      <a:pt x="383" y="22"/>
                      <a:pt x="382" y="38"/>
                      <a:pt x="377" y="46"/>
                    </a:cubicBezTo>
                    <a:cubicBezTo>
                      <a:pt x="368" y="59"/>
                      <a:pt x="368" y="46"/>
                      <a:pt x="357" y="50"/>
                    </a:cubicBezTo>
                    <a:cubicBezTo>
                      <a:pt x="350" y="53"/>
                      <a:pt x="349" y="67"/>
                      <a:pt x="337" y="67"/>
                    </a:cubicBezTo>
                    <a:cubicBezTo>
                      <a:pt x="329" y="67"/>
                      <a:pt x="322" y="56"/>
                      <a:pt x="314" y="54"/>
                    </a:cubicBezTo>
                    <a:cubicBezTo>
                      <a:pt x="297" y="51"/>
                      <a:pt x="306" y="68"/>
                      <a:pt x="298" y="74"/>
                    </a:cubicBezTo>
                    <a:cubicBezTo>
                      <a:pt x="284" y="83"/>
                      <a:pt x="256" y="70"/>
                      <a:pt x="240" y="80"/>
                    </a:cubicBezTo>
                    <a:cubicBezTo>
                      <a:pt x="225" y="89"/>
                      <a:pt x="240" y="100"/>
                      <a:pt x="241" y="108"/>
                    </a:cubicBezTo>
                    <a:cubicBezTo>
                      <a:pt x="242" y="108"/>
                      <a:pt x="225" y="111"/>
                      <a:pt x="206" y="116"/>
                    </a:cubicBezTo>
                    <a:cubicBezTo>
                      <a:pt x="192" y="120"/>
                      <a:pt x="161" y="122"/>
                      <a:pt x="146" y="117"/>
                    </a:cubicBezTo>
                    <a:cubicBezTo>
                      <a:pt x="129" y="110"/>
                      <a:pt x="115" y="84"/>
                      <a:pt x="99" y="80"/>
                    </a:cubicBezTo>
                    <a:cubicBezTo>
                      <a:pt x="95" y="79"/>
                      <a:pt x="92" y="80"/>
                      <a:pt x="90" y="81"/>
                    </a:cubicBezTo>
                    <a:cubicBezTo>
                      <a:pt x="77" y="87"/>
                      <a:pt x="85" y="119"/>
                      <a:pt x="84" y="121"/>
                    </a:cubicBezTo>
                    <a:cubicBezTo>
                      <a:pt x="81" y="126"/>
                      <a:pt x="68" y="123"/>
                      <a:pt x="55" y="121"/>
                    </a:cubicBezTo>
                    <a:cubicBezTo>
                      <a:pt x="57" y="124"/>
                      <a:pt x="61" y="126"/>
                      <a:pt x="60" y="127"/>
                    </a:cubicBezTo>
                    <a:cubicBezTo>
                      <a:pt x="57" y="129"/>
                      <a:pt x="53" y="123"/>
                      <a:pt x="51" y="121"/>
                    </a:cubicBezTo>
                    <a:cubicBezTo>
                      <a:pt x="51" y="121"/>
                      <a:pt x="51" y="121"/>
                      <a:pt x="51" y="121"/>
                    </a:cubicBezTo>
                    <a:cubicBezTo>
                      <a:pt x="51" y="123"/>
                      <a:pt x="49" y="123"/>
                      <a:pt x="49" y="121"/>
                    </a:cubicBezTo>
                    <a:cubicBezTo>
                      <a:pt x="49" y="121"/>
                      <a:pt x="49" y="121"/>
                      <a:pt x="49" y="121"/>
                    </a:cubicBezTo>
                    <a:cubicBezTo>
                      <a:pt x="49" y="121"/>
                      <a:pt x="49" y="121"/>
                      <a:pt x="49" y="121"/>
                    </a:cubicBezTo>
                    <a:cubicBezTo>
                      <a:pt x="49" y="121"/>
                      <a:pt x="49" y="121"/>
                      <a:pt x="49" y="121"/>
                    </a:cubicBezTo>
                    <a:cubicBezTo>
                      <a:pt x="49" y="121"/>
                      <a:pt x="49" y="121"/>
                      <a:pt x="49" y="121"/>
                    </a:cubicBezTo>
                    <a:cubicBezTo>
                      <a:pt x="41" y="120"/>
                      <a:pt x="33" y="120"/>
                      <a:pt x="28" y="123"/>
                    </a:cubicBezTo>
                    <a:cubicBezTo>
                      <a:pt x="24" y="126"/>
                      <a:pt x="51" y="132"/>
                      <a:pt x="51" y="145"/>
                    </a:cubicBezTo>
                    <a:cubicBezTo>
                      <a:pt x="51" y="159"/>
                      <a:pt x="32" y="154"/>
                      <a:pt x="28" y="162"/>
                    </a:cubicBezTo>
                    <a:cubicBezTo>
                      <a:pt x="25" y="165"/>
                      <a:pt x="27" y="192"/>
                      <a:pt x="33" y="194"/>
                    </a:cubicBezTo>
                    <a:cubicBezTo>
                      <a:pt x="34" y="194"/>
                      <a:pt x="35" y="195"/>
                      <a:pt x="35" y="196"/>
                    </a:cubicBezTo>
                    <a:cubicBezTo>
                      <a:pt x="28" y="206"/>
                      <a:pt x="16" y="214"/>
                      <a:pt x="0" y="228"/>
                    </a:cubicBezTo>
                    <a:cubicBezTo>
                      <a:pt x="3" y="228"/>
                      <a:pt x="7" y="229"/>
                      <a:pt x="13" y="230"/>
                    </a:cubicBezTo>
                    <a:cubicBezTo>
                      <a:pt x="20" y="232"/>
                      <a:pt x="22" y="254"/>
                      <a:pt x="23" y="260"/>
                    </a:cubicBezTo>
                    <a:cubicBezTo>
                      <a:pt x="24" y="265"/>
                      <a:pt x="29" y="271"/>
                      <a:pt x="37" y="278"/>
                    </a:cubicBezTo>
                    <a:cubicBezTo>
                      <a:pt x="64" y="302"/>
                      <a:pt x="82" y="307"/>
                      <a:pt x="96" y="326"/>
                    </a:cubicBezTo>
                    <a:cubicBezTo>
                      <a:pt x="96" y="326"/>
                      <a:pt x="105" y="345"/>
                      <a:pt x="105" y="345"/>
                    </a:cubicBezTo>
                    <a:cubicBezTo>
                      <a:pt x="109" y="350"/>
                      <a:pt x="123" y="347"/>
                      <a:pt x="129" y="349"/>
                    </a:cubicBezTo>
                    <a:cubicBezTo>
                      <a:pt x="153" y="359"/>
                      <a:pt x="187" y="386"/>
                      <a:pt x="216" y="366"/>
                    </a:cubicBezTo>
                    <a:cubicBezTo>
                      <a:pt x="221" y="363"/>
                      <a:pt x="220" y="351"/>
                      <a:pt x="228" y="351"/>
                    </a:cubicBezTo>
                    <a:cubicBezTo>
                      <a:pt x="232" y="351"/>
                      <a:pt x="235" y="351"/>
                      <a:pt x="238" y="350"/>
                    </a:cubicBezTo>
                    <a:cubicBezTo>
                      <a:pt x="264" y="347"/>
                      <a:pt x="278" y="332"/>
                      <a:pt x="305" y="319"/>
                    </a:cubicBezTo>
                    <a:cubicBezTo>
                      <a:pt x="314" y="315"/>
                      <a:pt x="358" y="326"/>
                      <a:pt x="368" y="326"/>
                    </a:cubicBezTo>
                    <a:cubicBezTo>
                      <a:pt x="371" y="325"/>
                      <a:pt x="411" y="318"/>
                      <a:pt x="412" y="315"/>
                    </a:cubicBezTo>
                    <a:cubicBezTo>
                      <a:pt x="415" y="309"/>
                      <a:pt x="398" y="308"/>
                      <a:pt x="418" y="304"/>
                    </a:cubicBezTo>
                    <a:cubicBezTo>
                      <a:pt x="418" y="304"/>
                      <a:pt x="438" y="311"/>
                      <a:pt x="438" y="311"/>
                    </a:cubicBezTo>
                    <a:cubicBezTo>
                      <a:pt x="444" y="310"/>
                      <a:pt x="482" y="238"/>
                      <a:pt x="488" y="226"/>
                    </a:cubicBezTo>
                    <a:cubicBezTo>
                      <a:pt x="494" y="215"/>
                      <a:pt x="491" y="216"/>
                      <a:pt x="491" y="209"/>
                    </a:cubicBezTo>
                    <a:cubicBezTo>
                      <a:pt x="492" y="194"/>
                      <a:pt x="516" y="175"/>
                      <a:pt x="522" y="166"/>
                    </a:cubicBezTo>
                    <a:cubicBezTo>
                      <a:pt x="528" y="158"/>
                      <a:pt x="528" y="128"/>
                      <a:pt x="551" y="117"/>
                    </a:cubicBezTo>
                    <a:cubicBezTo>
                      <a:pt x="561" y="112"/>
                      <a:pt x="566" y="117"/>
                      <a:pt x="577" y="115"/>
                    </a:cubicBezTo>
                    <a:cubicBezTo>
                      <a:pt x="590" y="112"/>
                      <a:pt x="593" y="98"/>
                      <a:pt x="603" y="91"/>
                    </a:cubicBezTo>
                    <a:cubicBezTo>
                      <a:pt x="592" y="79"/>
                      <a:pt x="608" y="84"/>
                      <a:pt x="597" y="74"/>
                    </a:cubicBezTo>
                    <a:cubicBezTo>
                      <a:pt x="587" y="65"/>
                      <a:pt x="586" y="75"/>
                      <a:pt x="577" y="72"/>
                    </a:cubicBezTo>
                    <a:cubicBezTo>
                      <a:pt x="570" y="69"/>
                      <a:pt x="552" y="30"/>
                      <a:pt x="531" y="30"/>
                    </a:cubicBezTo>
                    <a:cubicBezTo>
                      <a:pt x="530" y="34"/>
                      <a:pt x="527" y="35"/>
                      <a:pt x="510" y="37"/>
                    </a:cubicBezTo>
                    <a:close/>
                    <a:moveTo>
                      <a:pt x="177" y="220"/>
                    </a:moveTo>
                    <a:cubicBezTo>
                      <a:pt x="164" y="231"/>
                      <a:pt x="124" y="252"/>
                      <a:pt x="107" y="249"/>
                    </a:cubicBezTo>
                    <a:cubicBezTo>
                      <a:pt x="104" y="248"/>
                      <a:pt x="100" y="252"/>
                      <a:pt x="99" y="248"/>
                    </a:cubicBezTo>
                    <a:cubicBezTo>
                      <a:pt x="99" y="248"/>
                      <a:pt x="99" y="248"/>
                      <a:pt x="99" y="248"/>
                    </a:cubicBezTo>
                    <a:cubicBezTo>
                      <a:pt x="99" y="245"/>
                      <a:pt x="146" y="228"/>
                      <a:pt x="156" y="226"/>
                    </a:cubicBezTo>
                    <a:cubicBezTo>
                      <a:pt x="157" y="226"/>
                      <a:pt x="157" y="226"/>
                      <a:pt x="157" y="225"/>
                    </a:cubicBezTo>
                    <a:cubicBezTo>
                      <a:pt x="156" y="221"/>
                      <a:pt x="168" y="204"/>
                      <a:pt x="173" y="207"/>
                    </a:cubicBezTo>
                    <a:cubicBezTo>
                      <a:pt x="175" y="208"/>
                      <a:pt x="180" y="209"/>
                      <a:pt x="181" y="212"/>
                    </a:cubicBezTo>
                    <a:cubicBezTo>
                      <a:pt x="181" y="215"/>
                      <a:pt x="179" y="218"/>
                      <a:pt x="177" y="22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5" name="Freeform 1151"/>
              <p:cNvSpPr>
                <a:spLocks/>
              </p:cNvSpPr>
              <p:nvPr/>
            </p:nvSpPr>
            <p:spPr bwMode="auto">
              <a:xfrm>
                <a:off x="3571" y="3826"/>
                <a:ext cx="27" cy="20"/>
              </a:xfrm>
              <a:custGeom>
                <a:avLst/>
                <a:gdLst>
                  <a:gd name="T0" fmla="*/ 33 w 40"/>
                  <a:gd name="T1" fmla="*/ 1 h 31"/>
                  <a:gd name="T2" fmla="*/ 21 w 40"/>
                  <a:gd name="T3" fmla="*/ 3 h 31"/>
                  <a:gd name="T4" fmla="*/ 8 w 40"/>
                  <a:gd name="T5" fmla="*/ 15 h 31"/>
                  <a:gd name="T6" fmla="*/ 1 w 40"/>
                  <a:gd name="T7" fmla="*/ 17 h 31"/>
                  <a:gd name="T8" fmla="*/ 6 w 40"/>
                  <a:gd name="T9" fmla="*/ 28 h 31"/>
                  <a:gd name="T10" fmla="*/ 8 w 40"/>
                  <a:gd name="T11" fmla="*/ 19 h 31"/>
                  <a:gd name="T12" fmla="*/ 8 w 40"/>
                  <a:gd name="T13" fmla="*/ 19 h 31"/>
                  <a:gd name="T14" fmla="*/ 40 w 40"/>
                  <a:gd name="T15" fmla="*/ 5 h 31"/>
                  <a:gd name="T16" fmla="*/ 33 w 40"/>
                  <a:gd name="T17" fmla="*/ 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" h="31">
                    <a:moveTo>
                      <a:pt x="33" y="1"/>
                    </a:moveTo>
                    <a:cubicBezTo>
                      <a:pt x="33" y="0"/>
                      <a:pt x="23" y="2"/>
                      <a:pt x="21" y="3"/>
                    </a:cubicBezTo>
                    <a:cubicBezTo>
                      <a:pt x="16" y="7"/>
                      <a:pt x="13" y="11"/>
                      <a:pt x="8" y="15"/>
                    </a:cubicBezTo>
                    <a:cubicBezTo>
                      <a:pt x="6" y="16"/>
                      <a:pt x="0" y="14"/>
                      <a:pt x="1" y="17"/>
                    </a:cubicBezTo>
                    <a:cubicBezTo>
                      <a:pt x="1" y="17"/>
                      <a:pt x="3" y="31"/>
                      <a:pt x="6" y="28"/>
                    </a:cubicBezTo>
                    <a:cubicBezTo>
                      <a:pt x="8" y="25"/>
                      <a:pt x="3" y="20"/>
                      <a:pt x="8" y="19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11" y="18"/>
                      <a:pt x="40" y="10"/>
                      <a:pt x="40" y="5"/>
                    </a:cubicBezTo>
                    <a:cubicBezTo>
                      <a:pt x="40" y="1"/>
                      <a:pt x="35" y="4"/>
                      <a:pt x="33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6" name="Freeform 1152"/>
              <p:cNvSpPr>
                <a:spLocks/>
              </p:cNvSpPr>
              <p:nvPr/>
            </p:nvSpPr>
            <p:spPr bwMode="auto">
              <a:xfrm>
                <a:off x="3216" y="3657"/>
                <a:ext cx="1" cy="1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0 w 1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7" name="Freeform 1153"/>
              <p:cNvSpPr>
                <a:spLocks/>
              </p:cNvSpPr>
              <p:nvPr/>
            </p:nvSpPr>
            <p:spPr bwMode="auto">
              <a:xfrm>
                <a:off x="3581" y="3908"/>
                <a:ext cx="10" cy="38"/>
              </a:xfrm>
              <a:custGeom>
                <a:avLst/>
                <a:gdLst>
                  <a:gd name="T0" fmla="*/ 15 w 16"/>
                  <a:gd name="T1" fmla="*/ 5 h 58"/>
                  <a:gd name="T2" fmla="*/ 7 w 16"/>
                  <a:gd name="T3" fmla="*/ 19 h 58"/>
                  <a:gd name="T4" fmla="*/ 6 w 16"/>
                  <a:gd name="T5" fmla="*/ 54 h 58"/>
                  <a:gd name="T6" fmla="*/ 15 w 16"/>
                  <a:gd name="T7" fmla="*/ 45 h 58"/>
                  <a:gd name="T8" fmla="*/ 7 w 16"/>
                  <a:gd name="T9" fmla="*/ 29 h 58"/>
                  <a:gd name="T10" fmla="*/ 15 w 16"/>
                  <a:gd name="T11" fmla="*/ 5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58">
                    <a:moveTo>
                      <a:pt x="15" y="5"/>
                    </a:moveTo>
                    <a:cubicBezTo>
                      <a:pt x="15" y="0"/>
                      <a:pt x="7" y="18"/>
                      <a:pt x="7" y="19"/>
                    </a:cubicBezTo>
                    <a:cubicBezTo>
                      <a:pt x="0" y="28"/>
                      <a:pt x="0" y="47"/>
                      <a:pt x="6" y="54"/>
                    </a:cubicBezTo>
                    <a:cubicBezTo>
                      <a:pt x="9" y="58"/>
                      <a:pt x="14" y="49"/>
                      <a:pt x="15" y="45"/>
                    </a:cubicBezTo>
                    <a:cubicBezTo>
                      <a:pt x="16" y="39"/>
                      <a:pt x="9" y="36"/>
                      <a:pt x="7" y="29"/>
                    </a:cubicBezTo>
                    <a:cubicBezTo>
                      <a:pt x="6" y="23"/>
                      <a:pt x="15" y="13"/>
                      <a:pt x="15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8" name="Freeform 1154"/>
              <p:cNvSpPr>
                <a:spLocks/>
              </p:cNvSpPr>
              <p:nvPr/>
            </p:nvSpPr>
            <p:spPr bwMode="auto">
              <a:xfrm>
                <a:off x="3614" y="3862"/>
                <a:ext cx="36" cy="44"/>
              </a:xfrm>
              <a:custGeom>
                <a:avLst/>
                <a:gdLst>
                  <a:gd name="T0" fmla="*/ 53 w 54"/>
                  <a:gd name="T1" fmla="*/ 2 h 68"/>
                  <a:gd name="T2" fmla="*/ 39 w 54"/>
                  <a:gd name="T3" fmla="*/ 5 h 68"/>
                  <a:gd name="T4" fmla="*/ 4 w 54"/>
                  <a:gd name="T5" fmla="*/ 35 h 68"/>
                  <a:gd name="T6" fmla="*/ 10 w 54"/>
                  <a:gd name="T7" fmla="*/ 41 h 68"/>
                  <a:gd name="T8" fmla="*/ 12 w 54"/>
                  <a:gd name="T9" fmla="*/ 66 h 68"/>
                  <a:gd name="T10" fmla="*/ 25 w 54"/>
                  <a:gd name="T11" fmla="*/ 53 h 68"/>
                  <a:gd name="T12" fmla="*/ 25 w 54"/>
                  <a:gd name="T13" fmla="*/ 53 h 68"/>
                  <a:gd name="T14" fmla="*/ 40 w 54"/>
                  <a:gd name="T15" fmla="*/ 47 h 68"/>
                  <a:gd name="T16" fmla="*/ 40 w 54"/>
                  <a:gd name="T17" fmla="*/ 42 h 68"/>
                  <a:gd name="T18" fmla="*/ 53 w 54"/>
                  <a:gd name="T19" fmla="*/ 2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68">
                    <a:moveTo>
                      <a:pt x="53" y="2"/>
                    </a:moveTo>
                    <a:cubicBezTo>
                      <a:pt x="53" y="0"/>
                      <a:pt x="43" y="2"/>
                      <a:pt x="39" y="5"/>
                    </a:cubicBezTo>
                    <a:cubicBezTo>
                      <a:pt x="25" y="12"/>
                      <a:pt x="10" y="23"/>
                      <a:pt x="4" y="35"/>
                    </a:cubicBezTo>
                    <a:cubicBezTo>
                      <a:pt x="4" y="35"/>
                      <a:pt x="9" y="40"/>
                      <a:pt x="10" y="41"/>
                    </a:cubicBezTo>
                    <a:cubicBezTo>
                      <a:pt x="15" y="49"/>
                      <a:pt x="0" y="61"/>
                      <a:pt x="12" y="66"/>
                    </a:cubicBezTo>
                    <a:cubicBezTo>
                      <a:pt x="18" y="68"/>
                      <a:pt x="23" y="57"/>
                      <a:pt x="25" y="53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9" y="44"/>
                      <a:pt x="38" y="49"/>
                      <a:pt x="40" y="47"/>
                    </a:cubicBezTo>
                    <a:cubicBezTo>
                      <a:pt x="41" y="46"/>
                      <a:pt x="39" y="43"/>
                      <a:pt x="40" y="42"/>
                    </a:cubicBezTo>
                    <a:cubicBezTo>
                      <a:pt x="43" y="39"/>
                      <a:pt x="54" y="10"/>
                      <a:pt x="53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39" name="Freeform 1155"/>
              <p:cNvSpPr>
                <a:spLocks/>
              </p:cNvSpPr>
              <p:nvPr/>
            </p:nvSpPr>
            <p:spPr bwMode="auto">
              <a:xfrm>
                <a:off x="3566" y="3811"/>
                <a:ext cx="16" cy="13"/>
              </a:xfrm>
              <a:custGeom>
                <a:avLst/>
                <a:gdLst>
                  <a:gd name="T0" fmla="*/ 17 w 25"/>
                  <a:gd name="T1" fmla="*/ 18 h 20"/>
                  <a:gd name="T2" fmla="*/ 7 w 25"/>
                  <a:gd name="T3" fmla="*/ 1 h 20"/>
                  <a:gd name="T4" fmla="*/ 8 w 25"/>
                  <a:gd name="T5" fmla="*/ 5 h 20"/>
                  <a:gd name="T6" fmla="*/ 17 w 25"/>
                  <a:gd name="T7" fmla="*/ 17 h 20"/>
                  <a:gd name="T8" fmla="*/ 17 w 25"/>
                  <a:gd name="T9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20">
                    <a:moveTo>
                      <a:pt x="17" y="18"/>
                    </a:moveTo>
                    <a:cubicBezTo>
                      <a:pt x="25" y="20"/>
                      <a:pt x="16" y="3"/>
                      <a:pt x="7" y="1"/>
                    </a:cubicBezTo>
                    <a:cubicBezTo>
                      <a:pt x="7" y="0"/>
                      <a:pt x="7" y="4"/>
                      <a:pt x="8" y="5"/>
                    </a:cubicBezTo>
                    <a:cubicBezTo>
                      <a:pt x="17" y="8"/>
                      <a:pt x="0" y="12"/>
                      <a:pt x="17" y="17"/>
                    </a:cubicBezTo>
                    <a:lnTo>
                      <a:pt x="17" y="1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0" name="Freeform 1156"/>
              <p:cNvSpPr>
                <a:spLocks/>
              </p:cNvSpPr>
              <p:nvPr/>
            </p:nvSpPr>
            <p:spPr bwMode="auto">
              <a:xfrm>
                <a:off x="3534" y="3846"/>
                <a:ext cx="13" cy="12"/>
              </a:xfrm>
              <a:custGeom>
                <a:avLst/>
                <a:gdLst>
                  <a:gd name="T0" fmla="*/ 12 w 19"/>
                  <a:gd name="T1" fmla="*/ 2 h 18"/>
                  <a:gd name="T2" fmla="*/ 11 w 19"/>
                  <a:gd name="T3" fmla="*/ 8 h 18"/>
                  <a:gd name="T4" fmla="*/ 0 w 19"/>
                  <a:gd name="T5" fmla="*/ 11 h 18"/>
                  <a:gd name="T6" fmla="*/ 5 w 19"/>
                  <a:gd name="T7" fmla="*/ 17 h 18"/>
                  <a:gd name="T8" fmla="*/ 18 w 19"/>
                  <a:gd name="T9" fmla="*/ 8 h 18"/>
                  <a:gd name="T10" fmla="*/ 12 w 19"/>
                  <a:gd name="T11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8">
                    <a:moveTo>
                      <a:pt x="12" y="2"/>
                    </a:moveTo>
                    <a:cubicBezTo>
                      <a:pt x="11" y="0"/>
                      <a:pt x="13" y="8"/>
                      <a:pt x="11" y="8"/>
                    </a:cubicBezTo>
                    <a:cubicBezTo>
                      <a:pt x="6" y="7"/>
                      <a:pt x="0" y="6"/>
                      <a:pt x="0" y="11"/>
                    </a:cubicBezTo>
                    <a:cubicBezTo>
                      <a:pt x="0" y="13"/>
                      <a:pt x="2" y="18"/>
                      <a:pt x="5" y="17"/>
                    </a:cubicBezTo>
                    <a:cubicBezTo>
                      <a:pt x="8" y="16"/>
                      <a:pt x="12" y="11"/>
                      <a:pt x="18" y="8"/>
                    </a:cubicBezTo>
                    <a:cubicBezTo>
                      <a:pt x="19" y="7"/>
                      <a:pt x="13" y="3"/>
                      <a:pt x="12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1" name="Freeform 1157"/>
              <p:cNvSpPr>
                <a:spLocks/>
              </p:cNvSpPr>
              <p:nvPr/>
            </p:nvSpPr>
            <p:spPr bwMode="auto">
              <a:xfrm>
                <a:off x="3455" y="3765"/>
                <a:ext cx="28" cy="13"/>
              </a:xfrm>
              <a:custGeom>
                <a:avLst/>
                <a:gdLst>
                  <a:gd name="T0" fmla="*/ 25 w 42"/>
                  <a:gd name="T1" fmla="*/ 18 h 19"/>
                  <a:gd name="T2" fmla="*/ 12 w 42"/>
                  <a:gd name="T3" fmla="*/ 0 h 19"/>
                  <a:gd name="T4" fmla="*/ 11 w 42"/>
                  <a:gd name="T5" fmla="*/ 0 h 19"/>
                  <a:gd name="T6" fmla="*/ 25 w 42"/>
                  <a:gd name="T7" fmla="*/ 1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19">
                    <a:moveTo>
                      <a:pt x="25" y="18"/>
                    </a:moveTo>
                    <a:cubicBezTo>
                      <a:pt x="42" y="13"/>
                      <a:pt x="13" y="0"/>
                      <a:pt x="12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0" y="4"/>
                      <a:pt x="19" y="19"/>
                      <a:pt x="25" y="18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2" name="Freeform 1158"/>
              <p:cNvSpPr>
                <a:spLocks/>
              </p:cNvSpPr>
              <p:nvPr/>
            </p:nvSpPr>
            <p:spPr bwMode="auto">
              <a:xfrm>
                <a:off x="3551" y="3754"/>
                <a:ext cx="30" cy="15"/>
              </a:xfrm>
              <a:custGeom>
                <a:avLst/>
                <a:gdLst>
                  <a:gd name="T0" fmla="*/ 45 w 45"/>
                  <a:gd name="T1" fmla="*/ 5 h 22"/>
                  <a:gd name="T2" fmla="*/ 45 w 45"/>
                  <a:gd name="T3" fmla="*/ 5 h 22"/>
                  <a:gd name="T4" fmla="*/ 37 w 45"/>
                  <a:gd name="T5" fmla="*/ 4 h 22"/>
                  <a:gd name="T6" fmla="*/ 17 w 45"/>
                  <a:gd name="T7" fmla="*/ 1 h 22"/>
                  <a:gd name="T8" fmla="*/ 3 w 45"/>
                  <a:gd name="T9" fmla="*/ 7 h 22"/>
                  <a:gd name="T10" fmla="*/ 6 w 45"/>
                  <a:gd name="T11" fmla="*/ 15 h 22"/>
                  <a:gd name="T12" fmla="*/ 9 w 45"/>
                  <a:gd name="T13" fmla="*/ 14 h 22"/>
                  <a:gd name="T14" fmla="*/ 23 w 45"/>
                  <a:gd name="T15" fmla="*/ 22 h 22"/>
                  <a:gd name="T16" fmla="*/ 45 w 45"/>
                  <a:gd name="T17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22">
                    <a:moveTo>
                      <a:pt x="45" y="5"/>
                    </a:moveTo>
                    <a:cubicBezTo>
                      <a:pt x="45" y="5"/>
                      <a:pt x="45" y="5"/>
                      <a:pt x="45" y="5"/>
                    </a:cubicBezTo>
                    <a:cubicBezTo>
                      <a:pt x="45" y="2"/>
                      <a:pt x="38" y="1"/>
                      <a:pt x="37" y="4"/>
                    </a:cubicBezTo>
                    <a:cubicBezTo>
                      <a:pt x="34" y="10"/>
                      <a:pt x="29" y="2"/>
                      <a:pt x="17" y="1"/>
                    </a:cubicBezTo>
                    <a:cubicBezTo>
                      <a:pt x="14" y="0"/>
                      <a:pt x="4" y="5"/>
                      <a:pt x="3" y="7"/>
                    </a:cubicBezTo>
                    <a:cubicBezTo>
                      <a:pt x="0" y="11"/>
                      <a:pt x="1" y="19"/>
                      <a:pt x="6" y="15"/>
                    </a:cubicBezTo>
                    <a:cubicBezTo>
                      <a:pt x="6" y="15"/>
                      <a:pt x="8" y="14"/>
                      <a:pt x="9" y="14"/>
                    </a:cubicBezTo>
                    <a:cubicBezTo>
                      <a:pt x="18" y="13"/>
                      <a:pt x="17" y="22"/>
                      <a:pt x="23" y="22"/>
                    </a:cubicBezTo>
                    <a:cubicBezTo>
                      <a:pt x="36" y="22"/>
                      <a:pt x="43" y="6"/>
                      <a:pt x="45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3" name="Freeform 1159"/>
              <p:cNvSpPr>
                <a:spLocks/>
              </p:cNvSpPr>
              <p:nvPr/>
            </p:nvSpPr>
            <p:spPr bwMode="auto">
              <a:xfrm>
                <a:off x="3178" y="3620"/>
                <a:ext cx="1" cy="0"/>
              </a:xfrm>
              <a:custGeom>
                <a:avLst/>
                <a:gdLst>
                  <a:gd name="T0" fmla="*/ 1 w 1"/>
                  <a:gd name="T1" fmla="*/ 1 h 1"/>
                  <a:gd name="T2" fmla="*/ 1 w 1"/>
                  <a:gd name="T3" fmla="*/ 1 h 1"/>
                  <a:gd name="T4" fmla="*/ 1 w 1"/>
                  <a:gd name="T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0" y="0"/>
                      <a:pt x="1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4" name="Freeform 1160"/>
              <p:cNvSpPr>
                <a:spLocks/>
              </p:cNvSpPr>
              <p:nvPr/>
            </p:nvSpPr>
            <p:spPr bwMode="auto">
              <a:xfrm>
                <a:off x="3145" y="3593"/>
                <a:ext cx="30" cy="39"/>
              </a:xfrm>
              <a:custGeom>
                <a:avLst/>
                <a:gdLst>
                  <a:gd name="T0" fmla="*/ 38 w 46"/>
                  <a:gd name="T1" fmla="*/ 50 h 60"/>
                  <a:gd name="T2" fmla="*/ 32 w 46"/>
                  <a:gd name="T3" fmla="*/ 47 h 60"/>
                  <a:gd name="T4" fmla="*/ 27 w 46"/>
                  <a:gd name="T5" fmla="*/ 36 h 60"/>
                  <a:gd name="T6" fmla="*/ 28 w 46"/>
                  <a:gd name="T7" fmla="*/ 28 h 60"/>
                  <a:gd name="T8" fmla="*/ 23 w 46"/>
                  <a:gd name="T9" fmla="*/ 24 h 60"/>
                  <a:gd name="T10" fmla="*/ 20 w 46"/>
                  <a:gd name="T11" fmla="*/ 19 h 60"/>
                  <a:gd name="T12" fmla="*/ 29 w 46"/>
                  <a:gd name="T13" fmla="*/ 13 h 60"/>
                  <a:gd name="T14" fmla="*/ 27 w 46"/>
                  <a:gd name="T15" fmla="*/ 7 h 60"/>
                  <a:gd name="T16" fmla="*/ 19 w 46"/>
                  <a:gd name="T17" fmla="*/ 5 h 60"/>
                  <a:gd name="T18" fmla="*/ 11 w 46"/>
                  <a:gd name="T19" fmla="*/ 7 h 60"/>
                  <a:gd name="T20" fmla="*/ 3 w 46"/>
                  <a:gd name="T21" fmla="*/ 10 h 60"/>
                  <a:gd name="T22" fmla="*/ 4 w 46"/>
                  <a:gd name="T23" fmla="*/ 15 h 60"/>
                  <a:gd name="T24" fmla="*/ 6 w 46"/>
                  <a:gd name="T25" fmla="*/ 16 h 60"/>
                  <a:gd name="T26" fmla="*/ 9 w 46"/>
                  <a:gd name="T27" fmla="*/ 22 h 60"/>
                  <a:gd name="T28" fmla="*/ 13 w 46"/>
                  <a:gd name="T29" fmla="*/ 28 h 60"/>
                  <a:gd name="T30" fmla="*/ 14 w 46"/>
                  <a:gd name="T31" fmla="*/ 31 h 60"/>
                  <a:gd name="T32" fmla="*/ 20 w 46"/>
                  <a:gd name="T33" fmla="*/ 34 h 60"/>
                  <a:gd name="T34" fmla="*/ 21 w 46"/>
                  <a:gd name="T35" fmla="*/ 42 h 60"/>
                  <a:gd name="T36" fmla="*/ 29 w 46"/>
                  <a:gd name="T37" fmla="*/ 51 h 60"/>
                  <a:gd name="T38" fmla="*/ 38 w 46"/>
                  <a:gd name="T39" fmla="*/ 56 h 60"/>
                  <a:gd name="T40" fmla="*/ 45 w 46"/>
                  <a:gd name="T41" fmla="*/ 58 h 60"/>
                  <a:gd name="T42" fmla="*/ 43 w 46"/>
                  <a:gd name="T43" fmla="*/ 51 h 60"/>
                  <a:gd name="T44" fmla="*/ 38 w 46"/>
                  <a:gd name="T45" fmla="*/ 5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6" h="60">
                    <a:moveTo>
                      <a:pt x="38" y="50"/>
                    </a:moveTo>
                    <a:cubicBezTo>
                      <a:pt x="35" y="51"/>
                      <a:pt x="37" y="48"/>
                      <a:pt x="32" y="47"/>
                    </a:cubicBezTo>
                    <a:cubicBezTo>
                      <a:pt x="27" y="46"/>
                      <a:pt x="28" y="39"/>
                      <a:pt x="27" y="36"/>
                    </a:cubicBezTo>
                    <a:cubicBezTo>
                      <a:pt x="26" y="33"/>
                      <a:pt x="28" y="31"/>
                      <a:pt x="28" y="28"/>
                    </a:cubicBezTo>
                    <a:cubicBezTo>
                      <a:pt x="28" y="26"/>
                      <a:pt x="22" y="27"/>
                      <a:pt x="23" y="24"/>
                    </a:cubicBezTo>
                    <a:cubicBezTo>
                      <a:pt x="23" y="20"/>
                      <a:pt x="21" y="23"/>
                      <a:pt x="20" y="19"/>
                    </a:cubicBezTo>
                    <a:cubicBezTo>
                      <a:pt x="20" y="16"/>
                      <a:pt x="27" y="17"/>
                      <a:pt x="29" y="13"/>
                    </a:cubicBezTo>
                    <a:cubicBezTo>
                      <a:pt x="31" y="10"/>
                      <a:pt x="32" y="8"/>
                      <a:pt x="27" y="7"/>
                    </a:cubicBezTo>
                    <a:cubicBezTo>
                      <a:pt x="23" y="7"/>
                      <a:pt x="22" y="0"/>
                      <a:pt x="19" y="5"/>
                    </a:cubicBezTo>
                    <a:cubicBezTo>
                      <a:pt x="16" y="9"/>
                      <a:pt x="15" y="5"/>
                      <a:pt x="11" y="7"/>
                    </a:cubicBezTo>
                    <a:cubicBezTo>
                      <a:pt x="8" y="8"/>
                      <a:pt x="8" y="4"/>
                      <a:pt x="3" y="10"/>
                    </a:cubicBezTo>
                    <a:cubicBezTo>
                      <a:pt x="0" y="13"/>
                      <a:pt x="4" y="12"/>
                      <a:pt x="4" y="15"/>
                    </a:cubicBezTo>
                    <a:cubicBezTo>
                      <a:pt x="4" y="18"/>
                      <a:pt x="5" y="15"/>
                      <a:pt x="6" y="16"/>
                    </a:cubicBezTo>
                    <a:cubicBezTo>
                      <a:pt x="7" y="18"/>
                      <a:pt x="2" y="21"/>
                      <a:pt x="9" y="22"/>
                    </a:cubicBezTo>
                    <a:cubicBezTo>
                      <a:pt x="13" y="22"/>
                      <a:pt x="9" y="27"/>
                      <a:pt x="13" y="28"/>
                    </a:cubicBezTo>
                    <a:cubicBezTo>
                      <a:pt x="17" y="29"/>
                      <a:pt x="13" y="30"/>
                      <a:pt x="14" y="31"/>
                    </a:cubicBezTo>
                    <a:cubicBezTo>
                      <a:pt x="15" y="32"/>
                      <a:pt x="17" y="31"/>
                      <a:pt x="20" y="34"/>
                    </a:cubicBezTo>
                    <a:cubicBezTo>
                      <a:pt x="22" y="37"/>
                      <a:pt x="21" y="38"/>
                      <a:pt x="21" y="42"/>
                    </a:cubicBezTo>
                    <a:cubicBezTo>
                      <a:pt x="22" y="46"/>
                      <a:pt x="23" y="50"/>
                      <a:pt x="29" y="51"/>
                    </a:cubicBezTo>
                    <a:cubicBezTo>
                      <a:pt x="34" y="52"/>
                      <a:pt x="34" y="54"/>
                      <a:pt x="38" y="56"/>
                    </a:cubicBezTo>
                    <a:cubicBezTo>
                      <a:pt x="42" y="57"/>
                      <a:pt x="44" y="60"/>
                      <a:pt x="45" y="58"/>
                    </a:cubicBezTo>
                    <a:cubicBezTo>
                      <a:pt x="46" y="56"/>
                      <a:pt x="45" y="59"/>
                      <a:pt x="43" y="51"/>
                    </a:cubicBezTo>
                    <a:cubicBezTo>
                      <a:pt x="40" y="44"/>
                      <a:pt x="40" y="49"/>
                      <a:pt x="38" y="5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5" name="Freeform 1161"/>
              <p:cNvSpPr>
                <a:spLocks/>
              </p:cNvSpPr>
              <p:nvPr/>
            </p:nvSpPr>
            <p:spPr bwMode="auto">
              <a:xfrm>
                <a:off x="3170" y="3439"/>
                <a:ext cx="394" cy="428"/>
              </a:xfrm>
              <a:custGeom>
                <a:avLst/>
                <a:gdLst>
                  <a:gd name="T0" fmla="*/ 550 w 600"/>
                  <a:gd name="T1" fmla="*/ 1 h 652"/>
                  <a:gd name="T2" fmla="*/ 433 w 600"/>
                  <a:gd name="T3" fmla="*/ 42 h 652"/>
                  <a:gd name="T4" fmla="*/ 385 w 600"/>
                  <a:gd name="T5" fmla="*/ 30 h 652"/>
                  <a:gd name="T6" fmla="*/ 306 w 600"/>
                  <a:gd name="T7" fmla="*/ 44 h 652"/>
                  <a:gd name="T8" fmla="*/ 259 w 600"/>
                  <a:gd name="T9" fmla="*/ 50 h 652"/>
                  <a:gd name="T10" fmla="*/ 180 w 600"/>
                  <a:gd name="T11" fmla="*/ 73 h 652"/>
                  <a:gd name="T12" fmla="*/ 72 w 600"/>
                  <a:gd name="T13" fmla="*/ 157 h 652"/>
                  <a:gd name="T14" fmla="*/ 21 w 600"/>
                  <a:gd name="T15" fmla="*/ 240 h 652"/>
                  <a:gd name="T16" fmla="*/ 11 w 600"/>
                  <a:gd name="T17" fmla="*/ 269 h 652"/>
                  <a:gd name="T18" fmla="*/ 16 w 600"/>
                  <a:gd name="T19" fmla="*/ 275 h 652"/>
                  <a:gd name="T20" fmla="*/ 19 w 600"/>
                  <a:gd name="T21" fmla="*/ 290 h 652"/>
                  <a:gd name="T22" fmla="*/ 23 w 600"/>
                  <a:gd name="T23" fmla="*/ 299 h 652"/>
                  <a:gd name="T24" fmla="*/ 69 w 600"/>
                  <a:gd name="T25" fmla="*/ 323 h 652"/>
                  <a:gd name="T26" fmla="*/ 76 w 600"/>
                  <a:gd name="T27" fmla="*/ 328 h 652"/>
                  <a:gd name="T28" fmla="*/ 93 w 600"/>
                  <a:gd name="T29" fmla="*/ 354 h 652"/>
                  <a:gd name="T30" fmla="*/ 68 w 600"/>
                  <a:gd name="T31" fmla="*/ 353 h 652"/>
                  <a:gd name="T32" fmla="*/ 94 w 600"/>
                  <a:gd name="T33" fmla="*/ 394 h 652"/>
                  <a:gd name="T34" fmla="*/ 119 w 600"/>
                  <a:gd name="T35" fmla="*/ 409 h 652"/>
                  <a:gd name="T36" fmla="*/ 210 w 600"/>
                  <a:gd name="T37" fmla="*/ 407 h 652"/>
                  <a:gd name="T38" fmla="*/ 235 w 600"/>
                  <a:gd name="T39" fmla="*/ 416 h 652"/>
                  <a:gd name="T40" fmla="*/ 266 w 600"/>
                  <a:gd name="T41" fmla="*/ 432 h 652"/>
                  <a:gd name="T42" fmla="*/ 251 w 600"/>
                  <a:gd name="T43" fmla="*/ 454 h 652"/>
                  <a:gd name="T44" fmla="*/ 138 w 600"/>
                  <a:gd name="T45" fmla="*/ 440 h 652"/>
                  <a:gd name="T46" fmla="*/ 95 w 600"/>
                  <a:gd name="T47" fmla="*/ 476 h 652"/>
                  <a:gd name="T48" fmla="*/ 135 w 600"/>
                  <a:gd name="T49" fmla="*/ 560 h 652"/>
                  <a:gd name="T50" fmla="*/ 186 w 600"/>
                  <a:gd name="T51" fmla="*/ 588 h 652"/>
                  <a:gd name="T52" fmla="*/ 227 w 600"/>
                  <a:gd name="T53" fmla="*/ 603 h 652"/>
                  <a:gd name="T54" fmla="*/ 274 w 600"/>
                  <a:gd name="T55" fmla="*/ 605 h 652"/>
                  <a:gd name="T56" fmla="*/ 249 w 600"/>
                  <a:gd name="T57" fmla="*/ 515 h 652"/>
                  <a:gd name="T58" fmla="*/ 280 w 600"/>
                  <a:gd name="T59" fmla="*/ 537 h 652"/>
                  <a:gd name="T60" fmla="*/ 299 w 600"/>
                  <a:gd name="T61" fmla="*/ 516 h 652"/>
                  <a:gd name="T62" fmla="*/ 265 w 600"/>
                  <a:gd name="T63" fmla="*/ 467 h 652"/>
                  <a:gd name="T64" fmla="*/ 325 w 600"/>
                  <a:gd name="T65" fmla="*/ 465 h 652"/>
                  <a:gd name="T66" fmla="*/ 344 w 600"/>
                  <a:gd name="T67" fmla="*/ 485 h 652"/>
                  <a:gd name="T68" fmla="*/ 351 w 600"/>
                  <a:gd name="T69" fmla="*/ 445 h 652"/>
                  <a:gd name="T70" fmla="*/ 313 w 600"/>
                  <a:gd name="T71" fmla="*/ 397 h 652"/>
                  <a:gd name="T72" fmla="*/ 269 w 600"/>
                  <a:gd name="T73" fmla="*/ 371 h 652"/>
                  <a:gd name="T74" fmla="*/ 261 w 600"/>
                  <a:gd name="T75" fmla="*/ 333 h 652"/>
                  <a:gd name="T76" fmla="*/ 268 w 600"/>
                  <a:gd name="T77" fmla="*/ 325 h 652"/>
                  <a:gd name="T78" fmla="*/ 233 w 600"/>
                  <a:gd name="T79" fmla="*/ 171 h 652"/>
                  <a:gd name="T80" fmla="*/ 236 w 600"/>
                  <a:gd name="T81" fmla="*/ 151 h 652"/>
                  <a:gd name="T82" fmla="*/ 295 w 600"/>
                  <a:gd name="T83" fmla="*/ 221 h 652"/>
                  <a:gd name="T84" fmla="*/ 352 w 600"/>
                  <a:gd name="T85" fmla="*/ 221 h 652"/>
                  <a:gd name="T86" fmla="*/ 365 w 600"/>
                  <a:gd name="T87" fmla="*/ 172 h 652"/>
                  <a:gd name="T88" fmla="*/ 337 w 600"/>
                  <a:gd name="T89" fmla="*/ 154 h 652"/>
                  <a:gd name="T90" fmla="*/ 388 w 600"/>
                  <a:gd name="T91" fmla="*/ 101 h 652"/>
                  <a:gd name="T92" fmla="*/ 455 w 600"/>
                  <a:gd name="T93" fmla="*/ 100 h 652"/>
                  <a:gd name="T94" fmla="*/ 535 w 600"/>
                  <a:gd name="T95" fmla="*/ 126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00" h="652">
                    <a:moveTo>
                      <a:pt x="559" y="71"/>
                    </a:moveTo>
                    <a:cubicBezTo>
                      <a:pt x="564" y="59"/>
                      <a:pt x="579" y="60"/>
                      <a:pt x="586" y="52"/>
                    </a:cubicBezTo>
                    <a:cubicBezTo>
                      <a:pt x="600" y="37"/>
                      <a:pt x="580" y="14"/>
                      <a:pt x="562" y="5"/>
                    </a:cubicBezTo>
                    <a:cubicBezTo>
                      <a:pt x="558" y="3"/>
                      <a:pt x="554" y="1"/>
                      <a:pt x="550" y="1"/>
                    </a:cubicBezTo>
                    <a:cubicBezTo>
                      <a:pt x="517" y="0"/>
                      <a:pt x="563" y="39"/>
                      <a:pt x="543" y="50"/>
                    </a:cubicBezTo>
                    <a:cubicBezTo>
                      <a:pt x="529" y="58"/>
                      <a:pt x="498" y="55"/>
                      <a:pt x="482" y="59"/>
                    </a:cubicBezTo>
                    <a:cubicBezTo>
                      <a:pt x="479" y="60"/>
                      <a:pt x="465" y="64"/>
                      <a:pt x="463" y="63"/>
                    </a:cubicBezTo>
                    <a:cubicBezTo>
                      <a:pt x="456" y="59"/>
                      <a:pt x="445" y="42"/>
                      <a:pt x="433" y="42"/>
                    </a:cubicBezTo>
                    <a:cubicBezTo>
                      <a:pt x="431" y="42"/>
                      <a:pt x="430" y="45"/>
                      <a:pt x="428" y="46"/>
                    </a:cubicBezTo>
                    <a:cubicBezTo>
                      <a:pt x="427" y="48"/>
                      <a:pt x="426" y="51"/>
                      <a:pt x="424" y="50"/>
                    </a:cubicBezTo>
                    <a:cubicBezTo>
                      <a:pt x="418" y="48"/>
                      <a:pt x="405" y="24"/>
                      <a:pt x="400" y="24"/>
                    </a:cubicBezTo>
                    <a:cubicBezTo>
                      <a:pt x="395" y="23"/>
                      <a:pt x="391" y="30"/>
                      <a:pt x="385" y="30"/>
                    </a:cubicBezTo>
                    <a:cubicBezTo>
                      <a:pt x="381" y="30"/>
                      <a:pt x="379" y="22"/>
                      <a:pt x="375" y="24"/>
                    </a:cubicBezTo>
                    <a:cubicBezTo>
                      <a:pt x="358" y="30"/>
                      <a:pt x="347" y="40"/>
                      <a:pt x="323" y="44"/>
                    </a:cubicBezTo>
                    <a:cubicBezTo>
                      <a:pt x="320" y="45"/>
                      <a:pt x="317" y="44"/>
                      <a:pt x="314" y="44"/>
                    </a:cubicBezTo>
                    <a:cubicBezTo>
                      <a:pt x="312" y="44"/>
                      <a:pt x="309" y="44"/>
                      <a:pt x="306" y="44"/>
                    </a:cubicBezTo>
                    <a:cubicBezTo>
                      <a:pt x="303" y="44"/>
                      <a:pt x="300" y="44"/>
                      <a:pt x="297" y="44"/>
                    </a:cubicBezTo>
                    <a:cubicBezTo>
                      <a:pt x="294" y="44"/>
                      <a:pt x="291" y="43"/>
                      <a:pt x="289" y="44"/>
                    </a:cubicBezTo>
                    <a:cubicBezTo>
                      <a:pt x="285" y="46"/>
                      <a:pt x="284" y="53"/>
                      <a:pt x="280" y="54"/>
                    </a:cubicBezTo>
                    <a:cubicBezTo>
                      <a:pt x="267" y="60"/>
                      <a:pt x="261" y="57"/>
                      <a:pt x="259" y="50"/>
                    </a:cubicBezTo>
                    <a:cubicBezTo>
                      <a:pt x="236" y="50"/>
                      <a:pt x="252" y="68"/>
                      <a:pt x="238" y="75"/>
                    </a:cubicBezTo>
                    <a:cubicBezTo>
                      <a:pt x="236" y="76"/>
                      <a:pt x="235" y="70"/>
                      <a:pt x="232" y="71"/>
                    </a:cubicBezTo>
                    <a:cubicBezTo>
                      <a:pt x="229" y="72"/>
                      <a:pt x="229" y="78"/>
                      <a:pt x="226" y="79"/>
                    </a:cubicBezTo>
                    <a:cubicBezTo>
                      <a:pt x="216" y="84"/>
                      <a:pt x="190" y="73"/>
                      <a:pt x="180" y="73"/>
                    </a:cubicBezTo>
                    <a:cubicBezTo>
                      <a:pt x="164" y="73"/>
                      <a:pt x="165" y="96"/>
                      <a:pt x="155" y="102"/>
                    </a:cubicBezTo>
                    <a:cubicBezTo>
                      <a:pt x="153" y="102"/>
                      <a:pt x="86" y="113"/>
                      <a:pt x="84" y="112"/>
                    </a:cubicBezTo>
                    <a:cubicBezTo>
                      <a:pt x="82" y="124"/>
                      <a:pt x="93" y="130"/>
                      <a:pt x="90" y="140"/>
                    </a:cubicBezTo>
                    <a:cubicBezTo>
                      <a:pt x="85" y="154"/>
                      <a:pt x="81" y="154"/>
                      <a:pt x="72" y="157"/>
                    </a:cubicBezTo>
                    <a:cubicBezTo>
                      <a:pt x="60" y="160"/>
                      <a:pt x="61" y="195"/>
                      <a:pt x="55" y="203"/>
                    </a:cubicBezTo>
                    <a:cubicBezTo>
                      <a:pt x="50" y="211"/>
                      <a:pt x="31" y="208"/>
                      <a:pt x="24" y="218"/>
                    </a:cubicBezTo>
                    <a:cubicBezTo>
                      <a:pt x="22" y="220"/>
                      <a:pt x="33" y="234"/>
                      <a:pt x="33" y="238"/>
                    </a:cubicBezTo>
                    <a:cubicBezTo>
                      <a:pt x="33" y="246"/>
                      <a:pt x="24" y="240"/>
                      <a:pt x="21" y="240"/>
                    </a:cubicBezTo>
                    <a:cubicBezTo>
                      <a:pt x="16" y="240"/>
                      <a:pt x="24" y="253"/>
                      <a:pt x="20" y="256"/>
                    </a:cubicBezTo>
                    <a:cubicBezTo>
                      <a:pt x="18" y="257"/>
                      <a:pt x="5" y="254"/>
                      <a:pt x="3" y="253"/>
                    </a:cubicBezTo>
                    <a:cubicBezTo>
                      <a:pt x="2" y="253"/>
                      <a:pt x="1" y="254"/>
                      <a:pt x="0" y="254"/>
                    </a:cubicBezTo>
                    <a:cubicBezTo>
                      <a:pt x="6" y="257"/>
                      <a:pt x="19" y="263"/>
                      <a:pt x="11" y="269"/>
                    </a:cubicBezTo>
                    <a:cubicBezTo>
                      <a:pt x="11" y="269"/>
                      <a:pt x="6" y="274"/>
                      <a:pt x="10" y="272"/>
                    </a:cubicBezTo>
                    <a:cubicBezTo>
                      <a:pt x="12" y="272"/>
                      <a:pt x="14" y="274"/>
                      <a:pt x="13" y="274"/>
                    </a:cubicBezTo>
                    <a:cubicBezTo>
                      <a:pt x="13" y="274"/>
                      <a:pt x="13" y="275"/>
                      <a:pt x="13" y="276"/>
                    </a:cubicBezTo>
                    <a:cubicBezTo>
                      <a:pt x="14" y="276"/>
                      <a:pt x="15" y="276"/>
                      <a:pt x="16" y="275"/>
                    </a:cubicBezTo>
                    <a:cubicBezTo>
                      <a:pt x="22" y="272"/>
                      <a:pt x="16" y="280"/>
                      <a:pt x="17" y="280"/>
                    </a:cubicBezTo>
                    <a:cubicBezTo>
                      <a:pt x="17" y="280"/>
                      <a:pt x="22" y="284"/>
                      <a:pt x="19" y="284"/>
                    </a:cubicBezTo>
                    <a:cubicBezTo>
                      <a:pt x="19" y="284"/>
                      <a:pt x="15" y="283"/>
                      <a:pt x="15" y="284"/>
                    </a:cubicBezTo>
                    <a:cubicBezTo>
                      <a:pt x="16" y="288"/>
                      <a:pt x="18" y="288"/>
                      <a:pt x="19" y="290"/>
                    </a:cubicBezTo>
                    <a:cubicBezTo>
                      <a:pt x="20" y="290"/>
                      <a:pt x="21" y="291"/>
                      <a:pt x="21" y="292"/>
                    </a:cubicBezTo>
                    <a:cubicBezTo>
                      <a:pt x="21" y="293"/>
                      <a:pt x="21" y="293"/>
                      <a:pt x="21" y="293"/>
                    </a:cubicBezTo>
                    <a:cubicBezTo>
                      <a:pt x="22" y="294"/>
                      <a:pt x="21" y="294"/>
                      <a:pt x="22" y="295"/>
                    </a:cubicBezTo>
                    <a:cubicBezTo>
                      <a:pt x="22" y="297"/>
                      <a:pt x="22" y="298"/>
                      <a:pt x="23" y="299"/>
                    </a:cubicBezTo>
                    <a:cubicBezTo>
                      <a:pt x="26" y="301"/>
                      <a:pt x="27" y="302"/>
                      <a:pt x="30" y="302"/>
                    </a:cubicBezTo>
                    <a:cubicBezTo>
                      <a:pt x="42" y="306"/>
                      <a:pt x="60" y="335"/>
                      <a:pt x="60" y="336"/>
                    </a:cubicBezTo>
                    <a:cubicBezTo>
                      <a:pt x="59" y="337"/>
                      <a:pt x="59" y="342"/>
                      <a:pt x="62" y="342"/>
                    </a:cubicBezTo>
                    <a:cubicBezTo>
                      <a:pt x="73" y="343"/>
                      <a:pt x="60" y="332"/>
                      <a:pt x="69" y="323"/>
                    </a:cubicBezTo>
                    <a:cubicBezTo>
                      <a:pt x="70" y="322"/>
                      <a:pt x="68" y="333"/>
                      <a:pt x="70" y="329"/>
                    </a:cubicBezTo>
                    <a:cubicBezTo>
                      <a:pt x="71" y="328"/>
                      <a:pt x="72" y="333"/>
                      <a:pt x="71" y="334"/>
                    </a:cubicBezTo>
                    <a:cubicBezTo>
                      <a:pt x="72" y="334"/>
                      <a:pt x="72" y="334"/>
                      <a:pt x="72" y="334"/>
                    </a:cubicBezTo>
                    <a:cubicBezTo>
                      <a:pt x="81" y="333"/>
                      <a:pt x="71" y="329"/>
                      <a:pt x="76" y="328"/>
                    </a:cubicBezTo>
                    <a:cubicBezTo>
                      <a:pt x="77" y="328"/>
                      <a:pt x="83" y="333"/>
                      <a:pt x="83" y="334"/>
                    </a:cubicBezTo>
                    <a:cubicBezTo>
                      <a:pt x="85" y="338"/>
                      <a:pt x="102" y="325"/>
                      <a:pt x="101" y="352"/>
                    </a:cubicBezTo>
                    <a:cubicBezTo>
                      <a:pt x="101" y="355"/>
                      <a:pt x="97" y="348"/>
                      <a:pt x="94" y="348"/>
                    </a:cubicBezTo>
                    <a:cubicBezTo>
                      <a:pt x="93" y="348"/>
                      <a:pt x="94" y="353"/>
                      <a:pt x="93" y="354"/>
                    </a:cubicBezTo>
                    <a:cubicBezTo>
                      <a:pt x="93" y="354"/>
                      <a:pt x="89" y="350"/>
                      <a:pt x="88" y="350"/>
                    </a:cubicBezTo>
                    <a:cubicBezTo>
                      <a:pt x="77" y="345"/>
                      <a:pt x="77" y="348"/>
                      <a:pt x="68" y="347"/>
                    </a:cubicBezTo>
                    <a:cubicBezTo>
                      <a:pt x="66" y="347"/>
                      <a:pt x="65" y="344"/>
                      <a:pt x="65" y="345"/>
                    </a:cubicBezTo>
                    <a:cubicBezTo>
                      <a:pt x="61" y="351"/>
                      <a:pt x="68" y="351"/>
                      <a:pt x="68" y="353"/>
                    </a:cubicBezTo>
                    <a:cubicBezTo>
                      <a:pt x="66" y="357"/>
                      <a:pt x="61" y="353"/>
                      <a:pt x="61" y="361"/>
                    </a:cubicBezTo>
                    <a:cubicBezTo>
                      <a:pt x="62" y="373"/>
                      <a:pt x="73" y="359"/>
                      <a:pt x="75" y="363"/>
                    </a:cubicBezTo>
                    <a:cubicBezTo>
                      <a:pt x="77" y="369"/>
                      <a:pt x="87" y="396"/>
                      <a:pt x="88" y="397"/>
                    </a:cubicBezTo>
                    <a:cubicBezTo>
                      <a:pt x="90" y="398"/>
                      <a:pt x="92" y="392"/>
                      <a:pt x="94" y="394"/>
                    </a:cubicBezTo>
                    <a:cubicBezTo>
                      <a:pt x="99" y="399"/>
                      <a:pt x="89" y="423"/>
                      <a:pt x="101" y="422"/>
                    </a:cubicBezTo>
                    <a:cubicBezTo>
                      <a:pt x="107" y="421"/>
                      <a:pt x="116" y="407"/>
                      <a:pt x="114" y="405"/>
                    </a:cubicBezTo>
                    <a:cubicBezTo>
                      <a:pt x="114" y="404"/>
                      <a:pt x="110" y="398"/>
                      <a:pt x="113" y="398"/>
                    </a:cubicBezTo>
                    <a:cubicBezTo>
                      <a:pt x="117" y="397"/>
                      <a:pt x="118" y="407"/>
                      <a:pt x="119" y="409"/>
                    </a:cubicBezTo>
                    <a:cubicBezTo>
                      <a:pt x="120" y="413"/>
                      <a:pt x="128" y="413"/>
                      <a:pt x="129" y="415"/>
                    </a:cubicBezTo>
                    <a:cubicBezTo>
                      <a:pt x="129" y="417"/>
                      <a:pt x="123" y="417"/>
                      <a:pt x="123" y="419"/>
                    </a:cubicBezTo>
                    <a:cubicBezTo>
                      <a:pt x="128" y="431"/>
                      <a:pt x="160" y="400"/>
                      <a:pt x="186" y="413"/>
                    </a:cubicBezTo>
                    <a:cubicBezTo>
                      <a:pt x="190" y="415"/>
                      <a:pt x="219" y="420"/>
                      <a:pt x="210" y="407"/>
                    </a:cubicBezTo>
                    <a:cubicBezTo>
                      <a:pt x="210" y="406"/>
                      <a:pt x="209" y="404"/>
                      <a:pt x="210" y="404"/>
                    </a:cubicBezTo>
                    <a:cubicBezTo>
                      <a:pt x="220" y="402"/>
                      <a:pt x="220" y="424"/>
                      <a:pt x="226" y="423"/>
                    </a:cubicBezTo>
                    <a:cubicBezTo>
                      <a:pt x="228" y="423"/>
                      <a:pt x="230" y="411"/>
                      <a:pt x="232" y="411"/>
                    </a:cubicBezTo>
                    <a:cubicBezTo>
                      <a:pt x="236" y="412"/>
                      <a:pt x="235" y="415"/>
                      <a:pt x="235" y="416"/>
                    </a:cubicBezTo>
                    <a:cubicBezTo>
                      <a:pt x="233" y="419"/>
                      <a:pt x="241" y="422"/>
                      <a:pt x="242" y="423"/>
                    </a:cubicBezTo>
                    <a:cubicBezTo>
                      <a:pt x="247" y="428"/>
                      <a:pt x="247" y="428"/>
                      <a:pt x="254" y="432"/>
                    </a:cubicBezTo>
                    <a:cubicBezTo>
                      <a:pt x="254" y="433"/>
                      <a:pt x="256" y="434"/>
                      <a:pt x="256" y="433"/>
                    </a:cubicBezTo>
                    <a:cubicBezTo>
                      <a:pt x="256" y="430"/>
                      <a:pt x="264" y="432"/>
                      <a:pt x="266" y="432"/>
                    </a:cubicBezTo>
                    <a:cubicBezTo>
                      <a:pt x="266" y="432"/>
                      <a:pt x="275" y="438"/>
                      <a:pt x="275" y="438"/>
                    </a:cubicBezTo>
                    <a:cubicBezTo>
                      <a:pt x="277" y="439"/>
                      <a:pt x="282" y="436"/>
                      <a:pt x="284" y="439"/>
                    </a:cubicBezTo>
                    <a:cubicBezTo>
                      <a:pt x="284" y="440"/>
                      <a:pt x="277" y="440"/>
                      <a:pt x="279" y="442"/>
                    </a:cubicBezTo>
                    <a:cubicBezTo>
                      <a:pt x="291" y="450"/>
                      <a:pt x="253" y="449"/>
                      <a:pt x="251" y="454"/>
                    </a:cubicBezTo>
                    <a:cubicBezTo>
                      <a:pt x="248" y="458"/>
                      <a:pt x="263" y="461"/>
                      <a:pt x="260" y="464"/>
                    </a:cubicBezTo>
                    <a:cubicBezTo>
                      <a:pt x="259" y="465"/>
                      <a:pt x="254" y="466"/>
                      <a:pt x="253" y="465"/>
                    </a:cubicBezTo>
                    <a:cubicBezTo>
                      <a:pt x="250" y="465"/>
                      <a:pt x="178" y="420"/>
                      <a:pt x="171" y="418"/>
                    </a:cubicBezTo>
                    <a:cubicBezTo>
                      <a:pt x="149" y="412"/>
                      <a:pt x="155" y="440"/>
                      <a:pt x="138" y="440"/>
                    </a:cubicBezTo>
                    <a:cubicBezTo>
                      <a:pt x="127" y="440"/>
                      <a:pt x="119" y="430"/>
                      <a:pt x="118" y="432"/>
                    </a:cubicBezTo>
                    <a:cubicBezTo>
                      <a:pt x="114" y="440"/>
                      <a:pt x="113" y="457"/>
                      <a:pt x="112" y="458"/>
                    </a:cubicBezTo>
                    <a:cubicBezTo>
                      <a:pt x="108" y="463"/>
                      <a:pt x="97" y="461"/>
                      <a:pt x="96" y="467"/>
                    </a:cubicBezTo>
                    <a:cubicBezTo>
                      <a:pt x="96" y="470"/>
                      <a:pt x="94" y="473"/>
                      <a:pt x="95" y="476"/>
                    </a:cubicBezTo>
                    <a:cubicBezTo>
                      <a:pt x="95" y="479"/>
                      <a:pt x="107" y="481"/>
                      <a:pt x="110" y="483"/>
                    </a:cubicBezTo>
                    <a:cubicBezTo>
                      <a:pt x="115" y="488"/>
                      <a:pt x="107" y="504"/>
                      <a:pt x="113" y="502"/>
                    </a:cubicBezTo>
                    <a:cubicBezTo>
                      <a:pt x="121" y="500"/>
                      <a:pt x="133" y="506"/>
                      <a:pt x="140" y="519"/>
                    </a:cubicBezTo>
                    <a:cubicBezTo>
                      <a:pt x="152" y="541"/>
                      <a:pt x="136" y="541"/>
                      <a:pt x="135" y="560"/>
                    </a:cubicBezTo>
                    <a:cubicBezTo>
                      <a:pt x="135" y="573"/>
                      <a:pt x="155" y="606"/>
                      <a:pt x="163" y="611"/>
                    </a:cubicBezTo>
                    <a:cubicBezTo>
                      <a:pt x="164" y="611"/>
                      <a:pt x="168" y="607"/>
                      <a:pt x="169" y="607"/>
                    </a:cubicBezTo>
                    <a:cubicBezTo>
                      <a:pt x="172" y="604"/>
                      <a:pt x="161" y="562"/>
                      <a:pt x="188" y="575"/>
                    </a:cubicBezTo>
                    <a:cubicBezTo>
                      <a:pt x="190" y="576"/>
                      <a:pt x="186" y="587"/>
                      <a:pt x="186" y="588"/>
                    </a:cubicBezTo>
                    <a:cubicBezTo>
                      <a:pt x="186" y="590"/>
                      <a:pt x="209" y="607"/>
                      <a:pt x="209" y="614"/>
                    </a:cubicBezTo>
                    <a:cubicBezTo>
                      <a:pt x="209" y="622"/>
                      <a:pt x="205" y="647"/>
                      <a:pt x="218" y="651"/>
                    </a:cubicBezTo>
                    <a:cubicBezTo>
                      <a:pt x="220" y="652"/>
                      <a:pt x="217" y="629"/>
                      <a:pt x="217" y="625"/>
                    </a:cubicBezTo>
                    <a:cubicBezTo>
                      <a:pt x="217" y="624"/>
                      <a:pt x="221" y="610"/>
                      <a:pt x="227" y="603"/>
                    </a:cubicBezTo>
                    <a:cubicBezTo>
                      <a:pt x="243" y="585"/>
                      <a:pt x="261" y="646"/>
                      <a:pt x="273" y="645"/>
                    </a:cubicBezTo>
                    <a:cubicBezTo>
                      <a:pt x="274" y="645"/>
                      <a:pt x="281" y="647"/>
                      <a:pt x="281" y="645"/>
                    </a:cubicBezTo>
                    <a:cubicBezTo>
                      <a:pt x="285" y="640"/>
                      <a:pt x="267" y="627"/>
                      <a:pt x="266" y="619"/>
                    </a:cubicBezTo>
                    <a:cubicBezTo>
                      <a:pt x="265" y="609"/>
                      <a:pt x="273" y="613"/>
                      <a:pt x="274" y="605"/>
                    </a:cubicBezTo>
                    <a:cubicBezTo>
                      <a:pt x="274" y="603"/>
                      <a:pt x="267" y="599"/>
                      <a:pt x="267" y="595"/>
                    </a:cubicBezTo>
                    <a:cubicBezTo>
                      <a:pt x="268" y="584"/>
                      <a:pt x="258" y="558"/>
                      <a:pt x="254" y="554"/>
                    </a:cubicBezTo>
                    <a:cubicBezTo>
                      <a:pt x="250" y="549"/>
                      <a:pt x="231" y="511"/>
                      <a:pt x="242" y="507"/>
                    </a:cubicBezTo>
                    <a:cubicBezTo>
                      <a:pt x="246" y="506"/>
                      <a:pt x="247" y="514"/>
                      <a:pt x="249" y="515"/>
                    </a:cubicBezTo>
                    <a:cubicBezTo>
                      <a:pt x="254" y="519"/>
                      <a:pt x="269" y="517"/>
                      <a:pt x="275" y="524"/>
                    </a:cubicBezTo>
                    <a:cubicBezTo>
                      <a:pt x="276" y="526"/>
                      <a:pt x="267" y="535"/>
                      <a:pt x="277" y="542"/>
                    </a:cubicBezTo>
                    <a:cubicBezTo>
                      <a:pt x="277" y="543"/>
                      <a:pt x="278" y="543"/>
                      <a:pt x="279" y="543"/>
                    </a:cubicBezTo>
                    <a:cubicBezTo>
                      <a:pt x="283" y="545"/>
                      <a:pt x="280" y="538"/>
                      <a:pt x="280" y="537"/>
                    </a:cubicBezTo>
                    <a:cubicBezTo>
                      <a:pt x="283" y="533"/>
                      <a:pt x="285" y="539"/>
                      <a:pt x="286" y="534"/>
                    </a:cubicBezTo>
                    <a:cubicBezTo>
                      <a:pt x="287" y="534"/>
                      <a:pt x="282" y="534"/>
                      <a:pt x="284" y="532"/>
                    </a:cubicBezTo>
                    <a:cubicBezTo>
                      <a:pt x="284" y="532"/>
                      <a:pt x="310" y="528"/>
                      <a:pt x="310" y="525"/>
                    </a:cubicBezTo>
                    <a:cubicBezTo>
                      <a:pt x="311" y="519"/>
                      <a:pt x="300" y="520"/>
                      <a:pt x="299" y="516"/>
                    </a:cubicBezTo>
                    <a:cubicBezTo>
                      <a:pt x="297" y="511"/>
                      <a:pt x="303" y="502"/>
                      <a:pt x="298" y="502"/>
                    </a:cubicBezTo>
                    <a:cubicBezTo>
                      <a:pt x="287" y="501"/>
                      <a:pt x="298" y="516"/>
                      <a:pt x="292" y="514"/>
                    </a:cubicBezTo>
                    <a:cubicBezTo>
                      <a:pt x="268" y="505"/>
                      <a:pt x="281" y="489"/>
                      <a:pt x="280" y="481"/>
                    </a:cubicBezTo>
                    <a:cubicBezTo>
                      <a:pt x="280" y="481"/>
                      <a:pt x="253" y="471"/>
                      <a:pt x="265" y="467"/>
                    </a:cubicBezTo>
                    <a:cubicBezTo>
                      <a:pt x="275" y="464"/>
                      <a:pt x="289" y="465"/>
                      <a:pt x="300" y="461"/>
                    </a:cubicBezTo>
                    <a:cubicBezTo>
                      <a:pt x="306" y="460"/>
                      <a:pt x="310" y="451"/>
                      <a:pt x="315" y="453"/>
                    </a:cubicBezTo>
                    <a:cubicBezTo>
                      <a:pt x="321" y="455"/>
                      <a:pt x="312" y="460"/>
                      <a:pt x="313" y="462"/>
                    </a:cubicBezTo>
                    <a:cubicBezTo>
                      <a:pt x="317" y="467"/>
                      <a:pt x="322" y="463"/>
                      <a:pt x="325" y="465"/>
                    </a:cubicBezTo>
                    <a:cubicBezTo>
                      <a:pt x="326" y="465"/>
                      <a:pt x="327" y="470"/>
                      <a:pt x="328" y="471"/>
                    </a:cubicBezTo>
                    <a:cubicBezTo>
                      <a:pt x="331" y="475"/>
                      <a:pt x="331" y="477"/>
                      <a:pt x="332" y="480"/>
                    </a:cubicBezTo>
                    <a:cubicBezTo>
                      <a:pt x="332" y="483"/>
                      <a:pt x="334" y="480"/>
                      <a:pt x="334" y="481"/>
                    </a:cubicBezTo>
                    <a:cubicBezTo>
                      <a:pt x="335" y="484"/>
                      <a:pt x="341" y="483"/>
                      <a:pt x="344" y="485"/>
                    </a:cubicBezTo>
                    <a:cubicBezTo>
                      <a:pt x="350" y="490"/>
                      <a:pt x="345" y="495"/>
                      <a:pt x="353" y="499"/>
                    </a:cubicBezTo>
                    <a:cubicBezTo>
                      <a:pt x="355" y="500"/>
                      <a:pt x="358" y="499"/>
                      <a:pt x="359" y="496"/>
                    </a:cubicBezTo>
                    <a:cubicBezTo>
                      <a:pt x="363" y="487"/>
                      <a:pt x="354" y="473"/>
                      <a:pt x="353" y="467"/>
                    </a:cubicBezTo>
                    <a:cubicBezTo>
                      <a:pt x="353" y="465"/>
                      <a:pt x="351" y="446"/>
                      <a:pt x="351" y="445"/>
                    </a:cubicBezTo>
                    <a:cubicBezTo>
                      <a:pt x="353" y="441"/>
                      <a:pt x="363" y="441"/>
                      <a:pt x="359" y="437"/>
                    </a:cubicBezTo>
                    <a:cubicBezTo>
                      <a:pt x="357" y="436"/>
                      <a:pt x="359" y="435"/>
                      <a:pt x="359" y="434"/>
                    </a:cubicBezTo>
                    <a:cubicBezTo>
                      <a:pt x="352" y="419"/>
                      <a:pt x="331" y="422"/>
                      <a:pt x="322" y="415"/>
                    </a:cubicBezTo>
                    <a:cubicBezTo>
                      <a:pt x="315" y="408"/>
                      <a:pt x="319" y="402"/>
                      <a:pt x="313" y="397"/>
                    </a:cubicBezTo>
                    <a:cubicBezTo>
                      <a:pt x="308" y="392"/>
                      <a:pt x="299" y="402"/>
                      <a:pt x="293" y="398"/>
                    </a:cubicBezTo>
                    <a:cubicBezTo>
                      <a:pt x="291" y="396"/>
                      <a:pt x="302" y="393"/>
                      <a:pt x="295" y="393"/>
                    </a:cubicBezTo>
                    <a:cubicBezTo>
                      <a:pt x="282" y="393"/>
                      <a:pt x="298" y="385"/>
                      <a:pt x="292" y="380"/>
                    </a:cubicBezTo>
                    <a:cubicBezTo>
                      <a:pt x="275" y="368"/>
                      <a:pt x="281" y="390"/>
                      <a:pt x="269" y="371"/>
                    </a:cubicBezTo>
                    <a:cubicBezTo>
                      <a:pt x="262" y="360"/>
                      <a:pt x="220" y="360"/>
                      <a:pt x="221" y="354"/>
                    </a:cubicBezTo>
                    <a:cubicBezTo>
                      <a:pt x="222" y="350"/>
                      <a:pt x="261" y="353"/>
                      <a:pt x="269" y="335"/>
                    </a:cubicBezTo>
                    <a:cubicBezTo>
                      <a:pt x="272" y="328"/>
                      <a:pt x="261" y="337"/>
                      <a:pt x="260" y="336"/>
                    </a:cubicBezTo>
                    <a:cubicBezTo>
                      <a:pt x="259" y="335"/>
                      <a:pt x="261" y="333"/>
                      <a:pt x="261" y="333"/>
                    </a:cubicBezTo>
                    <a:cubicBezTo>
                      <a:pt x="270" y="326"/>
                      <a:pt x="245" y="317"/>
                      <a:pt x="247" y="306"/>
                    </a:cubicBezTo>
                    <a:cubicBezTo>
                      <a:pt x="250" y="291"/>
                      <a:pt x="282" y="294"/>
                      <a:pt x="283" y="315"/>
                    </a:cubicBezTo>
                    <a:cubicBezTo>
                      <a:pt x="284" y="326"/>
                      <a:pt x="269" y="318"/>
                      <a:pt x="270" y="322"/>
                    </a:cubicBezTo>
                    <a:cubicBezTo>
                      <a:pt x="270" y="323"/>
                      <a:pt x="268" y="325"/>
                      <a:pt x="268" y="325"/>
                    </a:cubicBezTo>
                    <a:cubicBezTo>
                      <a:pt x="272" y="330"/>
                      <a:pt x="290" y="321"/>
                      <a:pt x="292" y="318"/>
                    </a:cubicBezTo>
                    <a:cubicBezTo>
                      <a:pt x="298" y="312"/>
                      <a:pt x="276" y="276"/>
                      <a:pt x="268" y="273"/>
                    </a:cubicBezTo>
                    <a:cubicBezTo>
                      <a:pt x="262" y="271"/>
                      <a:pt x="224" y="205"/>
                      <a:pt x="223" y="198"/>
                    </a:cubicBezTo>
                    <a:cubicBezTo>
                      <a:pt x="222" y="190"/>
                      <a:pt x="233" y="180"/>
                      <a:pt x="233" y="171"/>
                    </a:cubicBezTo>
                    <a:cubicBezTo>
                      <a:pt x="234" y="169"/>
                      <a:pt x="223" y="161"/>
                      <a:pt x="227" y="157"/>
                    </a:cubicBezTo>
                    <a:cubicBezTo>
                      <a:pt x="228" y="157"/>
                      <a:pt x="233" y="158"/>
                      <a:pt x="233" y="157"/>
                    </a:cubicBezTo>
                    <a:cubicBezTo>
                      <a:pt x="232" y="155"/>
                      <a:pt x="234" y="157"/>
                      <a:pt x="233" y="154"/>
                    </a:cubicBezTo>
                    <a:cubicBezTo>
                      <a:pt x="232" y="151"/>
                      <a:pt x="236" y="151"/>
                      <a:pt x="236" y="151"/>
                    </a:cubicBezTo>
                    <a:cubicBezTo>
                      <a:pt x="237" y="158"/>
                      <a:pt x="262" y="122"/>
                      <a:pt x="262" y="149"/>
                    </a:cubicBezTo>
                    <a:cubicBezTo>
                      <a:pt x="262" y="155"/>
                      <a:pt x="245" y="153"/>
                      <a:pt x="247" y="157"/>
                    </a:cubicBezTo>
                    <a:cubicBezTo>
                      <a:pt x="257" y="174"/>
                      <a:pt x="277" y="171"/>
                      <a:pt x="289" y="187"/>
                    </a:cubicBezTo>
                    <a:cubicBezTo>
                      <a:pt x="295" y="194"/>
                      <a:pt x="291" y="214"/>
                      <a:pt x="295" y="221"/>
                    </a:cubicBezTo>
                    <a:cubicBezTo>
                      <a:pt x="295" y="221"/>
                      <a:pt x="327" y="227"/>
                      <a:pt x="330" y="225"/>
                    </a:cubicBezTo>
                    <a:cubicBezTo>
                      <a:pt x="333" y="224"/>
                      <a:pt x="326" y="219"/>
                      <a:pt x="322" y="218"/>
                    </a:cubicBezTo>
                    <a:cubicBezTo>
                      <a:pt x="314" y="214"/>
                      <a:pt x="291" y="198"/>
                      <a:pt x="297" y="187"/>
                    </a:cubicBezTo>
                    <a:cubicBezTo>
                      <a:pt x="313" y="157"/>
                      <a:pt x="343" y="228"/>
                      <a:pt x="352" y="221"/>
                    </a:cubicBezTo>
                    <a:cubicBezTo>
                      <a:pt x="373" y="207"/>
                      <a:pt x="316" y="191"/>
                      <a:pt x="327" y="175"/>
                    </a:cubicBezTo>
                    <a:cubicBezTo>
                      <a:pt x="337" y="159"/>
                      <a:pt x="380" y="202"/>
                      <a:pt x="385" y="200"/>
                    </a:cubicBezTo>
                    <a:cubicBezTo>
                      <a:pt x="386" y="199"/>
                      <a:pt x="388" y="199"/>
                      <a:pt x="388" y="198"/>
                    </a:cubicBezTo>
                    <a:cubicBezTo>
                      <a:pt x="391" y="191"/>
                      <a:pt x="368" y="173"/>
                      <a:pt x="365" y="172"/>
                    </a:cubicBezTo>
                    <a:cubicBezTo>
                      <a:pt x="359" y="170"/>
                      <a:pt x="358" y="159"/>
                      <a:pt x="353" y="160"/>
                    </a:cubicBezTo>
                    <a:cubicBezTo>
                      <a:pt x="351" y="161"/>
                      <a:pt x="351" y="178"/>
                      <a:pt x="340" y="164"/>
                    </a:cubicBezTo>
                    <a:cubicBezTo>
                      <a:pt x="339" y="163"/>
                      <a:pt x="337" y="161"/>
                      <a:pt x="337" y="159"/>
                    </a:cubicBezTo>
                    <a:cubicBezTo>
                      <a:pt x="337" y="157"/>
                      <a:pt x="336" y="155"/>
                      <a:pt x="337" y="154"/>
                    </a:cubicBezTo>
                    <a:cubicBezTo>
                      <a:pt x="337" y="152"/>
                      <a:pt x="347" y="152"/>
                      <a:pt x="345" y="150"/>
                    </a:cubicBezTo>
                    <a:cubicBezTo>
                      <a:pt x="340" y="143"/>
                      <a:pt x="318" y="137"/>
                      <a:pt x="328" y="124"/>
                    </a:cubicBezTo>
                    <a:cubicBezTo>
                      <a:pt x="337" y="112"/>
                      <a:pt x="354" y="132"/>
                      <a:pt x="367" y="125"/>
                    </a:cubicBezTo>
                    <a:cubicBezTo>
                      <a:pt x="384" y="116"/>
                      <a:pt x="375" y="107"/>
                      <a:pt x="388" y="101"/>
                    </a:cubicBezTo>
                    <a:cubicBezTo>
                      <a:pt x="405" y="92"/>
                      <a:pt x="405" y="112"/>
                      <a:pt x="423" y="112"/>
                    </a:cubicBezTo>
                    <a:cubicBezTo>
                      <a:pt x="437" y="111"/>
                      <a:pt x="441" y="91"/>
                      <a:pt x="454" y="92"/>
                    </a:cubicBezTo>
                    <a:cubicBezTo>
                      <a:pt x="455" y="92"/>
                      <a:pt x="457" y="94"/>
                      <a:pt x="456" y="95"/>
                    </a:cubicBezTo>
                    <a:cubicBezTo>
                      <a:pt x="455" y="95"/>
                      <a:pt x="451" y="99"/>
                      <a:pt x="455" y="100"/>
                    </a:cubicBezTo>
                    <a:cubicBezTo>
                      <a:pt x="477" y="105"/>
                      <a:pt x="517" y="110"/>
                      <a:pt x="536" y="114"/>
                    </a:cubicBezTo>
                    <a:cubicBezTo>
                      <a:pt x="538" y="115"/>
                      <a:pt x="534" y="117"/>
                      <a:pt x="533" y="117"/>
                    </a:cubicBezTo>
                    <a:cubicBezTo>
                      <a:pt x="530" y="116"/>
                      <a:pt x="532" y="118"/>
                      <a:pt x="533" y="119"/>
                    </a:cubicBezTo>
                    <a:cubicBezTo>
                      <a:pt x="535" y="120"/>
                      <a:pt x="535" y="123"/>
                      <a:pt x="535" y="126"/>
                    </a:cubicBezTo>
                    <a:cubicBezTo>
                      <a:pt x="564" y="116"/>
                      <a:pt x="554" y="83"/>
                      <a:pt x="559" y="7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6" name="Freeform 1162"/>
              <p:cNvSpPr>
                <a:spLocks/>
              </p:cNvSpPr>
              <p:nvPr/>
            </p:nvSpPr>
            <p:spPr bwMode="auto">
              <a:xfrm>
                <a:off x="3535" y="3953"/>
                <a:ext cx="0" cy="0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1 w 1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1" y="1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7" name="Freeform 1163"/>
              <p:cNvSpPr>
                <a:spLocks/>
              </p:cNvSpPr>
              <p:nvPr/>
            </p:nvSpPr>
            <p:spPr bwMode="auto">
              <a:xfrm>
                <a:off x="3535" y="3950"/>
                <a:ext cx="2" cy="3"/>
              </a:xfrm>
              <a:custGeom>
                <a:avLst/>
                <a:gdLst>
                  <a:gd name="T0" fmla="*/ 0 w 4"/>
                  <a:gd name="T1" fmla="*/ 3 h 5"/>
                  <a:gd name="T2" fmla="*/ 1 w 4"/>
                  <a:gd name="T3" fmla="*/ 5 h 5"/>
                  <a:gd name="T4" fmla="*/ 3 w 4"/>
                  <a:gd name="T5" fmla="*/ 3 h 5"/>
                  <a:gd name="T6" fmla="*/ 4 w 4"/>
                  <a:gd name="T7" fmla="*/ 1 h 5"/>
                  <a:gd name="T8" fmla="*/ 0 w 4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0" y="3"/>
                    </a:moveTo>
                    <a:cubicBezTo>
                      <a:pt x="1" y="4"/>
                      <a:pt x="1" y="4"/>
                      <a:pt x="1" y="5"/>
                    </a:cubicBezTo>
                    <a:cubicBezTo>
                      <a:pt x="1" y="4"/>
                      <a:pt x="2" y="4"/>
                      <a:pt x="3" y="3"/>
                    </a:cubicBezTo>
                    <a:cubicBezTo>
                      <a:pt x="3" y="3"/>
                      <a:pt x="4" y="1"/>
                      <a:pt x="4" y="1"/>
                    </a:cubicBezTo>
                    <a:cubicBezTo>
                      <a:pt x="2" y="0"/>
                      <a:pt x="0" y="2"/>
                      <a:pt x="0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8" name="Freeform 1164"/>
              <p:cNvSpPr>
                <a:spLocks/>
              </p:cNvSpPr>
              <p:nvPr/>
            </p:nvSpPr>
            <p:spPr bwMode="auto">
              <a:xfrm>
                <a:off x="3372" y="3921"/>
                <a:ext cx="166" cy="61"/>
              </a:xfrm>
              <a:custGeom>
                <a:avLst/>
                <a:gdLst>
                  <a:gd name="T0" fmla="*/ 229 w 254"/>
                  <a:gd name="T1" fmla="*/ 56 h 93"/>
                  <a:gd name="T2" fmla="*/ 206 w 254"/>
                  <a:gd name="T3" fmla="*/ 69 h 93"/>
                  <a:gd name="T4" fmla="*/ 200 w 254"/>
                  <a:gd name="T5" fmla="*/ 49 h 93"/>
                  <a:gd name="T6" fmla="*/ 203 w 254"/>
                  <a:gd name="T7" fmla="*/ 42 h 93"/>
                  <a:gd name="T8" fmla="*/ 201 w 254"/>
                  <a:gd name="T9" fmla="*/ 42 h 93"/>
                  <a:gd name="T10" fmla="*/ 174 w 254"/>
                  <a:gd name="T11" fmla="*/ 47 h 93"/>
                  <a:gd name="T12" fmla="*/ 140 w 254"/>
                  <a:gd name="T13" fmla="*/ 41 h 93"/>
                  <a:gd name="T14" fmla="*/ 136 w 254"/>
                  <a:gd name="T15" fmla="*/ 32 h 93"/>
                  <a:gd name="T16" fmla="*/ 109 w 254"/>
                  <a:gd name="T17" fmla="*/ 31 h 93"/>
                  <a:gd name="T18" fmla="*/ 109 w 254"/>
                  <a:gd name="T19" fmla="*/ 31 h 93"/>
                  <a:gd name="T20" fmla="*/ 74 w 254"/>
                  <a:gd name="T21" fmla="*/ 40 h 93"/>
                  <a:gd name="T22" fmla="*/ 68 w 254"/>
                  <a:gd name="T23" fmla="*/ 26 h 93"/>
                  <a:gd name="T24" fmla="*/ 52 w 254"/>
                  <a:gd name="T25" fmla="*/ 23 h 93"/>
                  <a:gd name="T26" fmla="*/ 62 w 254"/>
                  <a:gd name="T27" fmla="*/ 22 h 93"/>
                  <a:gd name="T28" fmla="*/ 61 w 254"/>
                  <a:gd name="T29" fmla="*/ 12 h 93"/>
                  <a:gd name="T30" fmla="*/ 32 w 254"/>
                  <a:gd name="T31" fmla="*/ 20 h 93"/>
                  <a:gd name="T32" fmla="*/ 23 w 254"/>
                  <a:gd name="T33" fmla="*/ 0 h 93"/>
                  <a:gd name="T34" fmla="*/ 21 w 254"/>
                  <a:gd name="T35" fmla="*/ 21 h 93"/>
                  <a:gd name="T36" fmla="*/ 11 w 254"/>
                  <a:gd name="T37" fmla="*/ 16 h 93"/>
                  <a:gd name="T38" fmla="*/ 11 w 254"/>
                  <a:gd name="T39" fmla="*/ 10 h 93"/>
                  <a:gd name="T40" fmla="*/ 10 w 254"/>
                  <a:gd name="T41" fmla="*/ 9 h 93"/>
                  <a:gd name="T42" fmla="*/ 9 w 254"/>
                  <a:gd name="T43" fmla="*/ 54 h 93"/>
                  <a:gd name="T44" fmla="*/ 80 w 254"/>
                  <a:gd name="T45" fmla="*/ 59 h 93"/>
                  <a:gd name="T46" fmla="*/ 112 w 254"/>
                  <a:gd name="T47" fmla="*/ 73 h 93"/>
                  <a:gd name="T48" fmla="*/ 113 w 254"/>
                  <a:gd name="T49" fmla="*/ 87 h 93"/>
                  <a:gd name="T50" fmla="*/ 112 w 254"/>
                  <a:gd name="T51" fmla="*/ 91 h 93"/>
                  <a:gd name="T52" fmla="*/ 134 w 254"/>
                  <a:gd name="T53" fmla="*/ 90 h 93"/>
                  <a:gd name="T54" fmla="*/ 135 w 254"/>
                  <a:gd name="T55" fmla="*/ 90 h 93"/>
                  <a:gd name="T56" fmla="*/ 168 w 254"/>
                  <a:gd name="T57" fmla="*/ 82 h 93"/>
                  <a:gd name="T58" fmla="*/ 241 w 254"/>
                  <a:gd name="T59" fmla="*/ 80 h 93"/>
                  <a:gd name="T60" fmla="*/ 249 w 254"/>
                  <a:gd name="T61" fmla="*/ 50 h 93"/>
                  <a:gd name="T62" fmla="*/ 229 w 254"/>
                  <a:gd name="T63" fmla="*/ 56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54" h="93">
                    <a:moveTo>
                      <a:pt x="229" y="56"/>
                    </a:moveTo>
                    <a:cubicBezTo>
                      <a:pt x="222" y="54"/>
                      <a:pt x="210" y="70"/>
                      <a:pt x="206" y="69"/>
                    </a:cubicBezTo>
                    <a:cubicBezTo>
                      <a:pt x="198" y="67"/>
                      <a:pt x="198" y="57"/>
                      <a:pt x="200" y="49"/>
                    </a:cubicBezTo>
                    <a:cubicBezTo>
                      <a:pt x="200" y="48"/>
                      <a:pt x="203" y="42"/>
                      <a:pt x="203" y="42"/>
                    </a:cubicBezTo>
                    <a:cubicBezTo>
                      <a:pt x="203" y="42"/>
                      <a:pt x="202" y="43"/>
                      <a:pt x="201" y="42"/>
                    </a:cubicBezTo>
                    <a:cubicBezTo>
                      <a:pt x="191" y="39"/>
                      <a:pt x="184" y="48"/>
                      <a:pt x="174" y="47"/>
                    </a:cubicBezTo>
                    <a:cubicBezTo>
                      <a:pt x="169" y="47"/>
                      <a:pt x="147" y="44"/>
                      <a:pt x="140" y="41"/>
                    </a:cubicBezTo>
                    <a:cubicBezTo>
                      <a:pt x="137" y="39"/>
                      <a:pt x="141" y="33"/>
                      <a:pt x="136" y="32"/>
                    </a:cubicBezTo>
                    <a:cubicBezTo>
                      <a:pt x="128" y="32"/>
                      <a:pt x="120" y="34"/>
                      <a:pt x="109" y="31"/>
                    </a:cubicBezTo>
                    <a:cubicBezTo>
                      <a:pt x="109" y="31"/>
                      <a:pt x="109" y="31"/>
                      <a:pt x="109" y="31"/>
                    </a:cubicBezTo>
                    <a:cubicBezTo>
                      <a:pt x="98" y="31"/>
                      <a:pt x="87" y="42"/>
                      <a:pt x="74" y="40"/>
                    </a:cubicBezTo>
                    <a:cubicBezTo>
                      <a:pt x="64" y="38"/>
                      <a:pt x="74" y="29"/>
                      <a:pt x="68" y="26"/>
                    </a:cubicBezTo>
                    <a:cubicBezTo>
                      <a:pt x="63" y="23"/>
                      <a:pt x="52" y="29"/>
                      <a:pt x="52" y="23"/>
                    </a:cubicBezTo>
                    <a:cubicBezTo>
                      <a:pt x="51" y="20"/>
                      <a:pt x="60" y="22"/>
                      <a:pt x="62" y="22"/>
                    </a:cubicBezTo>
                    <a:cubicBezTo>
                      <a:pt x="65" y="21"/>
                      <a:pt x="63" y="13"/>
                      <a:pt x="61" y="12"/>
                    </a:cubicBezTo>
                    <a:cubicBezTo>
                      <a:pt x="53" y="7"/>
                      <a:pt x="49" y="25"/>
                      <a:pt x="32" y="20"/>
                    </a:cubicBezTo>
                    <a:cubicBezTo>
                      <a:pt x="27" y="18"/>
                      <a:pt x="23" y="0"/>
                      <a:pt x="23" y="0"/>
                    </a:cubicBezTo>
                    <a:cubicBezTo>
                      <a:pt x="14" y="4"/>
                      <a:pt x="26" y="17"/>
                      <a:pt x="21" y="21"/>
                    </a:cubicBezTo>
                    <a:cubicBezTo>
                      <a:pt x="16" y="26"/>
                      <a:pt x="11" y="20"/>
                      <a:pt x="11" y="16"/>
                    </a:cubicBezTo>
                    <a:cubicBezTo>
                      <a:pt x="11" y="14"/>
                      <a:pt x="11" y="12"/>
                      <a:pt x="11" y="10"/>
                    </a:cubicBezTo>
                    <a:cubicBezTo>
                      <a:pt x="11" y="10"/>
                      <a:pt x="10" y="9"/>
                      <a:pt x="10" y="9"/>
                    </a:cubicBezTo>
                    <a:cubicBezTo>
                      <a:pt x="11" y="13"/>
                      <a:pt x="0" y="44"/>
                      <a:pt x="9" y="54"/>
                    </a:cubicBezTo>
                    <a:cubicBezTo>
                      <a:pt x="10" y="56"/>
                      <a:pt x="72" y="57"/>
                      <a:pt x="80" y="59"/>
                    </a:cubicBezTo>
                    <a:cubicBezTo>
                      <a:pt x="82" y="60"/>
                      <a:pt x="110" y="71"/>
                      <a:pt x="112" y="73"/>
                    </a:cubicBezTo>
                    <a:cubicBezTo>
                      <a:pt x="115" y="77"/>
                      <a:pt x="112" y="83"/>
                      <a:pt x="113" y="87"/>
                    </a:cubicBezTo>
                    <a:cubicBezTo>
                      <a:pt x="113" y="88"/>
                      <a:pt x="110" y="90"/>
                      <a:pt x="112" y="91"/>
                    </a:cubicBezTo>
                    <a:cubicBezTo>
                      <a:pt x="119" y="92"/>
                      <a:pt x="128" y="89"/>
                      <a:pt x="134" y="90"/>
                    </a:cubicBezTo>
                    <a:cubicBezTo>
                      <a:pt x="135" y="90"/>
                      <a:pt x="135" y="90"/>
                      <a:pt x="135" y="90"/>
                    </a:cubicBezTo>
                    <a:cubicBezTo>
                      <a:pt x="143" y="93"/>
                      <a:pt x="160" y="86"/>
                      <a:pt x="168" y="82"/>
                    </a:cubicBezTo>
                    <a:cubicBezTo>
                      <a:pt x="189" y="73"/>
                      <a:pt x="224" y="87"/>
                      <a:pt x="241" y="80"/>
                    </a:cubicBezTo>
                    <a:cubicBezTo>
                      <a:pt x="254" y="75"/>
                      <a:pt x="248" y="57"/>
                      <a:pt x="249" y="50"/>
                    </a:cubicBezTo>
                    <a:cubicBezTo>
                      <a:pt x="246" y="54"/>
                      <a:pt x="230" y="56"/>
                      <a:pt x="229" y="5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49" name="Freeform 1165"/>
              <p:cNvSpPr>
                <a:spLocks/>
              </p:cNvSpPr>
              <p:nvPr/>
            </p:nvSpPr>
            <p:spPr bwMode="auto">
              <a:xfrm>
                <a:off x="3336" y="3866"/>
                <a:ext cx="13" cy="21"/>
              </a:xfrm>
              <a:custGeom>
                <a:avLst/>
                <a:gdLst>
                  <a:gd name="T0" fmla="*/ 7 w 20"/>
                  <a:gd name="T1" fmla="*/ 2 h 33"/>
                  <a:gd name="T2" fmla="*/ 1 w 20"/>
                  <a:gd name="T3" fmla="*/ 10 h 33"/>
                  <a:gd name="T4" fmla="*/ 15 w 20"/>
                  <a:gd name="T5" fmla="*/ 31 h 33"/>
                  <a:gd name="T6" fmla="*/ 15 w 20"/>
                  <a:gd name="T7" fmla="*/ 27 h 33"/>
                  <a:gd name="T8" fmla="*/ 20 w 20"/>
                  <a:gd name="T9" fmla="*/ 19 h 33"/>
                  <a:gd name="T10" fmla="*/ 7 w 20"/>
                  <a:gd name="T11" fmla="*/ 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3">
                    <a:moveTo>
                      <a:pt x="7" y="2"/>
                    </a:moveTo>
                    <a:cubicBezTo>
                      <a:pt x="6" y="0"/>
                      <a:pt x="0" y="7"/>
                      <a:pt x="1" y="10"/>
                    </a:cubicBezTo>
                    <a:cubicBezTo>
                      <a:pt x="6" y="19"/>
                      <a:pt x="2" y="33"/>
                      <a:pt x="15" y="31"/>
                    </a:cubicBezTo>
                    <a:cubicBezTo>
                      <a:pt x="16" y="31"/>
                      <a:pt x="15" y="28"/>
                      <a:pt x="15" y="27"/>
                    </a:cubicBezTo>
                    <a:cubicBezTo>
                      <a:pt x="15" y="20"/>
                      <a:pt x="19" y="23"/>
                      <a:pt x="20" y="19"/>
                    </a:cubicBezTo>
                    <a:cubicBezTo>
                      <a:pt x="20" y="19"/>
                      <a:pt x="8" y="4"/>
                      <a:pt x="7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0" name="Freeform 1166"/>
              <p:cNvSpPr>
                <a:spLocks/>
              </p:cNvSpPr>
              <p:nvPr/>
            </p:nvSpPr>
            <p:spPr bwMode="auto">
              <a:xfrm>
                <a:off x="3330" y="3655"/>
                <a:ext cx="118" cy="90"/>
              </a:xfrm>
              <a:custGeom>
                <a:avLst/>
                <a:gdLst>
                  <a:gd name="T0" fmla="*/ 111 w 179"/>
                  <a:gd name="T1" fmla="*/ 90 h 137"/>
                  <a:gd name="T2" fmla="*/ 122 w 179"/>
                  <a:gd name="T3" fmla="*/ 96 h 137"/>
                  <a:gd name="T4" fmla="*/ 142 w 179"/>
                  <a:gd name="T5" fmla="*/ 133 h 137"/>
                  <a:gd name="T6" fmla="*/ 148 w 179"/>
                  <a:gd name="T7" fmla="*/ 128 h 137"/>
                  <a:gd name="T8" fmla="*/ 159 w 179"/>
                  <a:gd name="T9" fmla="*/ 129 h 137"/>
                  <a:gd name="T10" fmla="*/ 160 w 179"/>
                  <a:gd name="T11" fmla="*/ 129 h 137"/>
                  <a:gd name="T12" fmla="*/ 131 w 179"/>
                  <a:gd name="T13" fmla="*/ 101 h 137"/>
                  <a:gd name="T14" fmla="*/ 123 w 179"/>
                  <a:gd name="T15" fmla="*/ 51 h 137"/>
                  <a:gd name="T16" fmla="*/ 87 w 179"/>
                  <a:gd name="T17" fmla="*/ 43 h 137"/>
                  <a:gd name="T18" fmla="*/ 65 w 179"/>
                  <a:gd name="T19" fmla="*/ 31 h 137"/>
                  <a:gd name="T20" fmla="*/ 27 w 179"/>
                  <a:gd name="T21" fmla="*/ 15 h 137"/>
                  <a:gd name="T22" fmla="*/ 6 w 179"/>
                  <a:gd name="T23" fmla="*/ 25 h 137"/>
                  <a:gd name="T24" fmla="*/ 37 w 179"/>
                  <a:gd name="T25" fmla="*/ 29 h 137"/>
                  <a:gd name="T26" fmla="*/ 73 w 179"/>
                  <a:gd name="T27" fmla="*/ 60 h 137"/>
                  <a:gd name="T28" fmla="*/ 76 w 179"/>
                  <a:gd name="T29" fmla="*/ 74 h 137"/>
                  <a:gd name="T30" fmla="*/ 79 w 179"/>
                  <a:gd name="T31" fmla="*/ 80 h 137"/>
                  <a:gd name="T32" fmla="*/ 113 w 179"/>
                  <a:gd name="T33" fmla="*/ 82 h 137"/>
                  <a:gd name="T34" fmla="*/ 111 w 179"/>
                  <a:gd name="T35" fmla="*/ 9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9" h="137">
                    <a:moveTo>
                      <a:pt x="111" y="90"/>
                    </a:moveTo>
                    <a:cubicBezTo>
                      <a:pt x="112" y="90"/>
                      <a:pt x="121" y="94"/>
                      <a:pt x="122" y="96"/>
                    </a:cubicBezTo>
                    <a:cubicBezTo>
                      <a:pt x="123" y="96"/>
                      <a:pt x="130" y="126"/>
                      <a:pt x="142" y="133"/>
                    </a:cubicBezTo>
                    <a:cubicBezTo>
                      <a:pt x="145" y="135"/>
                      <a:pt x="142" y="124"/>
                      <a:pt x="148" y="128"/>
                    </a:cubicBezTo>
                    <a:cubicBezTo>
                      <a:pt x="154" y="132"/>
                      <a:pt x="152" y="137"/>
                      <a:pt x="159" y="129"/>
                    </a:cubicBezTo>
                    <a:cubicBezTo>
                      <a:pt x="160" y="129"/>
                      <a:pt x="160" y="129"/>
                      <a:pt x="160" y="129"/>
                    </a:cubicBezTo>
                    <a:cubicBezTo>
                      <a:pt x="179" y="108"/>
                      <a:pt x="134" y="114"/>
                      <a:pt x="131" y="101"/>
                    </a:cubicBezTo>
                    <a:cubicBezTo>
                      <a:pt x="126" y="83"/>
                      <a:pt x="124" y="65"/>
                      <a:pt x="123" y="51"/>
                    </a:cubicBezTo>
                    <a:cubicBezTo>
                      <a:pt x="122" y="45"/>
                      <a:pt x="93" y="49"/>
                      <a:pt x="87" y="43"/>
                    </a:cubicBezTo>
                    <a:cubicBezTo>
                      <a:pt x="81" y="37"/>
                      <a:pt x="70" y="39"/>
                      <a:pt x="65" y="31"/>
                    </a:cubicBezTo>
                    <a:cubicBezTo>
                      <a:pt x="48" y="3"/>
                      <a:pt x="54" y="0"/>
                      <a:pt x="27" y="15"/>
                    </a:cubicBezTo>
                    <a:cubicBezTo>
                      <a:pt x="23" y="17"/>
                      <a:pt x="9" y="21"/>
                      <a:pt x="6" y="25"/>
                    </a:cubicBezTo>
                    <a:cubicBezTo>
                      <a:pt x="0" y="32"/>
                      <a:pt x="27" y="20"/>
                      <a:pt x="37" y="29"/>
                    </a:cubicBezTo>
                    <a:cubicBezTo>
                      <a:pt x="47" y="37"/>
                      <a:pt x="67" y="51"/>
                      <a:pt x="73" y="60"/>
                    </a:cubicBezTo>
                    <a:cubicBezTo>
                      <a:pt x="78" y="67"/>
                      <a:pt x="75" y="73"/>
                      <a:pt x="76" y="74"/>
                    </a:cubicBezTo>
                    <a:cubicBezTo>
                      <a:pt x="78" y="75"/>
                      <a:pt x="78" y="79"/>
                      <a:pt x="79" y="80"/>
                    </a:cubicBezTo>
                    <a:cubicBezTo>
                      <a:pt x="88" y="83"/>
                      <a:pt x="105" y="77"/>
                      <a:pt x="113" y="82"/>
                    </a:cubicBezTo>
                    <a:cubicBezTo>
                      <a:pt x="115" y="83"/>
                      <a:pt x="109" y="88"/>
                      <a:pt x="111" y="9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1" name="Freeform 1167"/>
              <p:cNvSpPr>
                <a:spLocks/>
              </p:cNvSpPr>
              <p:nvPr/>
            </p:nvSpPr>
            <p:spPr bwMode="auto">
              <a:xfrm>
                <a:off x="3461" y="3576"/>
                <a:ext cx="27" cy="23"/>
              </a:xfrm>
              <a:custGeom>
                <a:avLst/>
                <a:gdLst>
                  <a:gd name="T0" fmla="*/ 25 w 42"/>
                  <a:gd name="T1" fmla="*/ 13 h 35"/>
                  <a:gd name="T2" fmla="*/ 23 w 42"/>
                  <a:gd name="T3" fmla="*/ 8 h 35"/>
                  <a:gd name="T4" fmla="*/ 8 w 42"/>
                  <a:gd name="T5" fmla="*/ 7 h 35"/>
                  <a:gd name="T6" fmla="*/ 8 w 42"/>
                  <a:gd name="T7" fmla="*/ 7 h 35"/>
                  <a:gd name="T8" fmla="*/ 3 w 42"/>
                  <a:gd name="T9" fmla="*/ 27 h 35"/>
                  <a:gd name="T10" fmla="*/ 14 w 42"/>
                  <a:gd name="T11" fmla="*/ 25 h 35"/>
                  <a:gd name="T12" fmla="*/ 11 w 42"/>
                  <a:gd name="T13" fmla="*/ 30 h 35"/>
                  <a:gd name="T14" fmla="*/ 19 w 42"/>
                  <a:gd name="T15" fmla="*/ 17 h 35"/>
                  <a:gd name="T16" fmla="*/ 22 w 42"/>
                  <a:gd name="T17" fmla="*/ 23 h 35"/>
                  <a:gd name="T18" fmla="*/ 31 w 42"/>
                  <a:gd name="T19" fmla="*/ 33 h 35"/>
                  <a:gd name="T20" fmla="*/ 30 w 42"/>
                  <a:gd name="T21" fmla="*/ 18 h 35"/>
                  <a:gd name="T22" fmla="*/ 39 w 42"/>
                  <a:gd name="T23" fmla="*/ 2 h 35"/>
                  <a:gd name="T24" fmla="*/ 25 w 42"/>
                  <a:gd name="T25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2" h="35">
                    <a:moveTo>
                      <a:pt x="25" y="13"/>
                    </a:moveTo>
                    <a:cubicBezTo>
                      <a:pt x="23" y="14"/>
                      <a:pt x="23" y="9"/>
                      <a:pt x="23" y="8"/>
                    </a:cubicBezTo>
                    <a:cubicBezTo>
                      <a:pt x="22" y="5"/>
                      <a:pt x="10" y="6"/>
                      <a:pt x="8" y="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3" y="8"/>
                      <a:pt x="0" y="23"/>
                      <a:pt x="3" y="27"/>
                    </a:cubicBezTo>
                    <a:cubicBezTo>
                      <a:pt x="4" y="28"/>
                      <a:pt x="14" y="24"/>
                      <a:pt x="14" y="25"/>
                    </a:cubicBezTo>
                    <a:cubicBezTo>
                      <a:pt x="14" y="25"/>
                      <a:pt x="11" y="30"/>
                      <a:pt x="11" y="30"/>
                    </a:cubicBezTo>
                    <a:cubicBezTo>
                      <a:pt x="22" y="34"/>
                      <a:pt x="14" y="22"/>
                      <a:pt x="19" y="17"/>
                    </a:cubicBezTo>
                    <a:cubicBezTo>
                      <a:pt x="23" y="15"/>
                      <a:pt x="25" y="21"/>
                      <a:pt x="22" y="23"/>
                    </a:cubicBezTo>
                    <a:cubicBezTo>
                      <a:pt x="21" y="24"/>
                      <a:pt x="27" y="35"/>
                      <a:pt x="31" y="33"/>
                    </a:cubicBezTo>
                    <a:cubicBezTo>
                      <a:pt x="33" y="31"/>
                      <a:pt x="29" y="20"/>
                      <a:pt x="30" y="18"/>
                    </a:cubicBezTo>
                    <a:cubicBezTo>
                      <a:pt x="31" y="16"/>
                      <a:pt x="42" y="4"/>
                      <a:pt x="39" y="2"/>
                    </a:cubicBezTo>
                    <a:cubicBezTo>
                      <a:pt x="34" y="0"/>
                      <a:pt x="28" y="12"/>
                      <a:pt x="25" y="1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2" name="Freeform 1168"/>
              <p:cNvSpPr>
                <a:spLocks/>
              </p:cNvSpPr>
              <p:nvPr/>
            </p:nvSpPr>
            <p:spPr bwMode="auto">
              <a:xfrm>
                <a:off x="3378" y="3926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3" name="Freeform 1169"/>
              <p:cNvSpPr>
                <a:spLocks/>
              </p:cNvSpPr>
              <p:nvPr/>
            </p:nvSpPr>
            <p:spPr bwMode="auto">
              <a:xfrm>
                <a:off x="3378" y="3644"/>
                <a:ext cx="13" cy="16"/>
              </a:xfrm>
              <a:custGeom>
                <a:avLst/>
                <a:gdLst>
                  <a:gd name="T0" fmla="*/ 15 w 19"/>
                  <a:gd name="T1" fmla="*/ 14 h 25"/>
                  <a:gd name="T2" fmla="*/ 1 w 19"/>
                  <a:gd name="T3" fmla="*/ 0 h 25"/>
                  <a:gd name="T4" fmla="*/ 15 w 19"/>
                  <a:gd name="T5" fmla="*/ 1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5">
                    <a:moveTo>
                      <a:pt x="15" y="14"/>
                    </a:moveTo>
                    <a:cubicBezTo>
                      <a:pt x="19" y="8"/>
                      <a:pt x="3" y="8"/>
                      <a:pt x="1" y="0"/>
                    </a:cubicBezTo>
                    <a:cubicBezTo>
                      <a:pt x="0" y="0"/>
                      <a:pt x="7" y="25"/>
                      <a:pt x="15" y="1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4" name="Freeform 1170"/>
              <p:cNvSpPr>
                <a:spLocks/>
              </p:cNvSpPr>
              <p:nvPr/>
            </p:nvSpPr>
            <p:spPr bwMode="auto">
              <a:xfrm>
                <a:off x="3506" y="3687"/>
                <a:ext cx="27" cy="40"/>
              </a:xfrm>
              <a:custGeom>
                <a:avLst/>
                <a:gdLst>
                  <a:gd name="T0" fmla="*/ 15 w 42"/>
                  <a:gd name="T1" fmla="*/ 9 h 61"/>
                  <a:gd name="T2" fmla="*/ 3 w 42"/>
                  <a:gd name="T3" fmla="*/ 14 h 61"/>
                  <a:gd name="T4" fmla="*/ 18 w 42"/>
                  <a:gd name="T5" fmla="*/ 38 h 61"/>
                  <a:gd name="T6" fmla="*/ 19 w 42"/>
                  <a:gd name="T7" fmla="*/ 61 h 61"/>
                  <a:gd name="T8" fmla="*/ 19 w 42"/>
                  <a:gd name="T9" fmla="*/ 61 h 61"/>
                  <a:gd name="T10" fmla="*/ 15 w 42"/>
                  <a:gd name="T11" fmla="*/ 9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" h="61">
                    <a:moveTo>
                      <a:pt x="15" y="9"/>
                    </a:moveTo>
                    <a:cubicBezTo>
                      <a:pt x="9" y="10"/>
                      <a:pt x="6" y="8"/>
                      <a:pt x="3" y="14"/>
                    </a:cubicBezTo>
                    <a:cubicBezTo>
                      <a:pt x="1" y="20"/>
                      <a:pt x="21" y="30"/>
                      <a:pt x="18" y="38"/>
                    </a:cubicBezTo>
                    <a:cubicBezTo>
                      <a:pt x="14" y="52"/>
                      <a:pt x="0" y="47"/>
                      <a:pt x="19" y="61"/>
                    </a:cubicBezTo>
                    <a:cubicBezTo>
                      <a:pt x="19" y="61"/>
                      <a:pt x="19" y="61"/>
                      <a:pt x="19" y="61"/>
                    </a:cubicBezTo>
                    <a:cubicBezTo>
                      <a:pt x="37" y="57"/>
                      <a:pt x="42" y="0"/>
                      <a:pt x="15" y="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5" name="Freeform 1171"/>
              <p:cNvSpPr>
                <a:spLocks/>
              </p:cNvSpPr>
              <p:nvPr/>
            </p:nvSpPr>
            <p:spPr bwMode="auto">
              <a:xfrm>
                <a:off x="3447" y="3778"/>
                <a:ext cx="14" cy="13"/>
              </a:xfrm>
              <a:custGeom>
                <a:avLst/>
                <a:gdLst>
                  <a:gd name="T0" fmla="*/ 14 w 21"/>
                  <a:gd name="T1" fmla="*/ 1 h 19"/>
                  <a:gd name="T2" fmla="*/ 13 w 21"/>
                  <a:gd name="T3" fmla="*/ 0 h 19"/>
                  <a:gd name="T4" fmla="*/ 17 w 21"/>
                  <a:gd name="T5" fmla="*/ 13 h 19"/>
                  <a:gd name="T6" fmla="*/ 14 w 21"/>
                  <a:gd name="T7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19">
                    <a:moveTo>
                      <a:pt x="14" y="1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1" y="1"/>
                      <a:pt x="0" y="19"/>
                      <a:pt x="17" y="13"/>
                    </a:cubicBezTo>
                    <a:cubicBezTo>
                      <a:pt x="21" y="12"/>
                      <a:pt x="17" y="3"/>
                      <a:pt x="14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6" name="Freeform 1172"/>
              <p:cNvSpPr>
                <a:spLocks/>
              </p:cNvSpPr>
              <p:nvPr/>
            </p:nvSpPr>
            <p:spPr bwMode="auto">
              <a:xfrm>
                <a:off x="3415" y="3835"/>
                <a:ext cx="20" cy="11"/>
              </a:xfrm>
              <a:custGeom>
                <a:avLst/>
                <a:gdLst>
                  <a:gd name="T0" fmla="*/ 27 w 30"/>
                  <a:gd name="T1" fmla="*/ 5 h 17"/>
                  <a:gd name="T2" fmla="*/ 27 w 30"/>
                  <a:gd name="T3" fmla="*/ 4 h 17"/>
                  <a:gd name="T4" fmla="*/ 15 w 30"/>
                  <a:gd name="T5" fmla="*/ 4 h 17"/>
                  <a:gd name="T6" fmla="*/ 21 w 30"/>
                  <a:gd name="T7" fmla="*/ 10 h 17"/>
                  <a:gd name="T8" fmla="*/ 8 w 30"/>
                  <a:gd name="T9" fmla="*/ 16 h 17"/>
                  <a:gd name="T10" fmla="*/ 16 w 30"/>
                  <a:gd name="T11" fmla="*/ 15 h 17"/>
                  <a:gd name="T12" fmla="*/ 27 w 30"/>
                  <a:gd name="T13" fmla="*/ 8 h 17"/>
                  <a:gd name="T14" fmla="*/ 27 w 30"/>
                  <a:gd name="T15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17">
                    <a:moveTo>
                      <a:pt x="27" y="5"/>
                    </a:moveTo>
                    <a:cubicBezTo>
                      <a:pt x="27" y="4"/>
                      <a:pt x="27" y="4"/>
                      <a:pt x="27" y="4"/>
                    </a:cubicBezTo>
                    <a:cubicBezTo>
                      <a:pt x="30" y="2"/>
                      <a:pt x="17" y="0"/>
                      <a:pt x="15" y="4"/>
                    </a:cubicBezTo>
                    <a:cubicBezTo>
                      <a:pt x="14" y="8"/>
                      <a:pt x="22" y="7"/>
                      <a:pt x="21" y="10"/>
                    </a:cubicBezTo>
                    <a:cubicBezTo>
                      <a:pt x="20" y="11"/>
                      <a:pt x="0" y="1"/>
                      <a:pt x="8" y="16"/>
                    </a:cubicBezTo>
                    <a:cubicBezTo>
                      <a:pt x="8" y="17"/>
                      <a:pt x="15" y="16"/>
                      <a:pt x="16" y="15"/>
                    </a:cubicBezTo>
                    <a:cubicBezTo>
                      <a:pt x="22" y="13"/>
                      <a:pt x="28" y="17"/>
                      <a:pt x="27" y="8"/>
                    </a:cubicBezTo>
                    <a:cubicBezTo>
                      <a:pt x="27" y="7"/>
                      <a:pt x="26" y="5"/>
                      <a:pt x="27" y="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7" name="Freeform 1173"/>
              <p:cNvSpPr>
                <a:spLocks/>
              </p:cNvSpPr>
              <p:nvPr/>
            </p:nvSpPr>
            <p:spPr bwMode="auto">
              <a:xfrm>
                <a:off x="3438" y="3810"/>
                <a:ext cx="12" cy="18"/>
              </a:xfrm>
              <a:custGeom>
                <a:avLst/>
                <a:gdLst>
                  <a:gd name="T0" fmla="*/ 9 w 18"/>
                  <a:gd name="T1" fmla="*/ 13 h 28"/>
                  <a:gd name="T2" fmla="*/ 5 w 18"/>
                  <a:gd name="T3" fmla="*/ 17 h 28"/>
                  <a:gd name="T4" fmla="*/ 9 w 18"/>
                  <a:gd name="T5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28">
                    <a:moveTo>
                      <a:pt x="9" y="13"/>
                    </a:moveTo>
                    <a:cubicBezTo>
                      <a:pt x="4" y="0"/>
                      <a:pt x="0" y="16"/>
                      <a:pt x="5" y="17"/>
                    </a:cubicBezTo>
                    <a:cubicBezTo>
                      <a:pt x="6" y="18"/>
                      <a:pt x="18" y="28"/>
                      <a:pt x="9" y="1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8" name="Freeform 1174"/>
              <p:cNvSpPr>
                <a:spLocks/>
              </p:cNvSpPr>
              <p:nvPr/>
            </p:nvSpPr>
            <p:spPr bwMode="auto">
              <a:xfrm>
                <a:off x="3389" y="3633"/>
                <a:ext cx="10" cy="17"/>
              </a:xfrm>
              <a:custGeom>
                <a:avLst/>
                <a:gdLst>
                  <a:gd name="T0" fmla="*/ 16 w 16"/>
                  <a:gd name="T1" fmla="*/ 7 h 25"/>
                  <a:gd name="T2" fmla="*/ 16 w 16"/>
                  <a:gd name="T3" fmla="*/ 7 h 25"/>
                  <a:gd name="T4" fmla="*/ 7 w 16"/>
                  <a:gd name="T5" fmla="*/ 25 h 25"/>
                  <a:gd name="T6" fmla="*/ 16 w 16"/>
                  <a:gd name="T7" fmla="*/ 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25">
                    <a:moveTo>
                      <a:pt x="16" y="7"/>
                    </a:moveTo>
                    <a:cubicBezTo>
                      <a:pt x="16" y="7"/>
                      <a:pt x="16" y="7"/>
                      <a:pt x="16" y="7"/>
                    </a:cubicBezTo>
                    <a:cubicBezTo>
                      <a:pt x="16" y="0"/>
                      <a:pt x="0" y="25"/>
                      <a:pt x="7" y="25"/>
                    </a:cubicBezTo>
                    <a:cubicBezTo>
                      <a:pt x="14" y="25"/>
                      <a:pt x="16" y="7"/>
                      <a:pt x="16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59" name="Freeform 1175"/>
              <p:cNvSpPr>
                <a:spLocks/>
              </p:cNvSpPr>
              <p:nvPr/>
            </p:nvSpPr>
            <p:spPr bwMode="auto">
              <a:xfrm>
                <a:off x="3466" y="3802"/>
                <a:ext cx="14" cy="24"/>
              </a:xfrm>
              <a:custGeom>
                <a:avLst/>
                <a:gdLst>
                  <a:gd name="T0" fmla="*/ 5 w 21"/>
                  <a:gd name="T1" fmla="*/ 11 h 36"/>
                  <a:gd name="T2" fmla="*/ 11 w 21"/>
                  <a:gd name="T3" fmla="*/ 25 h 36"/>
                  <a:gd name="T4" fmla="*/ 11 w 21"/>
                  <a:gd name="T5" fmla="*/ 25 h 36"/>
                  <a:gd name="T6" fmla="*/ 5 w 21"/>
                  <a:gd name="T7" fmla="*/ 1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36">
                    <a:moveTo>
                      <a:pt x="5" y="11"/>
                    </a:moveTo>
                    <a:cubicBezTo>
                      <a:pt x="0" y="16"/>
                      <a:pt x="2" y="36"/>
                      <a:pt x="11" y="25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21" y="15"/>
                      <a:pt x="15" y="0"/>
                      <a:pt x="5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0" name="Freeform 1176"/>
              <p:cNvSpPr>
                <a:spLocks/>
              </p:cNvSpPr>
              <p:nvPr/>
            </p:nvSpPr>
            <p:spPr bwMode="auto">
              <a:xfrm>
                <a:off x="3425" y="3662"/>
                <a:ext cx="21" cy="19"/>
              </a:xfrm>
              <a:custGeom>
                <a:avLst/>
                <a:gdLst>
                  <a:gd name="T0" fmla="*/ 8 w 31"/>
                  <a:gd name="T1" fmla="*/ 16 h 30"/>
                  <a:gd name="T2" fmla="*/ 14 w 31"/>
                  <a:gd name="T3" fmla="*/ 27 h 30"/>
                  <a:gd name="T4" fmla="*/ 15 w 31"/>
                  <a:gd name="T5" fmla="*/ 12 h 30"/>
                  <a:gd name="T6" fmla="*/ 7 w 31"/>
                  <a:gd name="T7" fmla="*/ 1 h 30"/>
                  <a:gd name="T8" fmla="*/ 7 w 31"/>
                  <a:gd name="T9" fmla="*/ 1 h 30"/>
                  <a:gd name="T10" fmla="*/ 8 w 31"/>
                  <a:gd name="T11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30">
                    <a:moveTo>
                      <a:pt x="8" y="16"/>
                    </a:moveTo>
                    <a:cubicBezTo>
                      <a:pt x="17" y="14"/>
                      <a:pt x="10" y="25"/>
                      <a:pt x="14" y="27"/>
                    </a:cubicBezTo>
                    <a:cubicBezTo>
                      <a:pt x="20" y="30"/>
                      <a:pt x="31" y="15"/>
                      <a:pt x="15" y="12"/>
                    </a:cubicBezTo>
                    <a:cubicBezTo>
                      <a:pt x="10" y="11"/>
                      <a:pt x="11" y="4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4" y="0"/>
                      <a:pt x="0" y="17"/>
                      <a:pt x="8" y="1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1" name="Freeform 1177"/>
              <p:cNvSpPr>
                <a:spLocks/>
              </p:cNvSpPr>
              <p:nvPr/>
            </p:nvSpPr>
            <p:spPr bwMode="auto">
              <a:xfrm>
                <a:off x="3196" y="3673"/>
                <a:ext cx="14" cy="23"/>
              </a:xfrm>
              <a:custGeom>
                <a:avLst/>
                <a:gdLst>
                  <a:gd name="T0" fmla="*/ 5 w 21"/>
                  <a:gd name="T1" fmla="*/ 14 h 34"/>
                  <a:gd name="T2" fmla="*/ 2 w 21"/>
                  <a:gd name="T3" fmla="*/ 33 h 34"/>
                  <a:gd name="T4" fmla="*/ 7 w 21"/>
                  <a:gd name="T5" fmla="*/ 25 h 34"/>
                  <a:gd name="T6" fmla="*/ 18 w 21"/>
                  <a:gd name="T7" fmla="*/ 8 h 34"/>
                  <a:gd name="T8" fmla="*/ 16 w 21"/>
                  <a:gd name="T9" fmla="*/ 0 h 34"/>
                  <a:gd name="T10" fmla="*/ 16 w 21"/>
                  <a:gd name="T11" fmla="*/ 0 h 34"/>
                  <a:gd name="T12" fmla="*/ 5 w 21"/>
                  <a:gd name="T13" fmla="*/ 1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34">
                    <a:moveTo>
                      <a:pt x="5" y="14"/>
                    </a:moveTo>
                    <a:cubicBezTo>
                      <a:pt x="4" y="16"/>
                      <a:pt x="0" y="32"/>
                      <a:pt x="2" y="33"/>
                    </a:cubicBezTo>
                    <a:cubicBezTo>
                      <a:pt x="4" y="34"/>
                      <a:pt x="5" y="25"/>
                      <a:pt x="7" y="25"/>
                    </a:cubicBezTo>
                    <a:cubicBezTo>
                      <a:pt x="21" y="30"/>
                      <a:pt x="14" y="21"/>
                      <a:pt x="18" y="8"/>
                    </a:cubicBezTo>
                    <a:cubicBezTo>
                      <a:pt x="18" y="6"/>
                      <a:pt x="18" y="1"/>
                      <a:pt x="1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5" y="0"/>
                      <a:pt x="8" y="2"/>
                      <a:pt x="5" y="1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2" name="Freeform 1178"/>
              <p:cNvSpPr>
                <a:spLocks/>
              </p:cNvSpPr>
              <p:nvPr/>
            </p:nvSpPr>
            <p:spPr bwMode="auto">
              <a:xfrm>
                <a:off x="3413" y="3765"/>
                <a:ext cx="13" cy="15"/>
              </a:xfrm>
              <a:custGeom>
                <a:avLst/>
                <a:gdLst>
                  <a:gd name="T0" fmla="*/ 15 w 19"/>
                  <a:gd name="T1" fmla="*/ 0 h 23"/>
                  <a:gd name="T2" fmla="*/ 12 w 19"/>
                  <a:gd name="T3" fmla="*/ 14 h 23"/>
                  <a:gd name="T4" fmla="*/ 15 w 19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" h="23">
                    <a:moveTo>
                      <a:pt x="15" y="0"/>
                    </a:moveTo>
                    <a:cubicBezTo>
                      <a:pt x="8" y="0"/>
                      <a:pt x="0" y="23"/>
                      <a:pt x="12" y="14"/>
                    </a:cubicBezTo>
                    <a:cubicBezTo>
                      <a:pt x="18" y="10"/>
                      <a:pt x="19" y="4"/>
                      <a:pt x="15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3" name="Freeform 1179"/>
              <p:cNvSpPr>
                <a:spLocks/>
              </p:cNvSpPr>
              <p:nvPr/>
            </p:nvSpPr>
            <p:spPr bwMode="auto">
              <a:xfrm>
                <a:off x="3441" y="3739"/>
                <a:ext cx="24" cy="26"/>
              </a:xfrm>
              <a:custGeom>
                <a:avLst/>
                <a:gdLst>
                  <a:gd name="T0" fmla="*/ 1 w 36"/>
                  <a:gd name="T1" fmla="*/ 7 h 40"/>
                  <a:gd name="T2" fmla="*/ 17 w 36"/>
                  <a:gd name="T3" fmla="*/ 29 h 40"/>
                  <a:gd name="T4" fmla="*/ 26 w 36"/>
                  <a:gd name="T5" fmla="*/ 39 h 40"/>
                  <a:gd name="T6" fmla="*/ 11 w 36"/>
                  <a:gd name="T7" fmla="*/ 4 h 40"/>
                  <a:gd name="T8" fmla="*/ 10 w 36"/>
                  <a:gd name="T9" fmla="*/ 2 h 40"/>
                  <a:gd name="T10" fmla="*/ 1 w 36"/>
                  <a:gd name="T11" fmla="*/ 7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" h="40">
                    <a:moveTo>
                      <a:pt x="1" y="7"/>
                    </a:moveTo>
                    <a:cubicBezTo>
                      <a:pt x="4" y="17"/>
                      <a:pt x="14" y="18"/>
                      <a:pt x="17" y="29"/>
                    </a:cubicBezTo>
                    <a:cubicBezTo>
                      <a:pt x="17" y="29"/>
                      <a:pt x="25" y="40"/>
                      <a:pt x="26" y="39"/>
                    </a:cubicBezTo>
                    <a:cubicBezTo>
                      <a:pt x="36" y="29"/>
                      <a:pt x="19" y="10"/>
                      <a:pt x="11" y="4"/>
                    </a:cubicBezTo>
                    <a:cubicBezTo>
                      <a:pt x="10" y="4"/>
                      <a:pt x="10" y="3"/>
                      <a:pt x="10" y="2"/>
                    </a:cubicBezTo>
                    <a:cubicBezTo>
                      <a:pt x="10" y="0"/>
                      <a:pt x="0" y="4"/>
                      <a:pt x="1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4" name="Freeform 1180"/>
              <p:cNvSpPr>
                <a:spLocks/>
              </p:cNvSpPr>
              <p:nvPr/>
            </p:nvSpPr>
            <p:spPr bwMode="auto">
              <a:xfrm>
                <a:off x="3448" y="374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5" name="Freeform 1181"/>
              <p:cNvSpPr>
                <a:spLocks/>
              </p:cNvSpPr>
              <p:nvPr/>
            </p:nvSpPr>
            <p:spPr bwMode="auto">
              <a:xfrm>
                <a:off x="3188" y="3702"/>
                <a:ext cx="33" cy="34"/>
              </a:xfrm>
              <a:custGeom>
                <a:avLst/>
                <a:gdLst>
                  <a:gd name="T0" fmla="*/ 40 w 50"/>
                  <a:gd name="T1" fmla="*/ 50 h 51"/>
                  <a:gd name="T2" fmla="*/ 24 w 50"/>
                  <a:gd name="T3" fmla="*/ 24 h 51"/>
                  <a:gd name="T4" fmla="*/ 20 w 50"/>
                  <a:gd name="T5" fmla="*/ 0 h 51"/>
                  <a:gd name="T6" fmla="*/ 20 w 50"/>
                  <a:gd name="T7" fmla="*/ 0 h 51"/>
                  <a:gd name="T8" fmla="*/ 16 w 50"/>
                  <a:gd name="T9" fmla="*/ 11 h 51"/>
                  <a:gd name="T10" fmla="*/ 5 w 50"/>
                  <a:gd name="T11" fmla="*/ 14 h 51"/>
                  <a:gd name="T12" fmla="*/ 3 w 50"/>
                  <a:gd name="T13" fmla="*/ 39 h 51"/>
                  <a:gd name="T14" fmla="*/ 8 w 50"/>
                  <a:gd name="T15" fmla="*/ 23 h 51"/>
                  <a:gd name="T16" fmla="*/ 10 w 50"/>
                  <a:gd name="T17" fmla="*/ 27 h 51"/>
                  <a:gd name="T18" fmla="*/ 12 w 50"/>
                  <a:gd name="T19" fmla="*/ 35 h 51"/>
                  <a:gd name="T20" fmla="*/ 15 w 50"/>
                  <a:gd name="T21" fmla="*/ 44 h 51"/>
                  <a:gd name="T22" fmla="*/ 25 w 50"/>
                  <a:gd name="T23" fmla="*/ 43 h 51"/>
                  <a:gd name="T24" fmla="*/ 34 w 50"/>
                  <a:gd name="T25" fmla="*/ 49 h 51"/>
                  <a:gd name="T26" fmla="*/ 40 w 50"/>
                  <a:gd name="T27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0" h="51">
                    <a:moveTo>
                      <a:pt x="40" y="50"/>
                    </a:moveTo>
                    <a:cubicBezTo>
                      <a:pt x="50" y="41"/>
                      <a:pt x="31" y="34"/>
                      <a:pt x="24" y="24"/>
                    </a:cubicBezTo>
                    <a:cubicBezTo>
                      <a:pt x="21" y="20"/>
                      <a:pt x="27" y="5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6" y="0"/>
                      <a:pt x="15" y="7"/>
                      <a:pt x="16" y="11"/>
                    </a:cubicBezTo>
                    <a:cubicBezTo>
                      <a:pt x="22" y="24"/>
                      <a:pt x="5" y="13"/>
                      <a:pt x="5" y="14"/>
                    </a:cubicBezTo>
                    <a:cubicBezTo>
                      <a:pt x="0" y="16"/>
                      <a:pt x="0" y="36"/>
                      <a:pt x="3" y="39"/>
                    </a:cubicBezTo>
                    <a:cubicBezTo>
                      <a:pt x="9" y="43"/>
                      <a:pt x="7" y="23"/>
                      <a:pt x="8" y="23"/>
                    </a:cubicBezTo>
                    <a:cubicBezTo>
                      <a:pt x="9" y="23"/>
                      <a:pt x="10" y="26"/>
                      <a:pt x="10" y="27"/>
                    </a:cubicBezTo>
                    <a:cubicBezTo>
                      <a:pt x="12" y="31"/>
                      <a:pt x="17" y="38"/>
                      <a:pt x="12" y="35"/>
                    </a:cubicBezTo>
                    <a:cubicBezTo>
                      <a:pt x="11" y="33"/>
                      <a:pt x="13" y="43"/>
                      <a:pt x="15" y="44"/>
                    </a:cubicBezTo>
                    <a:cubicBezTo>
                      <a:pt x="19" y="48"/>
                      <a:pt x="21" y="40"/>
                      <a:pt x="25" y="43"/>
                    </a:cubicBezTo>
                    <a:cubicBezTo>
                      <a:pt x="28" y="44"/>
                      <a:pt x="32" y="50"/>
                      <a:pt x="34" y="49"/>
                    </a:cubicBezTo>
                    <a:cubicBezTo>
                      <a:pt x="36" y="49"/>
                      <a:pt x="38" y="51"/>
                      <a:pt x="40" y="5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6" name="Freeform 1182"/>
              <p:cNvSpPr>
                <a:spLocks/>
              </p:cNvSpPr>
              <p:nvPr/>
            </p:nvSpPr>
            <p:spPr bwMode="auto">
              <a:xfrm>
                <a:off x="3480" y="3791"/>
                <a:ext cx="19" cy="39"/>
              </a:xfrm>
              <a:custGeom>
                <a:avLst/>
                <a:gdLst>
                  <a:gd name="T0" fmla="*/ 0 w 29"/>
                  <a:gd name="T1" fmla="*/ 33 h 60"/>
                  <a:gd name="T2" fmla="*/ 21 w 29"/>
                  <a:gd name="T3" fmla="*/ 42 h 60"/>
                  <a:gd name="T4" fmla="*/ 21 w 29"/>
                  <a:gd name="T5" fmla="*/ 42 h 60"/>
                  <a:gd name="T6" fmla="*/ 0 w 29"/>
                  <a:gd name="T7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60">
                    <a:moveTo>
                      <a:pt x="0" y="33"/>
                    </a:moveTo>
                    <a:cubicBezTo>
                      <a:pt x="0" y="44"/>
                      <a:pt x="15" y="60"/>
                      <a:pt x="21" y="42"/>
                    </a:cubicBezTo>
                    <a:cubicBezTo>
                      <a:pt x="21" y="42"/>
                      <a:pt x="21" y="42"/>
                      <a:pt x="21" y="42"/>
                    </a:cubicBezTo>
                    <a:cubicBezTo>
                      <a:pt x="29" y="0"/>
                      <a:pt x="0" y="31"/>
                      <a:pt x="0" y="3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7" name="Freeform 1183"/>
              <p:cNvSpPr>
                <a:spLocks/>
              </p:cNvSpPr>
              <p:nvPr/>
            </p:nvSpPr>
            <p:spPr bwMode="auto">
              <a:xfrm>
                <a:off x="3502" y="3819"/>
                <a:ext cx="21" cy="22"/>
              </a:xfrm>
              <a:custGeom>
                <a:avLst/>
                <a:gdLst>
                  <a:gd name="T0" fmla="*/ 8 w 32"/>
                  <a:gd name="T1" fmla="*/ 22 h 33"/>
                  <a:gd name="T2" fmla="*/ 2 w 32"/>
                  <a:gd name="T3" fmla="*/ 25 h 33"/>
                  <a:gd name="T4" fmla="*/ 25 w 32"/>
                  <a:gd name="T5" fmla="*/ 13 h 33"/>
                  <a:gd name="T6" fmla="*/ 25 w 32"/>
                  <a:gd name="T7" fmla="*/ 13 h 33"/>
                  <a:gd name="T8" fmla="*/ 8 w 32"/>
                  <a:gd name="T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3">
                    <a:moveTo>
                      <a:pt x="8" y="22"/>
                    </a:moveTo>
                    <a:cubicBezTo>
                      <a:pt x="6" y="24"/>
                      <a:pt x="0" y="24"/>
                      <a:pt x="2" y="25"/>
                    </a:cubicBezTo>
                    <a:cubicBezTo>
                      <a:pt x="7" y="33"/>
                      <a:pt x="21" y="16"/>
                      <a:pt x="25" y="13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32" y="16"/>
                      <a:pt x="24" y="0"/>
                      <a:pt x="8" y="2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8" name="Freeform 1184"/>
              <p:cNvSpPr>
                <a:spLocks/>
              </p:cNvSpPr>
              <p:nvPr/>
            </p:nvSpPr>
            <p:spPr bwMode="auto">
              <a:xfrm>
                <a:off x="3516" y="3764"/>
                <a:ext cx="23" cy="16"/>
              </a:xfrm>
              <a:custGeom>
                <a:avLst/>
                <a:gdLst>
                  <a:gd name="T0" fmla="*/ 35 w 35"/>
                  <a:gd name="T1" fmla="*/ 1 h 24"/>
                  <a:gd name="T2" fmla="*/ 35 w 35"/>
                  <a:gd name="T3" fmla="*/ 1 h 24"/>
                  <a:gd name="T4" fmla="*/ 31 w 35"/>
                  <a:gd name="T5" fmla="*/ 1 h 24"/>
                  <a:gd name="T6" fmla="*/ 8 w 35"/>
                  <a:gd name="T7" fmla="*/ 8 h 24"/>
                  <a:gd name="T8" fmla="*/ 1 w 35"/>
                  <a:gd name="T9" fmla="*/ 19 h 24"/>
                  <a:gd name="T10" fmla="*/ 35 w 35"/>
                  <a:gd name="T11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" h="24">
                    <a:moveTo>
                      <a:pt x="35" y="1"/>
                    </a:moveTo>
                    <a:cubicBezTo>
                      <a:pt x="35" y="1"/>
                      <a:pt x="35" y="1"/>
                      <a:pt x="35" y="1"/>
                    </a:cubicBezTo>
                    <a:cubicBezTo>
                      <a:pt x="35" y="0"/>
                      <a:pt x="32" y="2"/>
                      <a:pt x="31" y="1"/>
                    </a:cubicBezTo>
                    <a:cubicBezTo>
                      <a:pt x="31" y="1"/>
                      <a:pt x="8" y="8"/>
                      <a:pt x="8" y="8"/>
                    </a:cubicBezTo>
                    <a:cubicBezTo>
                      <a:pt x="6" y="11"/>
                      <a:pt x="1" y="16"/>
                      <a:pt x="1" y="19"/>
                    </a:cubicBezTo>
                    <a:cubicBezTo>
                      <a:pt x="0" y="24"/>
                      <a:pt x="31" y="11"/>
                      <a:pt x="35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69" name="Freeform 1185"/>
              <p:cNvSpPr>
                <a:spLocks/>
              </p:cNvSpPr>
              <p:nvPr/>
            </p:nvSpPr>
            <p:spPr bwMode="auto">
              <a:xfrm>
                <a:off x="3482" y="3536"/>
                <a:ext cx="19" cy="16"/>
              </a:xfrm>
              <a:custGeom>
                <a:avLst/>
                <a:gdLst>
                  <a:gd name="T0" fmla="*/ 24 w 28"/>
                  <a:gd name="T1" fmla="*/ 7 h 24"/>
                  <a:gd name="T2" fmla="*/ 14 w 28"/>
                  <a:gd name="T3" fmla="*/ 17 h 24"/>
                  <a:gd name="T4" fmla="*/ 24 w 28"/>
                  <a:gd name="T5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24">
                    <a:moveTo>
                      <a:pt x="24" y="7"/>
                    </a:moveTo>
                    <a:cubicBezTo>
                      <a:pt x="16" y="0"/>
                      <a:pt x="0" y="7"/>
                      <a:pt x="14" y="17"/>
                    </a:cubicBezTo>
                    <a:cubicBezTo>
                      <a:pt x="24" y="24"/>
                      <a:pt x="28" y="14"/>
                      <a:pt x="24" y="7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0" name="Freeform 1186"/>
              <p:cNvSpPr>
                <a:spLocks/>
              </p:cNvSpPr>
              <p:nvPr/>
            </p:nvSpPr>
            <p:spPr bwMode="auto">
              <a:xfrm>
                <a:off x="3420" y="3780"/>
                <a:ext cx="11" cy="15"/>
              </a:xfrm>
              <a:custGeom>
                <a:avLst/>
                <a:gdLst>
                  <a:gd name="T0" fmla="*/ 5 w 16"/>
                  <a:gd name="T1" fmla="*/ 22 h 24"/>
                  <a:gd name="T2" fmla="*/ 11 w 16"/>
                  <a:gd name="T3" fmla="*/ 2 h 24"/>
                  <a:gd name="T4" fmla="*/ 11 w 16"/>
                  <a:gd name="T5" fmla="*/ 2 h 24"/>
                  <a:gd name="T6" fmla="*/ 5 w 16"/>
                  <a:gd name="T7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24">
                    <a:moveTo>
                      <a:pt x="5" y="22"/>
                    </a:moveTo>
                    <a:cubicBezTo>
                      <a:pt x="16" y="24"/>
                      <a:pt x="12" y="4"/>
                      <a:pt x="11" y="2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2" y="0"/>
                      <a:pt x="0" y="21"/>
                      <a:pt x="5" y="2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1" name="Freeform 1187"/>
              <p:cNvSpPr>
                <a:spLocks/>
              </p:cNvSpPr>
              <p:nvPr/>
            </p:nvSpPr>
            <p:spPr bwMode="auto">
              <a:xfrm>
                <a:off x="3475" y="3835"/>
                <a:ext cx="14" cy="12"/>
              </a:xfrm>
              <a:custGeom>
                <a:avLst/>
                <a:gdLst>
                  <a:gd name="T0" fmla="*/ 4 w 21"/>
                  <a:gd name="T1" fmla="*/ 0 h 19"/>
                  <a:gd name="T2" fmla="*/ 0 w 21"/>
                  <a:gd name="T3" fmla="*/ 4 h 19"/>
                  <a:gd name="T4" fmla="*/ 4 w 21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" h="19">
                    <a:moveTo>
                      <a:pt x="4" y="0"/>
                    </a:moveTo>
                    <a:cubicBezTo>
                      <a:pt x="3" y="0"/>
                      <a:pt x="0" y="2"/>
                      <a:pt x="0" y="4"/>
                    </a:cubicBezTo>
                    <a:cubicBezTo>
                      <a:pt x="1" y="19"/>
                      <a:pt x="21" y="17"/>
                      <a:pt x="4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2" name="Freeform 1188"/>
              <p:cNvSpPr>
                <a:spLocks/>
              </p:cNvSpPr>
              <p:nvPr/>
            </p:nvSpPr>
            <p:spPr bwMode="auto">
              <a:xfrm>
                <a:off x="3507" y="3625"/>
                <a:ext cx="49" cy="38"/>
              </a:xfrm>
              <a:custGeom>
                <a:avLst/>
                <a:gdLst>
                  <a:gd name="T0" fmla="*/ 50 w 75"/>
                  <a:gd name="T1" fmla="*/ 13 h 58"/>
                  <a:gd name="T2" fmla="*/ 48 w 75"/>
                  <a:gd name="T3" fmla="*/ 8 h 58"/>
                  <a:gd name="T4" fmla="*/ 26 w 75"/>
                  <a:gd name="T5" fmla="*/ 16 h 58"/>
                  <a:gd name="T6" fmla="*/ 4 w 75"/>
                  <a:gd name="T7" fmla="*/ 23 h 58"/>
                  <a:gd name="T8" fmla="*/ 23 w 75"/>
                  <a:gd name="T9" fmla="*/ 44 h 58"/>
                  <a:gd name="T10" fmla="*/ 43 w 75"/>
                  <a:gd name="T11" fmla="*/ 31 h 58"/>
                  <a:gd name="T12" fmla="*/ 25 w 75"/>
                  <a:gd name="T13" fmla="*/ 45 h 58"/>
                  <a:gd name="T14" fmla="*/ 65 w 75"/>
                  <a:gd name="T15" fmla="*/ 54 h 58"/>
                  <a:gd name="T16" fmla="*/ 65 w 75"/>
                  <a:gd name="T17" fmla="*/ 54 h 58"/>
                  <a:gd name="T18" fmla="*/ 72 w 75"/>
                  <a:gd name="T19" fmla="*/ 52 h 58"/>
                  <a:gd name="T20" fmla="*/ 52 w 75"/>
                  <a:gd name="T21" fmla="*/ 22 h 58"/>
                  <a:gd name="T22" fmla="*/ 50 w 75"/>
                  <a:gd name="T23" fmla="*/ 1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5" h="58">
                    <a:moveTo>
                      <a:pt x="50" y="13"/>
                    </a:moveTo>
                    <a:cubicBezTo>
                      <a:pt x="48" y="13"/>
                      <a:pt x="49" y="9"/>
                      <a:pt x="48" y="8"/>
                    </a:cubicBezTo>
                    <a:cubicBezTo>
                      <a:pt x="40" y="0"/>
                      <a:pt x="29" y="17"/>
                      <a:pt x="26" y="16"/>
                    </a:cubicBezTo>
                    <a:cubicBezTo>
                      <a:pt x="24" y="16"/>
                      <a:pt x="5" y="21"/>
                      <a:pt x="4" y="23"/>
                    </a:cubicBezTo>
                    <a:cubicBezTo>
                      <a:pt x="0" y="31"/>
                      <a:pt x="10" y="45"/>
                      <a:pt x="23" y="44"/>
                    </a:cubicBezTo>
                    <a:cubicBezTo>
                      <a:pt x="30" y="43"/>
                      <a:pt x="31" y="21"/>
                      <a:pt x="43" y="31"/>
                    </a:cubicBezTo>
                    <a:cubicBezTo>
                      <a:pt x="46" y="34"/>
                      <a:pt x="25" y="45"/>
                      <a:pt x="25" y="45"/>
                    </a:cubicBezTo>
                    <a:cubicBezTo>
                      <a:pt x="26" y="58"/>
                      <a:pt x="60" y="58"/>
                      <a:pt x="65" y="54"/>
                    </a:cubicBezTo>
                    <a:cubicBezTo>
                      <a:pt x="65" y="54"/>
                      <a:pt x="65" y="54"/>
                      <a:pt x="65" y="54"/>
                    </a:cubicBezTo>
                    <a:cubicBezTo>
                      <a:pt x="48" y="25"/>
                      <a:pt x="70" y="58"/>
                      <a:pt x="72" y="52"/>
                    </a:cubicBezTo>
                    <a:cubicBezTo>
                      <a:pt x="75" y="44"/>
                      <a:pt x="57" y="26"/>
                      <a:pt x="52" y="22"/>
                    </a:cubicBezTo>
                    <a:cubicBezTo>
                      <a:pt x="47" y="19"/>
                      <a:pt x="60" y="13"/>
                      <a:pt x="50" y="1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3" name="Freeform 1189"/>
              <p:cNvSpPr>
                <a:spLocks/>
              </p:cNvSpPr>
              <p:nvPr/>
            </p:nvSpPr>
            <p:spPr bwMode="auto">
              <a:xfrm>
                <a:off x="3429" y="3516"/>
                <a:ext cx="25" cy="23"/>
              </a:xfrm>
              <a:custGeom>
                <a:avLst/>
                <a:gdLst>
                  <a:gd name="T0" fmla="*/ 6 w 39"/>
                  <a:gd name="T1" fmla="*/ 23 h 35"/>
                  <a:gd name="T2" fmla="*/ 17 w 39"/>
                  <a:gd name="T3" fmla="*/ 1 h 35"/>
                  <a:gd name="T4" fmla="*/ 17 w 39"/>
                  <a:gd name="T5" fmla="*/ 1 h 35"/>
                  <a:gd name="T6" fmla="*/ 6 w 39"/>
                  <a:gd name="T7" fmla="*/ 2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" h="35">
                    <a:moveTo>
                      <a:pt x="6" y="23"/>
                    </a:moveTo>
                    <a:cubicBezTo>
                      <a:pt x="20" y="35"/>
                      <a:pt x="39" y="25"/>
                      <a:pt x="17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1" y="0"/>
                      <a:pt x="0" y="18"/>
                      <a:pt x="6" y="2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4" name="Freeform 1190"/>
              <p:cNvSpPr>
                <a:spLocks/>
              </p:cNvSpPr>
              <p:nvPr/>
            </p:nvSpPr>
            <p:spPr bwMode="auto">
              <a:xfrm>
                <a:off x="3203" y="3745"/>
                <a:ext cx="24" cy="25"/>
              </a:xfrm>
              <a:custGeom>
                <a:avLst/>
                <a:gdLst>
                  <a:gd name="T0" fmla="*/ 9 w 37"/>
                  <a:gd name="T1" fmla="*/ 1 h 38"/>
                  <a:gd name="T2" fmla="*/ 3 w 37"/>
                  <a:gd name="T3" fmla="*/ 5 h 38"/>
                  <a:gd name="T4" fmla="*/ 21 w 37"/>
                  <a:gd name="T5" fmla="*/ 29 h 38"/>
                  <a:gd name="T6" fmla="*/ 35 w 37"/>
                  <a:gd name="T7" fmla="*/ 28 h 38"/>
                  <a:gd name="T8" fmla="*/ 9 w 37"/>
                  <a:gd name="T9" fmla="*/ 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38">
                    <a:moveTo>
                      <a:pt x="9" y="1"/>
                    </a:moveTo>
                    <a:cubicBezTo>
                      <a:pt x="8" y="0"/>
                      <a:pt x="4" y="3"/>
                      <a:pt x="3" y="5"/>
                    </a:cubicBezTo>
                    <a:cubicBezTo>
                      <a:pt x="0" y="16"/>
                      <a:pt x="16" y="38"/>
                      <a:pt x="21" y="29"/>
                    </a:cubicBezTo>
                    <a:cubicBezTo>
                      <a:pt x="24" y="25"/>
                      <a:pt x="33" y="32"/>
                      <a:pt x="35" y="28"/>
                    </a:cubicBezTo>
                    <a:cubicBezTo>
                      <a:pt x="37" y="22"/>
                      <a:pt x="12" y="6"/>
                      <a:pt x="9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5" name="Freeform 1191"/>
              <p:cNvSpPr>
                <a:spLocks/>
              </p:cNvSpPr>
              <p:nvPr/>
            </p:nvSpPr>
            <p:spPr bwMode="auto">
              <a:xfrm>
                <a:off x="3423" y="3801"/>
                <a:ext cx="14" cy="8"/>
              </a:xfrm>
              <a:custGeom>
                <a:avLst/>
                <a:gdLst>
                  <a:gd name="T0" fmla="*/ 14 w 21"/>
                  <a:gd name="T1" fmla="*/ 4 h 12"/>
                  <a:gd name="T2" fmla="*/ 14 w 21"/>
                  <a:gd name="T3" fmla="*/ 4 h 12"/>
                  <a:gd name="T4" fmla="*/ 6 w 21"/>
                  <a:gd name="T5" fmla="*/ 11 h 12"/>
                  <a:gd name="T6" fmla="*/ 14 w 21"/>
                  <a:gd name="T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12">
                    <a:moveTo>
                      <a:pt x="14" y="4"/>
                    </a:moveTo>
                    <a:cubicBezTo>
                      <a:pt x="14" y="4"/>
                      <a:pt x="14" y="4"/>
                      <a:pt x="14" y="4"/>
                    </a:cubicBezTo>
                    <a:cubicBezTo>
                      <a:pt x="9" y="0"/>
                      <a:pt x="0" y="9"/>
                      <a:pt x="6" y="11"/>
                    </a:cubicBezTo>
                    <a:cubicBezTo>
                      <a:pt x="10" y="12"/>
                      <a:pt x="21" y="7"/>
                      <a:pt x="14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6" name="Freeform 1192"/>
              <p:cNvSpPr>
                <a:spLocks/>
              </p:cNvSpPr>
              <p:nvPr/>
            </p:nvSpPr>
            <p:spPr bwMode="auto">
              <a:xfrm>
                <a:off x="2642" y="2347"/>
                <a:ext cx="20" cy="20"/>
              </a:xfrm>
              <a:custGeom>
                <a:avLst/>
                <a:gdLst>
                  <a:gd name="T0" fmla="*/ 0 w 31"/>
                  <a:gd name="T1" fmla="*/ 23 h 30"/>
                  <a:gd name="T2" fmla="*/ 0 w 31"/>
                  <a:gd name="T3" fmla="*/ 23 h 30"/>
                  <a:gd name="T4" fmla="*/ 28 w 31"/>
                  <a:gd name="T5" fmla="*/ 30 h 30"/>
                  <a:gd name="T6" fmla="*/ 0 w 31"/>
                  <a:gd name="T7" fmla="*/ 2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0">
                    <a:moveTo>
                      <a:pt x="0" y="23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2" y="30"/>
                      <a:pt x="28" y="30"/>
                      <a:pt x="28" y="30"/>
                    </a:cubicBezTo>
                    <a:cubicBezTo>
                      <a:pt x="31" y="25"/>
                      <a:pt x="4" y="0"/>
                      <a:pt x="0" y="2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7" name="Freeform 1193"/>
              <p:cNvSpPr>
                <a:spLocks/>
              </p:cNvSpPr>
              <p:nvPr/>
            </p:nvSpPr>
            <p:spPr bwMode="auto">
              <a:xfrm>
                <a:off x="2764" y="2334"/>
                <a:ext cx="42" cy="49"/>
              </a:xfrm>
              <a:custGeom>
                <a:avLst/>
                <a:gdLst>
                  <a:gd name="T0" fmla="*/ 2 w 63"/>
                  <a:gd name="T1" fmla="*/ 61 h 76"/>
                  <a:gd name="T2" fmla="*/ 2 w 63"/>
                  <a:gd name="T3" fmla="*/ 62 h 76"/>
                  <a:gd name="T4" fmla="*/ 14 w 63"/>
                  <a:gd name="T5" fmla="*/ 72 h 76"/>
                  <a:gd name="T6" fmla="*/ 28 w 63"/>
                  <a:gd name="T7" fmla="*/ 75 h 76"/>
                  <a:gd name="T8" fmla="*/ 29 w 63"/>
                  <a:gd name="T9" fmla="*/ 74 h 76"/>
                  <a:gd name="T10" fmla="*/ 23 w 63"/>
                  <a:gd name="T11" fmla="*/ 71 h 76"/>
                  <a:gd name="T12" fmla="*/ 49 w 63"/>
                  <a:gd name="T13" fmla="*/ 60 h 76"/>
                  <a:gd name="T14" fmla="*/ 47 w 63"/>
                  <a:gd name="T15" fmla="*/ 63 h 76"/>
                  <a:gd name="T16" fmla="*/ 56 w 63"/>
                  <a:gd name="T17" fmla="*/ 69 h 76"/>
                  <a:gd name="T18" fmla="*/ 45 w 63"/>
                  <a:gd name="T19" fmla="*/ 51 h 76"/>
                  <a:gd name="T20" fmla="*/ 42 w 63"/>
                  <a:gd name="T21" fmla="*/ 45 h 76"/>
                  <a:gd name="T22" fmla="*/ 51 w 63"/>
                  <a:gd name="T23" fmla="*/ 30 h 76"/>
                  <a:gd name="T24" fmla="*/ 31 w 63"/>
                  <a:gd name="T25" fmla="*/ 25 h 76"/>
                  <a:gd name="T26" fmla="*/ 13 w 63"/>
                  <a:gd name="T27" fmla="*/ 18 h 76"/>
                  <a:gd name="T28" fmla="*/ 11 w 63"/>
                  <a:gd name="T29" fmla="*/ 20 h 76"/>
                  <a:gd name="T30" fmla="*/ 17 w 63"/>
                  <a:gd name="T31" fmla="*/ 20 h 76"/>
                  <a:gd name="T32" fmla="*/ 21 w 63"/>
                  <a:gd name="T33" fmla="*/ 26 h 76"/>
                  <a:gd name="T34" fmla="*/ 37 w 63"/>
                  <a:gd name="T35" fmla="*/ 36 h 76"/>
                  <a:gd name="T36" fmla="*/ 36 w 63"/>
                  <a:gd name="T37" fmla="*/ 41 h 76"/>
                  <a:gd name="T38" fmla="*/ 24 w 63"/>
                  <a:gd name="T39" fmla="*/ 33 h 76"/>
                  <a:gd name="T40" fmla="*/ 23 w 63"/>
                  <a:gd name="T41" fmla="*/ 33 h 76"/>
                  <a:gd name="T42" fmla="*/ 20 w 63"/>
                  <a:gd name="T43" fmla="*/ 30 h 76"/>
                  <a:gd name="T44" fmla="*/ 19 w 63"/>
                  <a:gd name="T45" fmla="*/ 37 h 76"/>
                  <a:gd name="T46" fmla="*/ 15 w 63"/>
                  <a:gd name="T47" fmla="*/ 32 h 76"/>
                  <a:gd name="T48" fmla="*/ 4 w 63"/>
                  <a:gd name="T49" fmla="*/ 33 h 76"/>
                  <a:gd name="T50" fmla="*/ 7 w 63"/>
                  <a:gd name="T51" fmla="*/ 38 h 76"/>
                  <a:gd name="T52" fmla="*/ 5 w 63"/>
                  <a:gd name="T53" fmla="*/ 49 h 76"/>
                  <a:gd name="T54" fmla="*/ 15 w 63"/>
                  <a:gd name="T55" fmla="*/ 55 h 76"/>
                  <a:gd name="T56" fmla="*/ 2 w 63"/>
                  <a:gd name="T57" fmla="*/ 6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3" h="76">
                    <a:moveTo>
                      <a:pt x="2" y="61"/>
                    </a:moveTo>
                    <a:cubicBezTo>
                      <a:pt x="2" y="62"/>
                      <a:pt x="2" y="62"/>
                      <a:pt x="2" y="62"/>
                    </a:cubicBezTo>
                    <a:cubicBezTo>
                      <a:pt x="5" y="66"/>
                      <a:pt x="6" y="71"/>
                      <a:pt x="14" y="72"/>
                    </a:cubicBezTo>
                    <a:cubicBezTo>
                      <a:pt x="18" y="72"/>
                      <a:pt x="26" y="76"/>
                      <a:pt x="28" y="75"/>
                    </a:cubicBezTo>
                    <a:cubicBezTo>
                      <a:pt x="29" y="75"/>
                      <a:pt x="29" y="75"/>
                      <a:pt x="29" y="74"/>
                    </a:cubicBezTo>
                    <a:cubicBezTo>
                      <a:pt x="30" y="72"/>
                      <a:pt x="24" y="73"/>
                      <a:pt x="23" y="71"/>
                    </a:cubicBezTo>
                    <a:cubicBezTo>
                      <a:pt x="21" y="66"/>
                      <a:pt x="44" y="56"/>
                      <a:pt x="49" y="60"/>
                    </a:cubicBezTo>
                    <a:cubicBezTo>
                      <a:pt x="50" y="61"/>
                      <a:pt x="45" y="64"/>
                      <a:pt x="47" y="63"/>
                    </a:cubicBezTo>
                    <a:cubicBezTo>
                      <a:pt x="48" y="63"/>
                      <a:pt x="55" y="71"/>
                      <a:pt x="56" y="69"/>
                    </a:cubicBezTo>
                    <a:cubicBezTo>
                      <a:pt x="63" y="55"/>
                      <a:pt x="50" y="59"/>
                      <a:pt x="45" y="51"/>
                    </a:cubicBezTo>
                    <a:cubicBezTo>
                      <a:pt x="44" y="49"/>
                      <a:pt x="43" y="47"/>
                      <a:pt x="42" y="45"/>
                    </a:cubicBezTo>
                    <a:cubicBezTo>
                      <a:pt x="41" y="38"/>
                      <a:pt x="55" y="37"/>
                      <a:pt x="51" y="30"/>
                    </a:cubicBezTo>
                    <a:cubicBezTo>
                      <a:pt x="47" y="23"/>
                      <a:pt x="37" y="27"/>
                      <a:pt x="31" y="25"/>
                    </a:cubicBezTo>
                    <a:cubicBezTo>
                      <a:pt x="25" y="23"/>
                      <a:pt x="30" y="0"/>
                      <a:pt x="13" y="18"/>
                    </a:cubicBezTo>
                    <a:cubicBezTo>
                      <a:pt x="12" y="18"/>
                      <a:pt x="11" y="19"/>
                      <a:pt x="11" y="20"/>
                    </a:cubicBezTo>
                    <a:cubicBezTo>
                      <a:pt x="10" y="24"/>
                      <a:pt x="17" y="16"/>
                      <a:pt x="17" y="20"/>
                    </a:cubicBezTo>
                    <a:cubicBezTo>
                      <a:pt x="18" y="26"/>
                      <a:pt x="11" y="35"/>
                      <a:pt x="21" y="26"/>
                    </a:cubicBezTo>
                    <a:cubicBezTo>
                      <a:pt x="24" y="22"/>
                      <a:pt x="36" y="34"/>
                      <a:pt x="37" y="36"/>
                    </a:cubicBezTo>
                    <a:cubicBezTo>
                      <a:pt x="38" y="38"/>
                      <a:pt x="37" y="40"/>
                      <a:pt x="36" y="41"/>
                    </a:cubicBezTo>
                    <a:cubicBezTo>
                      <a:pt x="33" y="45"/>
                      <a:pt x="26" y="35"/>
                      <a:pt x="24" y="33"/>
                    </a:cubicBezTo>
                    <a:cubicBezTo>
                      <a:pt x="24" y="33"/>
                      <a:pt x="23" y="33"/>
                      <a:pt x="23" y="33"/>
                    </a:cubicBezTo>
                    <a:cubicBezTo>
                      <a:pt x="20" y="32"/>
                      <a:pt x="27" y="25"/>
                      <a:pt x="20" y="30"/>
                    </a:cubicBezTo>
                    <a:cubicBezTo>
                      <a:pt x="17" y="32"/>
                      <a:pt x="20" y="35"/>
                      <a:pt x="19" y="37"/>
                    </a:cubicBezTo>
                    <a:cubicBezTo>
                      <a:pt x="17" y="38"/>
                      <a:pt x="16" y="33"/>
                      <a:pt x="15" y="32"/>
                    </a:cubicBezTo>
                    <a:cubicBezTo>
                      <a:pt x="13" y="31"/>
                      <a:pt x="5" y="31"/>
                      <a:pt x="4" y="33"/>
                    </a:cubicBezTo>
                    <a:cubicBezTo>
                      <a:pt x="3" y="34"/>
                      <a:pt x="5" y="37"/>
                      <a:pt x="7" y="38"/>
                    </a:cubicBezTo>
                    <a:cubicBezTo>
                      <a:pt x="26" y="46"/>
                      <a:pt x="1" y="42"/>
                      <a:pt x="5" y="49"/>
                    </a:cubicBezTo>
                    <a:cubicBezTo>
                      <a:pt x="6" y="51"/>
                      <a:pt x="14" y="50"/>
                      <a:pt x="15" y="55"/>
                    </a:cubicBezTo>
                    <a:cubicBezTo>
                      <a:pt x="15" y="57"/>
                      <a:pt x="0" y="53"/>
                      <a:pt x="2" y="6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8" name="Freeform 1194"/>
              <p:cNvSpPr>
                <a:spLocks noEditPoints="1"/>
              </p:cNvSpPr>
              <p:nvPr/>
            </p:nvSpPr>
            <p:spPr bwMode="auto">
              <a:xfrm>
                <a:off x="2341" y="2322"/>
                <a:ext cx="537" cy="665"/>
              </a:xfrm>
              <a:custGeom>
                <a:avLst/>
                <a:gdLst>
                  <a:gd name="T0" fmla="*/ 104 w 818"/>
                  <a:gd name="T1" fmla="*/ 308 h 1014"/>
                  <a:gd name="T2" fmla="*/ 76 w 818"/>
                  <a:gd name="T3" fmla="*/ 382 h 1014"/>
                  <a:gd name="T4" fmla="*/ 27 w 818"/>
                  <a:gd name="T5" fmla="*/ 412 h 1014"/>
                  <a:gd name="T6" fmla="*/ 23 w 818"/>
                  <a:gd name="T7" fmla="*/ 442 h 1014"/>
                  <a:gd name="T8" fmla="*/ 7 w 818"/>
                  <a:gd name="T9" fmla="*/ 518 h 1014"/>
                  <a:gd name="T10" fmla="*/ 14 w 818"/>
                  <a:gd name="T11" fmla="*/ 550 h 1014"/>
                  <a:gd name="T12" fmla="*/ 31 w 818"/>
                  <a:gd name="T13" fmla="*/ 588 h 1014"/>
                  <a:gd name="T14" fmla="*/ 30 w 818"/>
                  <a:gd name="T15" fmla="*/ 630 h 1014"/>
                  <a:gd name="T16" fmla="*/ 43 w 818"/>
                  <a:gd name="T17" fmla="*/ 676 h 1014"/>
                  <a:gd name="T18" fmla="*/ 48 w 818"/>
                  <a:gd name="T19" fmla="*/ 714 h 1014"/>
                  <a:gd name="T20" fmla="*/ 61 w 818"/>
                  <a:gd name="T21" fmla="*/ 734 h 1014"/>
                  <a:gd name="T22" fmla="*/ 149 w 818"/>
                  <a:gd name="T23" fmla="*/ 776 h 1014"/>
                  <a:gd name="T24" fmla="*/ 160 w 818"/>
                  <a:gd name="T25" fmla="*/ 968 h 1014"/>
                  <a:gd name="T26" fmla="*/ 245 w 818"/>
                  <a:gd name="T27" fmla="*/ 959 h 1014"/>
                  <a:gd name="T28" fmla="*/ 262 w 818"/>
                  <a:gd name="T29" fmla="*/ 957 h 1014"/>
                  <a:gd name="T30" fmla="*/ 295 w 818"/>
                  <a:gd name="T31" fmla="*/ 949 h 1014"/>
                  <a:gd name="T32" fmla="*/ 330 w 818"/>
                  <a:gd name="T33" fmla="*/ 966 h 1014"/>
                  <a:gd name="T34" fmla="*/ 382 w 818"/>
                  <a:gd name="T35" fmla="*/ 998 h 1014"/>
                  <a:gd name="T36" fmla="*/ 450 w 818"/>
                  <a:gd name="T37" fmla="*/ 979 h 1014"/>
                  <a:gd name="T38" fmla="*/ 508 w 818"/>
                  <a:gd name="T39" fmla="*/ 979 h 1014"/>
                  <a:gd name="T40" fmla="*/ 577 w 818"/>
                  <a:gd name="T41" fmla="*/ 955 h 1014"/>
                  <a:gd name="T42" fmla="*/ 629 w 818"/>
                  <a:gd name="T43" fmla="*/ 953 h 1014"/>
                  <a:gd name="T44" fmla="*/ 686 w 818"/>
                  <a:gd name="T45" fmla="*/ 843 h 1014"/>
                  <a:gd name="T46" fmla="*/ 582 w 818"/>
                  <a:gd name="T47" fmla="*/ 687 h 1014"/>
                  <a:gd name="T48" fmla="*/ 577 w 818"/>
                  <a:gd name="T49" fmla="*/ 635 h 1014"/>
                  <a:gd name="T50" fmla="*/ 652 w 818"/>
                  <a:gd name="T51" fmla="*/ 591 h 1014"/>
                  <a:gd name="T52" fmla="*/ 749 w 818"/>
                  <a:gd name="T53" fmla="*/ 525 h 1014"/>
                  <a:gd name="T54" fmla="*/ 789 w 818"/>
                  <a:gd name="T55" fmla="*/ 452 h 1014"/>
                  <a:gd name="T56" fmla="*/ 773 w 818"/>
                  <a:gd name="T57" fmla="*/ 339 h 1014"/>
                  <a:gd name="T58" fmla="*/ 747 w 818"/>
                  <a:gd name="T59" fmla="*/ 165 h 1014"/>
                  <a:gd name="T60" fmla="*/ 713 w 818"/>
                  <a:gd name="T61" fmla="*/ 130 h 1014"/>
                  <a:gd name="T62" fmla="*/ 679 w 818"/>
                  <a:gd name="T63" fmla="*/ 108 h 1014"/>
                  <a:gd name="T64" fmla="*/ 597 w 818"/>
                  <a:gd name="T65" fmla="*/ 73 h 1014"/>
                  <a:gd name="T66" fmla="*/ 628 w 818"/>
                  <a:gd name="T67" fmla="*/ 64 h 1014"/>
                  <a:gd name="T68" fmla="*/ 576 w 818"/>
                  <a:gd name="T69" fmla="*/ 83 h 1014"/>
                  <a:gd name="T70" fmla="*/ 537 w 818"/>
                  <a:gd name="T71" fmla="*/ 103 h 1014"/>
                  <a:gd name="T72" fmla="*/ 491 w 818"/>
                  <a:gd name="T73" fmla="*/ 132 h 1014"/>
                  <a:gd name="T74" fmla="*/ 467 w 818"/>
                  <a:gd name="T75" fmla="*/ 75 h 1014"/>
                  <a:gd name="T76" fmla="*/ 386 w 818"/>
                  <a:gd name="T77" fmla="*/ 74 h 1014"/>
                  <a:gd name="T78" fmla="*/ 369 w 818"/>
                  <a:gd name="T79" fmla="*/ 30 h 1014"/>
                  <a:gd name="T80" fmla="*/ 319 w 818"/>
                  <a:gd name="T81" fmla="*/ 12 h 1014"/>
                  <a:gd name="T82" fmla="*/ 248 w 818"/>
                  <a:gd name="T83" fmla="*/ 69 h 1014"/>
                  <a:gd name="T84" fmla="*/ 263 w 818"/>
                  <a:gd name="T85" fmla="*/ 100 h 1014"/>
                  <a:gd name="T86" fmla="*/ 347 w 818"/>
                  <a:gd name="T87" fmla="*/ 183 h 1014"/>
                  <a:gd name="T88" fmla="*/ 244 w 818"/>
                  <a:gd name="T89" fmla="*/ 140 h 1014"/>
                  <a:gd name="T90" fmla="*/ 212 w 818"/>
                  <a:gd name="T91" fmla="*/ 205 h 1014"/>
                  <a:gd name="T92" fmla="*/ 103 w 818"/>
                  <a:gd name="T93" fmla="*/ 208 h 1014"/>
                  <a:gd name="T94" fmla="*/ 121 w 818"/>
                  <a:gd name="T95" fmla="*/ 236 h 1014"/>
                  <a:gd name="T96" fmla="*/ 582 w 818"/>
                  <a:gd name="T97" fmla="*/ 930 h 1014"/>
                  <a:gd name="T98" fmla="*/ 469 w 818"/>
                  <a:gd name="T99" fmla="*/ 907 h 1014"/>
                  <a:gd name="T100" fmla="*/ 286 w 818"/>
                  <a:gd name="T101" fmla="*/ 954 h 1014"/>
                  <a:gd name="T102" fmla="*/ 276 w 818"/>
                  <a:gd name="T103" fmla="*/ 951 h 10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18" h="1014">
                    <a:moveTo>
                      <a:pt x="121" y="236"/>
                    </a:moveTo>
                    <a:cubicBezTo>
                      <a:pt x="118" y="239"/>
                      <a:pt x="119" y="241"/>
                      <a:pt x="121" y="249"/>
                    </a:cubicBezTo>
                    <a:cubicBezTo>
                      <a:pt x="123" y="257"/>
                      <a:pt x="121" y="265"/>
                      <a:pt x="113" y="274"/>
                    </a:cubicBezTo>
                    <a:cubicBezTo>
                      <a:pt x="106" y="283"/>
                      <a:pt x="110" y="304"/>
                      <a:pt x="108" y="306"/>
                    </a:cubicBezTo>
                    <a:cubicBezTo>
                      <a:pt x="108" y="307"/>
                      <a:pt x="105" y="308"/>
                      <a:pt x="104" y="308"/>
                    </a:cubicBezTo>
                    <a:cubicBezTo>
                      <a:pt x="101" y="309"/>
                      <a:pt x="77" y="302"/>
                      <a:pt x="76" y="308"/>
                    </a:cubicBezTo>
                    <a:cubicBezTo>
                      <a:pt x="75" y="311"/>
                      <a:pt x="81" y="314"/>
                      <a:pt x="80" y="317"/>
                    </a:cubicBezTo>
                    <a:cubicBezTo>
                      <a:pt x="79" y="321"/>
                      <a:pt x="70" y="317"/>
                      <a:pt x="77" y="327"/>
                    </a:cubicBezTo>
                    <a:cubicBezTo>
                      <a:pt x="87" y="341"/>
                      <a:pt x="103" y="322"/>
                      <a:pt x="107" y="341"/>
                    </a:cubicBezTo>
                    <a:cubicBezTo>
                      <a:pt x="112" y="367"/>
                      <a:pt x="90" y="369"/>
                      <a:pt x="76" y="382"/>
                    </a:cubicBezTo>
                    <a:cubicBezTo>
                      <a:pt x="68" y="389"/>
                      <a:pt x="89" y="388"/>
                      <a:pt x="88" y="395"/>
                    </a:cubicBezTo>
                    <a:cubicBezTo>
                      <a:pt x="86" y="403"/>
                      <a:pt x="52" y="415"/>
                      <a:pt x="46" y="415"/>
                    </a:cubicBezTo>
                    <a:cubicBezTo>
                      <a:pt x="46" y="415"/>
                      <a:pt x="27" y="406"/>
                      <a:pt x="27" y="406"/>
                    </a:cubicBezTo>
                    <a:cubicBezTo>
                      <a:pt x="26" y="406"/>
                      <a:pt x="26" y="406"/>
                      <a:pt x="26" y="406"/>
                    </a:cubicBezTo>
                    <a:cubicBezTo>
                      <a:pt x="26" y="408"/>
                      <a:pt x="28" y="411"/>
                      <a:pt x="27" y="412"/>
                    </a:cubicBezTo>
                    <a:cubicBezTo>
                      <a:pt x="27" y="412"/>
                      <a:pt x="27" y="412"/>
                      <a:pt x="27" y="412"/>
                    </a:cubicBezTo>
                    <a:cubicBezTo>
                      <a:pt x="27" y="412"/>
                      <a:pt x="9" y="415"/>
                      <a:pt x="9" y="415"/>
                    </a:cubicBezTo>
                    <a:cubicBezTo>
                      <a:pt x="5" y="416"/>
                      <a:pt x="16" y="420"/>
                      <a:pt x="12" y="425"/>
                    </a:cubicBezTo>
                    <a:cubicBezTo>
                      <a:pt x="7" y="430"/>
                      <a:pt x="19" y="425"/>
                      <a:pt x="17" y="433"/>
                    </a:cubicBezTo>
                    <a:cubicBezTo>
                      <a:pt x="14" y="441"/>
                      <a:pt x="27" y="433"/>
                      <a:pt x="23" y="442"/>
                    </a:cubicBezTo>
                    <a:cubicBezTo>
                      <a:pt x="20" y="450"/>
                      <a:pt x="33" y="450"/>
                      <a:pt x="33" y="460"/>
                    </a:cubicBezTo>
                    <a:cubicBezTo>
                      <a:pt x="34" y="469"/>
                      <a:pt x="33" y="472"/>
                      <a:pt x="33" y="474"/>
                    </a:cubicBezTo>
                    <a:cubicBezTo>
                      <a:pt x="35" y="482"/>
                      <a:pt x="19" y="488"/>
                      <a:pt x="19" y="496"/>
                    </a:cubicBezTo>
                    <a:cubicBezTo>
                      <a:pt x="19" y="510"/>
                      <a:pt x="47" y="493"/>
                      <a:pt x="17" y="512"/>
                    </a:cubicBezTo>
                    <a:cubicBezTo>
                      <a:pt x="10" y="516"/>
                      <a:pt x="9" y="522"/>
                      <a:pt x="7" y="518"/>
                    </a:cubicBezTo>
                    <a:cubicBezTo>
                      <a:pt x="5" y="513"/>
                      <a:pt x="0" y="518"/>
                      <a:pt x="4" y="524"/>
                    </a:cubicBezTo>
                    <a:cubicBezTo>
                      <a:pt x="8" y="530"/>
                      <a:pt x="19" y="524"/>
                      <a:pt x="16" y="528"/>
                    </a:cubicBezTo>
                    <a:cubicBezTo>
                      <a:pt x="13" y="532"/>
                      <a:pt x="16" y="534"/>
                      <a:pt x="20" y="535"/>
                    </a:cubicBezTo>
                    <a:cubicBezTo>
                      <a:pt x="23" y="536"/>
                      <a:pt x="23" y="545"/>
                      <a:pt x="18" y="544"/>
                    </a:cubicBezTo>
                    <a:cubicBezTo>
                      <a:pt x="13" y="543"/>
                      <a:pt x="19" y="548"/>
                      <a:pt x="14" y="550"/>
                    </a:cubicBezTo>
                    <a:cubicBezTo>
                      <a:pt x="12" y="551"/>
                      <a:pt x="15" y="555"/>
                      <a:pt x="16" y="557"/>
                    </a:cubicBezTo>
                    <a:cubicBezTo>
                      <a:pt x="18" y="566"/>
                      <a:pt x="23" y="558"/>
                      <a:pt x="26" y="565"/>
                    </a:cubicBezTo>
                    <a:cubicBezTo>
                      <a:pt x="29" y="571"/>
                      <a:pt x="30" y="569"/>
                      <a:pt x="30" y="572"/>
                    </a:cubicBezTo>
                    <a:cubicBezTo>
                      <a:pt x="30" y="575"/>
                      <a:pt x="41" y="573"/>
                      <a:pt x="38" y="577"/>
                    </a:cubicBezTo>
                    <a:cubicBezTo>
                      <a:pt x="34" y="581"/>
                      <a:pt x="27" y="581"/>
                      <a:pt x="31" y="588"/>
                    </a:cubicBezTo>
                    <a:cubicBezTo>
                      <a:pt x="36" y="594"/>
                      <a:pt x="43" y="588"/>
                      <a:pt x="46" y="594"/>
                    </a:cubicBezTo>
                    <a:cubicBezTo>
                      <a:pt x="49" y="600"/>
                      <a:pt x="42" y="605"/>
                      <a:pt x="46" y="609"/>
                    </a:cubicBezTo>
                    <a:cubicBezTo>
                      <a:pt x="50" y="613"/>
                      <a:pt x="51" y="615"/>
                      <a:pt x="44" y="614"/>
                    </a:cubicBezTo>
                    <a:cubicBezTo>
                      <a:pt x="37" y="614"/>
                      <a:pt x="43" y="622"/>
                      <a:pt x="37" y="622"/>
                    </a:cubicBezTo>
                    <a:cubicBezTo>
                      <a:pt x="30" y="623"/>
                      <a:pt x="28" y="627"/>
                      <a:pt x="30" y="630"/>
                    </a:cubicBezTo>
                    <a:cubicBezTo>
                      <a:pt x="33" y="633"/>
                      <a:pt x="32" y="633"/>
                      <a:pt x="28" y="633"/>
                    </a:cubicBezTo>
                    <a:cubicBezTo>
                      <a:pt x="25" y="633"/>
                      <a:pt x="28" y="637"/>
                      <a:pt x="27" y="639"/>
                    </a:cubicBezTo>
                    <a:cubicBezTo>
                      <a:pt x="22" y="648"/>
                      <a:pt x="26" y="654"/>
                      <a:pt x="28" y="659"/>
                    </a:cubicBezTo>
                    <a:cubicBezTo>
                      <a:pt x="30" y="664"/>
                      <a:pt x="33" y="659"/>
                      <a:pt x="35" y="668"/>
                    </a:cubicBezTo>
                    <a:cubicBezTo>
                      <a:pt x="38" y="677"/>
                      <a:pt x="42" y="671"/>
                      <a:pt x="43" y="676"/>
                    </a:cubicBezTo>
                    <a:cubicBezTo>
                      <a:pt x="44" y="681"/>
                      <a:pt x="45" y="673"/>
                      <a:pt x="49" y="678"/>
                    </a:cubicBezTo>
                    <a:cubicBezTo>
                      <a:pt x="53" y="683"/>
                      <a:pt x="54" y="679"/>
                      <a:pt x="58" y="681"/>
                    </a:cubicBezTo>
                    <a:cubicBezTo>
                      <a:pt x="63" y="682"/>
                      <a:pt x="58" y="688"/>
                      <a:pt x="59" y="692"/>
                    </a:cubicBezTo>
                    <a:cubicBezTo>
                      <a:pt x="61" y="696"/>
                      <a:pt x="51" y="698"/>
                      <a:pt x="53" y="701"/>
                    </a:cubicBezTo>
                    <a:cubicBezTo>
                      <a:pt x="54" y="705"/>
                      <a:pt x="45" y="711"/>
                      <a:pt x="48" y="714"/>
                    </a:cubicBezTo>
                    <a:cubicBezTo>
                      <a:pt x="50" y="717"/>
                      <a:pt x="46" y="716"/>
                      <a:pt x="47" y="719"/>
                    </a:cubicBezTo>
                    <a:cubicBezTo>
                      <a:pt x="48" y="723"/>
                      <a:pt x="48" y="724"/>
                      <a:pt x="47" y="727"/>
                    </a:cubicBezTo>
                    <a:cubicBezTo>
                      <a:pt x="47" y="728"/>
                      <a:pt x="48" y="728"/>
                      <a:pt x="49" y="728"/>
                    </a:cubicBezTo>
                    <a:cubicBezTo>
                      <a:pt x="51" y="729"/>
                      <a:pt x="53" y="730"/>
                      <a:pt x="55" y="730"/>
                    </a:cubicBezTo>
                    <a:cubicBezTo>
                      <a:pt x="57" y="731"/>
                      <a:pt x="59" y="732"/>
                      <a:pt x="61" y="734"/>
                    </a:cubicBezTo>
                    <a:cubicBezTo>
                      <a:pt x="69" y="743"/>
                      <a:pt x="69" y="756"/>
                      <a:pt x="82" y="765"/>
                    </a:cubicBezTo>
                    <a:cubicBezTo>
                      <a:pt x="91" y="773"/>
                      <a:pt x="82" y="763"/>
                      <a:pt x="88" y="759"/>
                    </a:cubicBezTo>
                    <a:cubicBezTo>
                      <a:pt x="98" y="752"/>
                      <a:pt x="103" y="770"/>
                      <a:pt x="104" y="772"/>
                    </a:cubicBezTo>
                    <a:cubicBezTo>
                      <a:pt x="106" y="775"/>
                      <a:pt x="139" y="763"/>
                      <a:pt x="144" y="765"/>
                    </a:cubicBezTo>
                    <a:cubicBezTo>
                      <a:pt x="148" y="767"/>
                      <a:pt x="146" y="774"/>
                      <a:pt x="149" y="776"/>
                    </a:cubicBezTo>
                    <a:cubicBezTo>
                      <a:pt x="163" y="787"/>
                      <a:pt x="185" y="781"/>
                      <a:pt x="202" y="789"/>
                    </a:cubicBezTo>
                    <a:cubicBezTo>
                      <a:pt x="205" y="790"/>
                      <a:pt x="212" y="788"/>
                      <a:pt x="211" y="791"/>
                    </a:cubicBezTo>
                    <a:cubicBezTo>
                      <a:pt x="205" y="812"/>
                      <a:pt x="177" y="823"/>
                      <a:pt x="172" y="839"/>
                    </a:cubicBezTo>
                    <a:cubicBezTo>
                      <a:pt x="166" y="859"/>
                      <a:pt x="140" y="965"/>
                      <a:pt x="153" y="970"/>
                    </a:cubicBezTo>
                    <a:cubicBezTo>
                      <a:pt x="155" y="971"/>
                      <a:pt x="158" y="967"/>
                      <a:pt x="160" y="968"/>
                    </a:cubicBezTo>
                    <a:cubicBezTo>
                      <a:pt x="162" y="969"/>
                      <a:pt x="155" y="970"/>
                      <a:pt x="156" y="972"/>
                    </a:cubicBezTo>
                    <a:cubicBezTo>
                      <a:pt x="158" y="976"/>
                      <a:pt x="192" y="972"/>
                      <a:pt x="197" y="970"/>
                    </a:cubicBezTo>
                    <a:cubicBezTo>
                      <a:pt x="208" y="966"/>
                      <a:pt x="227" y="978"/>
                      <a:pt x="235" y="970"/>
                    </a:cubicBezTo>
                    <a:cubicBezTo>
                      <a:pt x="236" y="969"/>
                      <a:pt x="233" y="965"/>
                      <a:pt x="235" y="964"/>
                    </a:cubicBezTo>
                    <a:cubicBezTo>
                      <a:pt x="238" y="962"/>
                      <a:pt x="249" y="961"/>
                      <a:pt x="245" y="959"/>
                    </a:cubicBezTo>
                    <a:cubicBezTo>
                      <a:pt x="243" y="958"/>
                      <a:pt x="239" y="959"/>
                      <a:pt x="236" y="959"/>
                    </a:cubicBezTo>
                    <a:cubicBezTo>
                      <a:pt x="233" y="959"/>
                      <a:pt x="230" y="961"/>
                      <a:pt x="227" y="959"/>
                    </a:cubicBezTo>
                    <a:cubicBezTo>
                      <a:pt x="222" y="957"/>
                      <a:pt x="247" y="931"/>
                      <a:pt x="256" y="947"/>
                    </a:cubicBezTo>
                    <a:cubicBezTo>
                      <a:pt x="257" y="949"/>
                      <a:pt x="253" y="953"/>
                      <a:pt x="254" y="955"/>
                    </a:cubicBezTo>
                    <a:cubicBezTo>
                      <a:pt x="255" y="957"/>
                      <a:pt x="259" y="959"/>
                      <a:pt x="262" y="957"/>
                    </a:cubicBezTo>
                    <a:cubicBezTo>
                      <a:pt x="263" y="956"/>
                      <a:pt x="259" y="951"/>
                      <a:pt x="262" y="951"/>
                    </a:cubicBezTo>
                    <a:cubicBezTo>
                      <a:pt x="266" y="950"/>
                      <a:pt x="265" y="960"/>
                      <a:pt x="269" y="962"/>
                    </a:cubicBezTo>
                    <a:cubicBezTo>
                      <a:pt x="278" y="965"/>
                      <a:pt x="291" y="958"/>
                      <a:pt x="301" y="959"/>
                    </a:cubicBezTo>
                    <a:cubicBezTo>
                      <a:pt x="300" y="958"/>
                      <a:pt x="298" y="956"/>
                      <a:pt x="297" y="955"/>
                    </a:cubicBezTo>
                    <a:cubicBezTo>
                      <a:pt x="296" y="953"/>
                      <a:pt x="297" y="951"/>
                      <a:pt x="295" y="949"/>
                    </a:cubicBezTo>
                    <a:cubicBezTo>
                      <a:pt x="294" y="948"/>
                      <a:pt x="284" y="941"/>
                      <a:pt x="284" y="941"/>
                    </a:cubicBezTo>
                    <a:cubicBezTo>
                      <a:pt x="284" y="940"/>
                      <a:pt x="286" y="942"/>
                      <a:pt x="287" y="942"/>
                    </a:cubicBezTo>
                    <a:cubicBezTo>
                      <a:pt x="293" y="943"/>
                      <a:pt x="298" y="949"/>
                      <a:pt x="303" y="953"/>
                    </a:cubicBezTo>
                    <a:cubicBezTo>
                      <a:pt x="305" y="955"/>
                      <a:pt x="308" y="958"/>
                      <a:pt x="311" y="959"/>
                    </a:cubicBezTo>
                    <a:cubicBezTo>
                      <a:pt x="319" y="963"/>
                      <a:pt x="321" y="959"/>
                      <a:pt x="330" y="966"/>
                    </a:cubicBezTo>
                    <a:cubicBezTo>
                      <a:pt x="334" y="970"/>
                      <a:pt x="338" y="973"/>
                      <a:pt x="342" y="975"/>
                    </a:cubicBezTo>
                    <a:cubicBezTo>
                      <a:pt x="348" y="972"/>
                      <a:pt x="352" y="968"/>
                      <a:pt x="352" y="968"/>
                    </a:cubicBezTo>
                    <a:cubicBezTo>
                      <a:pt x="361" y="976"/>
                      <a:pt x="365" y="977"/>
                      <a:pt x="376" y="985"/>
                    </a:cubicBezTo>
                    <a:cubicBezTo>
                      <a:pt x="381" y="989"/>
                      <a:pt x="374" y="992"/>
                      <a:pt x="376" y="996"/>
                    </a:cubicBezTo>
                    <a:cubicBezTo>
                      <a:pt x="377" y="998"/>
                      <a:pt x="380" y="998"/>
                      <a:pt x="382" y="998"/>
                    </a:cubicBezTo>
                    <a:cubicBezTo>
                      <a:pt x="384" y="998"/>
                      <a:pt x="386" y="994"/>
                      <a:pt x="388" y="996"/>
                    </a:cubicBezTo>
                    <a:cubicBezTo>
                      <a:pt x="391" y="999"/>
                      <a:pt x="380" y="1006"/>
                      <a:pt x="383" y="1009"/>
                    </a:cubicBezTo>
                    <a:cubicBezTo>
                      <a:pt x="389" y="1014"/>
                      <a:pt x="409" y="995"/>
                      <a:pt x="410" y="989"/>
                    </a:cubicBezTo>
                    <a:cubicBezTo>
                      <a:pt x="411" y="983"/>
                      <a:pt x="403" y="965"/>
                      <a:pt x="410" y="972"/>
                    </a:cubicBezTo>
                    <a:cubicBezTo>
                      <a:pt x="417" y="980"/>
                      <a:pt x="446" y="966"/>
                      <a:pt x="450" y="979"/>
                    </a:cubicBezTo>
                    <a:cubicBezTo>
                      <a:pt x="452" y="984"/>
                      <a:pt x="451" y="990"/>
                      <a:pt x="455" y="994"/>
                    </a:cubicBezTo>
                    <a:cubicBezTo>
                      <a:pt x="458" y="998"/>
                      <a:pt x="492" y="989"/>
                      <a:pt x="493" y="987"/>
                    </a:cubicBezTo>
                    <a:cubicBezTo>
                      <a:pt x="495" y="985"/>
                      <a:pt x="493" y="981"/>
                      <a:pt x="495" y="979"/>
                    </a:cubicBezTo>
                    <a:cubicBezTo>
                      <a:pt x="496" y="977"/>
                      <a:pt x="499" y="979"/>
                      <a:pt x="501" y="979"/>
                    </a:cubicBezTo>
                    <a:cubicBezTo>
                      <a:pt x="504" y="979"/>
                      <a:pt x="506" y="980"/>
                      <a:pt x="508" y="979"/>
                    </a:cubicBezTo>
                    <a:cubicBezTo>
                      <a:pt x="508" y="979"/>
                      <a:pt x="514" y="968"/>
                      <a:pt x="514" y="968"/>
                    </a:cubicBezTo>
                    <a:cubicBezTo>
                      <a:pt x="525" y="961"/>
                      <a:pt x="551" y="971"/>
                      <a:pt x="565" y="966"/>
                    </a:cubicBezTo>
                    <a:cubicBezTo>
                      <a:pt x="568" y="965"/>
                      <a:pt x="556" y="949"/>
                      <a:pt x="569" y="949"/>
                    </a:cubicBezTo>
                    <a:cubicBezTo>
                      <a:pt x="571" y="949"/>
                      <a:pt x="567" y="954"/>
                      <a:pt x="569" y="955"/>
                    </a:cubicBezTo>
                    <a:cubicBezTo>
                      <a:pt x="571" y="957"/>
                      <a:pt x="575" y="955"/>
                      <a:pt x="577" y="955"/>
                    </a:cubicBezTo>
                    <a:cubicBezTo>
                      <a:pt x="580" y="955"/>
                      <a:pt x="583" y="954"/>
                      <a:pt x="585" y="955"/>
                    </a:cubicBezTo>
                    <a:cubicBezTo>
                      <a:pt x="588" y="957"/>
                      <a:pt x="588" y="962"/>
                      <a:pt x="591" y="964"/>
                    </a:cubicBezTo>
                    <a:cubicBezTo>
                      <a:pt x="596" y="967"/>
                      <a:pt x="610" y="957"/>
                      <a:pt x="615" y="959"/>
                    </a:cubicBezTo>
                    <a:cubicBezTo>
                      <a:pt x="621" y="962"/>
                      <a:pt x="630" y="1004"/>
                      <a:pt x="640" y="981"/>
                    </a:cubicBezTo>
                    <a:cubicBezTo>
                      <a:pt x="653" y="953"/>
                      <a:pt x="633" y="961"/>
                      <a:pt x="629" y="953"/>
                    </a:cubicBezTo>
                    <a:cubicBezTo>
                      <a:pt x="623" y="943"/>
                      <a:pt x="639" y="942"/>
                      <a:pt x="637" y="936"/>
                    </a:cubicBezTo>
                    <a:cubicBezTo>
                      <a:pt x="636" y="926"/>
                      <a:pt x="612" y="911"/>
                      <a:pt x="614" y="901"/>
                    </a:cubicBezTo>
                    <a:cubicBezTo>
                      <a:pt x="616" y="886"/>
                      <a:pt x="659" y="880"/>
                      <a:pt x="669" y="871"/>
                    </a:cubicBezTo>
                    <a:cubicBezTo>
                      <a:pt x="679" y="863"/>
                      <a:pt x="672" y="854"/>
                      <a:pt x="676" y="843"/>
                    </a:cubicBezTo>
                    <a:cubicBezTo>
                      <a:pt x="678" y="839"/>
                      <a:pt x="684" y="842"/>
                      <a:pt x="686" y="843"/>
                    </a:cubicBezTo>
                    <a:cubicBezTo>
                      <a:pt x="709" y="853"/>
                      <a:pt x="713" y="835"/>
                      <a:pt x="709" y="815"/>
                    </a:cubicBezTo>
                    <a:cubicBezTo>
                      <a:pt x="707" y="801"/>
                      <a:pt x="664" y="782"/>
                      <a:pt x="654" y="772"/>
                    </a:cubicBezTo>
                    <a:cubicBezTo>
                      <a:pt x="648" y="766"/>
                      <a:pt x="646" y="754"/>
                      <a:pt x="639" y="748"/>
                    </a:cubicBezTo>
                    <a:cubicBezTo>
                      <a:pt x="630" y="740"/>
                      <a:pt x="615" y="741"/>
                      <a:pt x="606" y="731"/>
                    </a:cubicBezTo>
                    <a:cubicBezTo>
                      <a:pt x="602" y="725"/>
                      <a:pt x="582" y="693"/>
                      <a:pt x="582" y="687"/>
                    </a:cubicBezTo>
                    <a:cubicBezTo>
                      <a:pt x="582" y="682"/>
                      <a:pt x="603" y="677"/>
                      <a:pt x="591" y="659"/>
                    </a:cubicBezTo>
                    <a:cubicBezTo>
                      <a:pt x="582" y="645"/>
                      <a:pt x="559" y="643"/>
                      <a:pt x="559" y="619"/>
                    </a:cubicBezTo>
                    <a:cubicBezTo>
                      <a:pt x="559" y="618"/>
                      <a:pt x="554" y="615"/>
                      <a:pt x="556" y="615"/>
                    </a:cubicBezTo>
                    <a:cubicBezTo>
                      <a:pt x="569" y="612"/>
                      <a:pt x="568" y="627"/>
                      <a:pt x="572" y="633"/>
                    </a:cubicBezTo>
                    <a:cubicBezTo>
                      <a:pt x="573" y="634"/>
                      <a:pt x="575" y="636"/>
                      <a:pt x="577" y="635"/>
                    </a:cubicBezTo>
                    <a:cubicBezTo>
                      <a:pt x="583" y="628"/>
                      <a:pt x="579" y="618"/>
                      <a:pt x="590" y="611"/>
                    </a:cubicBezTo>
                    <a:cubicBezTo>
                      <a:pt x="612" y="596"/>
                      <a:pt x="631" y="605"/>
                      <a:pt x="636" y="602"/>
                    </a:cubicBezTo>
                    <a:cubicBezTo>
                      <a:pt x="639" y="600"/>
                      <a:pt x="636" y="593"/>
                      <a:pt x="639" y="591"/>
                    </a:cubicBezTo>
                    <a:cubicBezTo>
                      <a:pt x="641" y="590"/>
                      <a:pt x="643" y="591"/>
                      <a:pt x="646" y="591"/>
                    </a:cubicBezTo>
                    <a:cubicBezTo>
                      <a:pt x="648" y="591"/>
                      <a:pt x="650" y="592"/>
                      <a:pt x="652" y="591"/>
                    </a:cubicBezTo>
                    <a:cubicBezTo>
                      <a:pt x="659" y="587"/>
                      <a:pt x="660" y="575"/>
                      <a:pt x="670" y="573"/>
                    </a:cubicBezTo>
                    <a:cubicBezTo>
                      <a:pt x="673" y="573"/>
                      <a:pt x="675" y="579"/>
                      <a:pt x="678" y="578"/>
                    </a:cubicBezTo>
                    <a:cubicBezTo>
                      <a:pt x="678" y="578"/>
                      <a:pt x="686" y="562"/>
                      <a:pt x="686" y="562"/>
                    </a:cubicBezTo>
                    <a:cubicBezTo>
                      <a:pt x="690" y="560"/>
                      <a:pt x="749" y="550"/>
                      <a:pt x="761" y="538"/>
                    </a:cubicBezTo>
                    <a:cubicBezTo>
                      <a:pt x="767" y="532"/>
                      <a:pt x="748" y="528"/>
                      <a:pt x="749" y="525"/>
                    </a:cubicBezTo>
                    <a:cubicBezTo>
                      <a:pt x="760" y="500"/>
                      <a:pt x="788" y="553"/>
                      <a:pt x="796" y="549"/>
                    </a:cubicBezTo>
                    <a:cubicBezTo>
                      <a:pt x="797" y="549"/>
                      <a:pt x="797" y="549"/>
                      <a:pt x="797" y="549"/>
                    </a:cubicBezTo>
                    <a:cubicBezTo>
                      <a:pt x="797" y="548"/>
                      <a:pt x="798" y="547"/>
                      <a:pt x="800" y="543"/>
                    </a:cubicBezTo>
                    <a:cubicBezTo>
                      <a:pt x="807" y="529"/>
                      <a:pt x="818" y="496"/>
                      <a:pt x="817" y="490"/>
                    </a:cubicBezTo>
                    <a:cubicBezTo>
                      <a:pt x="814" y="461"/>
                      <a:pt x="797" y="465"/>
                      <a:pt x="789" y="452"/>
                    </a:cubicBezTo>
                    <a:cubicBezTo>
                      <a:pt x="788" y="450"/>
                      <a:pt x="790" y="447"/>
                      <a:pt x="790" y="444"/>
                    </a:cubicBezTo>
                    <a:cubicBezTo>
                      <a:pt x="793" y="430"/>
                      <a:pt x="781" y="429"/>
                      <a:pt x="779" y="417"/>
                    </a:cubicBezTo>
                    <a:cubicBezTo>
                      <a:pt x="777" y="409"/>
                      <a:pt x="800" y="393"/>
                      <a:pt x="793" y="384"/>
                    </a:cubicBezTo>
                    <a:cubicBezTo>
                      <a:pt x="787" y="374"/>
                      <a:pt x="793" y="372"/>
                      <a:pt x="789" y="361"/>
                    </a:cubicBezTo>
                    <a:cubicBezTo>
                      <a:pt x="785" y="352"/>
                      <a:pt x="773" y="352"/>
                      <a:pt x="773" y="339"/>
                    </a:cubicBezTo>
                    <a:cubicBezTo>
                      <a:pt x="772" y="332"/>
                      <a:pt x="783" y="324"/>
                      <a:pt x="782" y="317"/>
                    </a:cubicBezTo>
                    <a:cubicBezTo>
                      <a:pt x="779" y="299"/>
                      <a:pt x="741" y="295"/>
                      <a:pt x="737" y="281"/>
                    </a:cubicBezTo>
                    <a:cubicBezTo>
                      <a:pt x="732" y="264"/>
                      <a:pt x="765" y="247"/>
                      <a:pt x="765" y="223"/>
                    </a:cubicBezTo>
                    <a:cubicBezTo>
                      <a:pt x="765" y="215"/>
                      <a:pt x="756" y="187"/>
                      <a:pt x="750" y="165"/>
                    </a:cubicBezTo>
                    <a:cubicBezTo>
                      <a:pt x="749" y="165"/>
                      <a:pt x="748" y="165"/>
                      <a:pt x="747" y="165"/>
                    </a:cubicBezTo>
                    <a:cubicBezTo>
                      <a:pt x="742" y="164"/>
                      <a:pt x="747" y="163"/>
                      <a:pt x="748" y="161"/>
                    </a:cubicBezTo>
                    <a:cubicBezTo>
                      <a:pt x="753" y="154"/>
                      <a:pt x="741" y="159"/>
                      <a:pt x="741" y="159"/>
                    </a:cubicBezTo>
                    <a:cubicBezTo>
                      <a:pt x="729" y="154"/>
                      <a:pt x="717" y="154"/>
                      <a:pt x="708" y="145"/>
                    </a:cubicBezTo>
                    <a:cubicBezTo>
                      <a:pt x="707" y="143"/>
                      <a:pt x="709" y="142"/>
                      <a:pt x="709" y="141"/>
                    </a:cubicBezTo>
                    <a:cubicBezTo>
                      <a:pt x="709" y="137"/>
                      <a:pt x="716" y="129"/>
                      <a:pt x="713" y="130"/>
                    </a:cubicBezTo>
                    <a:cubicBezTo>
                      <a:pt x="710" y="131"/>
                      <a:pt x="709" y="126"/>
                      <a:pt x="706" y="124"/>
                    </a:cubicBezTo>
                    <a:cubicBezTo>
                      <a:pt x="706" y="124"/>
                      <a:pt x="706" y="124"/>
                      <a:pt x="706" y="124"/>
                    </a:cubicBezTo>
                    <a:cubicBezTo>
                      <a:pt x="704" y="123"/>
                      <a:pt x="704" y="105"/>
                      <a:pt x="700" y="101"/>
                    </a:cubicBezTo>
                    <a:cubicBezTo>
                      <a:pt x="699" y="99"/>
                      <a:pt x="693" y="105"/>
                      <a:pt x="691" y="105"/>
                    </a:cubicBezTo>
                    <a:cubicBezTo>
                      <a:pt x="689" y="105"/>
                      <a:pt x="678" y="107"/>
                      <a:pt x="679" y="108"/>
                    </a:cubicBezTo>
                    <a:cubicBezTo>
                      <a:pt x="679" y="109"/>
                      <a:pt x="683" y="112"/>
                      <a:pt x="680" y="112"/>
                    </a:cubicBezTo>
                    <a:cubicBezTo>
                      <a:pt x="675" y="111"/>
                      <a:pt x="656" y="90"/>
                      <a:pt x="647" y="87"/>
                    </a:cubicBezTo>
                    <a:cubicBezTo>
                      <a:pt x="642" y="85"/>
                      <a:pt x="643" y="65"/>
                      <a:pt x="638" y="64"/>
                    </a:cubicBezTo>
                    <a:cubicBezTo>
                      <a:pt x="637" y="64"/>
                      <a:pt x="633" y="66"/>
                      <a:pt x="632" y="67"/>
                    </a:cubicBezTo>
                    <a:cubicBezTo>
                      <a:pt x="624" y="78"/>
                      <a:pt x="608" y="71"/>
                      <a:pt x="597" y="73"/>
                    </a:cubicBezTo>
                    <a:cubicBezTo>
                      <a:pt x="591" y="74"/>
                      <a:pt x="586" y="80"/>
                      <a:pt x="584" y="85"/>
                    </a:cubicBezTo>
                    <a:cubicBezTo>
                      <a:pt x="583" y="87"/>
                      <a:pt x="589" y="89"/>
                      <a:pt x="587" y="90"/>
                    </a:cubicBezTo>
                    <a:cubicBezTo>
                      <a:pt x="585" y="91"/>
                      <a:pt x="579" y="90"/>
                      <a:pt x="580" y="88"/>
                    </a:cubicBezTo>
                    <a:cubicBezTo>
                      <a:pt x="586" y="67"/>
                      <a:pt x="597" y="71"/>
                      <a:pt x="605" y="67"/>
                    </a:cubicBezTo>
                    <a:cubicBezTo>
                      <a:pt x="607" y="66"/>
                      <a:pt x="628" y="69"/>
                      <a:pt x="628" y="64"/>
                    </a:cubicBezTo>
                    <a:cubicBezTo>
                      <a:pt x="628" y="62"/>
                      <a:pt x="623" y="64"/>
                      <a:pt x="621" y="64"/>
                    </a:cubicBezTo>
                    <a:cubicBezTo>
                      <a:pt x="618" y="64"/>
                      <a:pt x="615" y="64"/>
                      <a:pt x="612" y="63"/>
                    </a:cubicBezTo>
                    <a:cubicBezTo>
                      <a:pt x="609" y="63"/>
                      <a:pt x="607" y="63"/>
                      <a:pt x="604" y="63"/>
                    </a:cubicBezTo>
                    <a:cubicBezTo>
                      <a:pt x="600" y="62"/>
                      <a:pt x="597" y="56"/>
                      <a:pt x="593" y="58"/>
                    </a:cubicBezTo>
                    <a:cubicBezTo>
                      <a:pt x="587" y="62"/>
                      <a:pt x="581" y="77"/>
                      <a:pt x="576" y="83"/>
                    </a:cubicBezTo>
                    <a:cubicBezTo>
                      <a:pt x="568" y="93"/>
                      <a:pt x="562" y="94"/>
                      <a:pt x="560" y="100"/>
                    </a:cubicBezTo>
                    <a:cubicBezTo>
                      <a:pt x="559" y="102"/>
                      <a:pt x="558" y="100"/>
                      <a:pt x="558" y="102"/>
                    </a:cubicBezTo>
                    <a:cubicBezTo>
                      <a:pt x="558" y="105"/>
                      <a:pt x="562" y="109"/>
                      <a:pt x="557" y="111"/>
                    </a:cubicBezTo>
                    <a:cubicBezTo>
                      <a:pt x="553" y="112"/>
                      <a:pt x="556" y="100"/>
                      <a:pt x="555" y="98"/>
                    </a:cubicBezTo>
                    <a:cubicBezTo>
                      <a:pt x="554" y="97"/>
                      <a:pt x="539" y="102"/>
                      <a:pt x="537" y="103"/>
                    </a:cubicBezTo>
                    <a:cubicBezTo>
                      <a:pt x="531" y="105"/>
                      <a:pt x="523" y="100"/>
                      <a:pt x="519" y="103"/>
                    </a:cubicBezTo>
                    <a:cubicBezTo>
                      <a:pt x="511" y="107"/>
                      <a:pt x="499" y="127"/>
                      <a:pt x="500" y="133"/>
                    </a:cubicBezTo>
                    <a:cubicBezTo>
                      <a:pt x="501" y="135"/>
                      <a:pt x="499" y="137"/>
                      <a:pt x="498" y="137"/>
                    </a:cubicBezTo>
                    <a:cubicBezTo>
                      <a:pt x="496" y="137"/>
                      <a:pt x="494" y="132"/>
                      <a:pt x="493" y="132"/>
                    </a:cubicBezTo>
                    <a:cubicBezTo>
                      <a:pt x="492" y="132"/>
                      <a:pt x="492" y="132"/>
                      <a:pt x="491" y="132"/>
                    </a:cubicBezTo>
                    <a:cubicBezTo>
                      <a:pt x="479" y="136"/>
                      <a:pt x="476" y="114"/>
                      <a:pt x="460" y="124"/>
                    </a:cubicBezTo>
                    <a:cubicBezTo>
                      <a:pt x="453" y="128"/>
                      <a:pt x="435" y="130"/>
                      <a:pt x="436" y="118"/>
                    </a:cubicBezTo>
                    <a:cubicBezTo>
                      <a:pt x="436" y="116"/>
                      <a:pt x="437" y="115"/>
                      <a:pt x="438" y="114"/>
                    </a:cubicBezTo>
                    <a:cubicBezTo>
                      <a:pt x="444" y="109"/>
                      <a:pt x="458" y="105"/>
                      <a:pt x="466" y="97"/>
                    </a:cubicBezTo>
                    <a:cubicBezTo>
                      <a:pt x="472" y="90"/>
                      <a:pt x="460" y="79"/>
                      <a:pt x="467" y="75"/>
                    </a:cubicBezTo>
                    <a:cubicBezTo>
                      <a:pt x="467" y="75"/>
                      <a:pt x="469" y="73"/>
                      <a:pt x="469" y="73"/>
                    </a:cubicBezTo>
                    <a:cubicBezTo>
                      <a:pt x="469" y="72"/>
                      <a:pt x="470" y="71"/>
                      <a:pt x="469" y="71"/>
                    </a:cubicBezTo>
                    <a:cubicBezTo>
                      <a:pt x="459" y="64"/>
                      <a:pt x="451" y="82"/>
                      <a:pt x="432" y="82"/>
                    </a:cubicBezTo>
                    <a:cubicBezTo>
                      <a:pt x="423" y="82"/>
                      <a:pt x="409" y="63"/>
                      <a:pt x="397" y="64"/>
                    </a:cubicBezTo>
                    <a:cubicBezTo>
                      <a:pt x="392" y="64"/>
                      <a:pt x="388" y="69"/>
                      <a:pt x="386" y="74"/>
                    </a:cubicBezTo>
                    <a:cubicBezTo>
                      <a:pt x="386" y="74"/>
                      <a:pt x="382" y="82"/>
                      <a:pt x="381" y="80"/>
                    </a:cubicBezTo>
                    <a:cubicBezTo>
                      <a:pt x="379" y="73"/>
                      <a:pt x="387" y="69"/>
                      <a:pt x="387" y="61"/>
                    </a:cubicBezTo>
                    <a:cubicBezTo>
                      <a:pt x="386" y="51"/>
                      <a:pt x="359" y="64"/>
                      <a:pt x="355" y="61"/>
                    </a:cubicBezTo>
                    <a:cubicBezTo>
                      <a:pt x="355" y="60"/>
                      <a:pt x="370" y="53"/>
                      <a:pt x="371" y="48"/>
                    </a:cubicBezTo>
                    <a:cubicBezTo>
                      <a:pt x="375" y="31"/>
                      <a:pt x="358" y="29"/>
                      <a:pt x="369" y="30"/>
                    </a:cubicBezTo>
                    <a:cubicBezTo>
                      <a:pt x="369" y="30"/>
                      <a:pt x="367" y="20"/>
                      <a:pt x="365" y="19"/>
                    </a:cubicBezTo>
                    <a:cubicBezTo>
                      <a:pt x="356" y="12"/>
                      <a:pt x="360" y="25"/>
                      <a:pt x="353" y="21"/>
                    </a:cubicBezTo>
                    <a:cubicBezTo>
                      <a:pt x="343" y="15"/>
                      <a:pt x="331" y="8"/>
                      <a:pt x="327" y="9"/>
                    </a:cubicBezTo>
                    <a:cubicBezTo>
                      <a:pt x="326" y="9"/>
                      <a:pt x="320" y="15"/>
                      <a:pt x="319" y="14"/>
                    </a:cubicBezTo>
                    <a:cubicBezTo>
                      <a:pt x="318" y="14"/>
                      <a:pt x="318" y="13"/>
                      <a:pt x="319" y="12"/>
                    </a:cubicBezTo>
                    <a:cubicBezTo>
                      <a:pt x="302" y="13"/>
                      <a:pt x="281" y="0"/>
                      <a:pt x="263" y="2"/>
                    </a:cubicBezTo>
                    <a:cubicBezTo>
                      <a:pt x="261" y="3"/>
                      <a:pt x="253" y="2"/>
                      <a:pt x="247" y="1"/>
                    </a:cubicBezTo>
                    <a:cubicBezTo>
                      <a:pt x="247" y="6"/>
                      <a:pt x="247" y="10"/>
                      <a:pt x="248" y="13"/>
                    </a:cubicBezTo>
                    <a:cubicBezTo>
                      <a:pt x="251" y="25"/>
                      <a:pt x="281" y="52"/>
                      <a:pt x="281" y="57"/>
                    </a:cubicBezTo>
                    <a:cubicBezTo>
                      <a:pt x="281" y="70"/>
                      <a:pt x="256" y="67"/>
                      <a:pt x="248" y="69"/>
                    </a:cubicBezTo>
                    <a:cubicBezTo>
                      <a:pt x="239" y="73"/>
                      <a:pt x="258" y="74"/>
                      <a:pt x="249" y="76"/>
                    </a:cubicBezTo>
                    <a:cubicBezTo>
                      <a:pt x="246" y="77"/>
                      <a:pt x="243" y="76"/>
                      <a:pt x="244" y="81"/>
                    </a:cubicBezTo>
                    <a:cubicBezTo>
                      <a:pt x="247" y="89"/>
                      <a:pt x="268" y="86"/>
                      <a:pt x="272" y="83"/>
                    </a:cubicBezTo>
                    <a:cubicBezTo>
                      <a:pt x="273" y="83"/>
                      <a:pt x="275" y="80"/>
                      <a:pt x="276" y="81"/>
                    </a:cubicBezTo>
                    <a:cubicBezTo>
                      <a:pt x="277" y="83"/>
                      <a:pt x="261" y="93"/>
                      <a:pt x="263" y="100"/>
                    </a:cubicBezTo>
                    <a:cubicBezTo>
                      <a:pt x="265" y="113"/>
                      <a:pt x="277" y="98"/>
                      <a:pt x="281" y="111"/>
                    </a:cubicBezTo>
                    <a:cubicBezTo>
                      <a:pt x="286" y="128"/>
                      <a:pt x="254" y="109"/>
                      <a:pt x="271" y="132"/>
                    </a:cubicBezTo>
                    <a:cubicBezTo>
                      <a:pt x="278" y="143"/>
                      <a:pt x="297" y="136"/>
                      <a:pt x="309" y="143"/>
                    </a:cubicBezTo>
                    <a:cubicBezTo>
                      <a:pt x="318" y="148"/>
                      <a:pt x="322" y="165"/>
                      <a:pt x="328" y="174"/>
                    </a:cubicBezTo>
                    <a:cubicBezTo>
                      <a:pt x="332" y="179"/>
                      <a:pt x="341" y="182"/>
                      <a:pt x="347" y="183"/>
                    </a:cubicBezTo>
                    <a:cubicBezTo>
                      <a:pt x="348" y="183"/>
                      <a:pt x="356" y="185"/>
                      <a:pt x="353" y="187"/>
                    </a:cubicBezTo>
                    <a:cubicBezTo>
                      <a:pt x="347" y="192"/>
                      <a:pt x="326" y="179"/>
                      <a:pt x="324" y="174"/>
                    </a:cubicBezTo>
                    <a:cubicBezTo>
                      <a:pt x="321" y="168"/>
                      <a:pt x="309" y="147"/>
                      <a:pt x="304" y="146"/>
                    </a:cubicBezTo>
                    <a:cubicBezTo>
                      <a:pt x="290" y="141"/>
                      <a:pt x="280" y="147"/>
                      <a:pt x="267" y="147"/>
                    </a:cubicBezTo>
                    <a:cubicBezTo>
                      <a:pt x="258" y="146"/>
                      <a:pt x="251" y="135"/>
                      <a:pt x="244" y="140"/>
                    </a:cubicBezTo>
                    <a:cubicBezTo>
                      <a:pt x="227" y="152"/>
                      <a:pt x="256" y="201"/>
                      <a:pt x="235" y="211"/>
                    </a:cubicBezTo>
                    <a:cubicBezTo>
                      <a:pt x="234" y="211"/>
                      <a:pt x="233" y="204"/>
                      <a:pt x="233" y="204"/>
                    </a:cubicBezTo>
                    <a:cubicBezTo>
                      <a:pt x="233" y="197"/>
                      <a:pt x="237" y="190"/>
                      <a:pt x="236" y="186"/>
                    </a:cubicBezTo>
                    <a:cubicBezTo>
                      <a:pt x="236" y="179"/>
                      <a:pt x="227" y="177"/>
                      <a:pt x="219" y="175"/>
                    </a:cubicBezTo>
                    <a:cubicBezTo>
                      <a:pt x="195" y="172"/>
                      <a:pt x="233" y="202"/>
                      <a:pt x="212" y="205"/>
                    </a:cubicBezTo>
                    <a:cubicBezTo>
                      <a:pt x="208" y="205"/>
                      <a:pt x="203" y="195"/>
                      <a:pt x="200" y="198"/>
                    </a:cubicBezTo>
                    <a:cubicBezTo>
                      <a:pt x="199" y="199"/>
                      <a:pt x="192" y="192"/>
                      <a:pt x="200" y="191"/>
                    </a:cubicBezTo>
                    <a:cubicBezTo>
                      <a:pt x="205" y="189"/>
                      <a:pt x="201" y="170"/>
                      <a:pt x="192" y="164"/>
                    </a:cubicBezTo>
                    <a:cubicBezTo>
                      <a:pt x="192" y="163"/>
                      <a:pt x="129" y="166"/>
                      <a:pt x="127" y="166"/>
                    </a:cubicBezTo>
                    <a:cubicBezTo>
                      <a:pt x="116" y="171"/>
                      <a:pt x="99" y="199"/>
                      <a:pt x="103" y="208"/>
                    </a:cubicBezTo>
                    <a:cubicBezTo>
                      <a:pt x="107" y="220"/>
                      <a:pt x="127" y="208"/>
                      <a:pt x="133" y="217"/>
                    </a:cubicBezTo>
                    <a:cubicBezTo>
                      <a:pt x="133" y="217"/>
                      <a:pt x="134" y="218"/>
                      <a:pt x="134" y="218"/>
                    </a:cubicBezTo>
                    <a:cubicBezTo>
                      <a:pt x="132" y="219"/>
                      <a:pt x="127" y="214"/>
                      <a:pt x="124" y="216"/>
                    </a:cubicBezTo>
                    <a:cubicBezTo>
                      <a:pt x="120" y="218"/>
                      <a:pt x="124" y="224"/>
                      <a:pt x="119" y="226"/>
                    </a:cubicBezTo>
                    <a:cubicBezTo>
                      <a:pt x="124" y="228"/>
                      <a:pt x="124" y="233"/>
                      <a:pt x="121" y="236"/>
                    </a:cubicBezTo>
                    <a:close/>
                    <a:moveTo>
                      <a:pt x="582" y="930"/>
                    </a:moveTo>
                    <a:cubicBezTo>
                      <a:pt x="586" y="934"/>
                      <a:pt x="599" y="920"/>
                      <a:pt x="589" y="936"/>
                    </a:cubicBezTo>
                    <a:cubicBezTo>
                      <a:pt x="588" y="938"/>
                      <a:pt x="581" y="938"/>
                      <a:pt x="580" y="937"/>
                    </a:cubicBezTo>
                    <a:cubicBezTo>
                      <a:pt x="580" y="937"/>
                      <a:pt x="580" y="937"/>
                      <a:pt x="580" y="937"/>
                    </a:cubicBezTo>
                    <a:cubicBezTo>
                      <a:pt x="581" y="934"/>
                      <a:pt x="578" y="928"/>
                      <a:pt x="582" y="930"/>
                    </a:cubicBezTo>
                    <a:close/>
                    <a:moveTo>
                      <a:pt x="487" y="926"/>
                    </a:moveTo>
                    <a:cubicBezTo>
                      <a:pt x="487" y="929"/>
                      <a:pt x="490" y="944"/>
                      <a:pt x="483" y="938"/>
                    </a:cubicBezTo>
                    <a:cubicBezTo>
                      <a:pt x="483" y="938"/>
                      <a:pt x="483" y="938"/>
                      <a:pt x="483" y="938"/>
                    </a:cubicBezTo>
                    <a:cubicBezTo>
                      <a:pt x="482" y="931"/>
                      <a:pt x="488" y="907"/>
                      <a:pt x="487" y="926"/>
                    </a:cubicBezTo>
                    <a:close/>
                    <a:moveTo>
                      <a:pt x="469" y="907"/>
                    </a:moveTo>
                    <a:cubicBezTo>
                      <a:pt x="475" y="908"/>
                      <a:pt x="474" y="926"/>
                      <a:pt x="469" y="923"/>
                    </a:cubicBezTo>
                    <a:cubicBezTo>
                      <a:pt x="469" y="923"/>
                      <a:pt x="469" y="923"/>
                      <a:pt x="469" y="923"/>
                    </a:cubicBezTo>
                    <a:cubicBezTo>
                      <a:pt x="466" y="922"/>
                      <a:pt x="465" y="906"/>
                      <a:pt x="469" y="907"/>
                    </a:cubicBezTo>
                    <a:close/>
                    <a:moveTo>
                      <a:pt x="276" y="951"/>
                    </a:moveTo>
                    <a:cubicBezTo>
                      <a:pt x="278" y="945"/>
                      <a:pt x="284" y="952"/>
                      <a:pt x="286" y="954"/>
                    </a:cubicBezTo>
                    <a:cubicBezTo>
                      <a:pt x="288" y="956"/>
                      <a:pt x="294" y="957"/>
                      <a:pt x="292" y="959"/>
                    </a:cubicBezTo>
                    <a:cubicBezTo>
                      <a:pt x="292" y="959"/>
                      <a:pt x="278" y="960"/>
                      <a:pt x="273" y="961"/>
                    </a:cubicBezTo>
                    <a:cubicBezTo>
                      <a:pt x="274" y="960"/>
                      <a:pt x="276" y="959"/>
                      <a:pt x="277" y="958"/>
                    </a:cubicBezTo>
                    <a:cubicBezTo>
                      <a:pt x="278" y="958"/>
                      <a:pt x="281" y="957"/>
                      <a:pt x="281" y="956"/>
                    </a:cubicBezTo>
                    <a:cubicBezTo>
                      <a:pt x="281" y="956"/>
                      <a:pt x="276" y="951"/>
                      <a:pt x="276" y="95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79" name="Freeform 1195"/>
              <p:cNvSpPr>
                <a:spLocks/>
              </p:cNvSpPr>
              <p:nvPr/>
            </p:nvSpPr>
            <p:spPr bwMode="auto">
              <a:xfrm>
                <a:off x="2430" y="2426"/>
                <a:ext cx="5" cy="2"/>
              </a:xfrm>
              <a:custGeom>
                <a:avLst/>
                <a:gdLst>
                  <a:gd name="T0" fmla="*/ 7 w 8"/>
                  <a:gd name="T1" fmla="*/ 2 h 3"/>
                  <a:gd name="T2" fmla="*/ 6 w 8"/>
                  <a:gd name="T3" fmla="*/ 1 h 3"/>
                  <a:gd name="T4" fmla="*/ 2 w 8"/>
                  <a:gd name="T5" fmla="*/ 0 h 3"/>
                  <a:gd name="T6" fmla="*/ 1 w 8"/>
                  <a:gd name="T7" fmla="*/ 2 h 3"/>
                  <a:gd name="T8" fmla="*/ 4 w 8"/>
                  <a:gd name="T9" fmla="*/ 2 h 3"/>
                  <a:gd name="T10" fmla="*/ 7 w 8"/>
                  <a:gd name="T11" fmla="*/ 2 h 3"/>
                  <a:gd name="T12" fmla="*/ 7 w 8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">
                    <a:moveTo>
                      <a:pt x="7" y="2"/>
                    </a:moveTo>
                    <a:cubicBezTo>
                      <a:pt x="8" y="2"/>
                      <a:pt x="7" y="1"/>
                      <a:pt x="6" y="1"/>
                    </a:cubicBezTo>
                    <a:cubicBezTo>
                      <a:pt x="5" y="1"/>
                      <a:pt x="3" y="0"/>
                      <a:pt x="2" y="0"/>
                    </a:cubicBezTo>
                    <a:cubicBezTo>
                      <a:pt x="1" y="1"/>
                      <a:pt x="0" y="1"/>
                      <a:pt x="1" y="2"/>
                    </a:cubicBezTo>
                    <a:cubicBezTo>
                      <a:pt x="2" y="2"/>
                      <a:pt x="3" y="2"/>
                      <a:pt x="4" y="2"/>
                    </a:cubicBezTo>
                    <a:cubicBezTo>
                      <a:pt x="5" y="3"/>
                      <a:pt x="6" y="3"/>
                      <a:pt x="7" y="2"/>
                    </a:cubicBezTo>
                    <a:cubicBezTo>
                      <a:pt x="8" y="2"/>
                      <a:pt x="7" y="3"/>
                      <a:pt x="7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0" name="Freeform 1196"/>
              <p:cNvSpPr>
                <a:spLocks/>
              </p:cNvSpPr>
              <p:nvPr/>
            </p:nvSpPr>
            <p:spPr bwMode="auto">
              <a:xfrm>
                <a:off x="2436" y="2424"/>
                <a:ext cx="10" cy="4"/>
              </a:xfrm>
              <a:custGeom>
                <a:avLst/>
                <a:gdLst>
                  <a:gd name="T0" fmla="*/ 5 w 15"/>
                  <a:gd name="T1" fmla="*/ 2 h 6"/>
                  <a:gd name="T2" fmla="*/ 10 w 15"/>
                  <a:gd name="T3" fmla="*/ 2 h 6"/>
                  <a:gd name="T4" fmla="*/ 14 w 15"/>
                  <a:gd name="T5" fmla="*/ 3 h 6"/>
                  <a:gd name="T6" fmla="*/ 14 w 15"/>
                  <a:gd name="T7" fmla="*/ 1 h 6"/>
                  <a:gd name="T8" fmla="*/ 8 w 15"/>
                  <a:gd name="T9" fmla="*/ 0 h 6"/>
                  <a:gd name="T10" fmla="*/ 1 w 15"/>
                  <a:gd name="T11" fmla="*/ 1 h 6"/>
                  <a:gd name="T12" fmla="*/ 1 w 15"/>
                  <a:gd name="T13" fmla="*/ 5 h 6"/>
                  <a:gd name="T14" fmla="*/ 2 w 15"/>
                  <a:gd name="T15" fmla="*/ 5 h 6"/>
                  <a:gd name="T16" fmla="*/ 3 w 15"/>
                  <a:gd name="T17" fmla="*/ 4 h 6"/>
                  <a:gd name="T18" fmla="*/ 5 w 15"/>
                  <a:gd name="T1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6">
                    <a:moveTo>
                      <a:pt x="5" y="2"/>
                    </a:moveTo>
                    <a:cubicBezTo>
                      <a:pt x="7" y="3"/>
                      <a:pt x="7" y="2"/>
                      <a:pt x="10" y="2"/>
                    </a:cubicBezTo>
                    <a:cubicBezTo>
                      <a:pt x="14" y="2"/>
                      <a:pt x="14" y="2"/>
                      <a:pt x="14" y="3"/>
                    </a:cubicBezTo>
                    <a:cubicBezTo>
                      <a:pt x="15" y="3"/>
                      <a:pt x="15" y="2"/>
                      <a:pt x="14" y="1"/>
                    </a:cubicBezTo>
                    <a:cubicBezTo>
                      <a:pt x="13" y="1"/>
                      <a:pt x="11" y="0"/>
                      <a:pt x="8" y="0"/>
                    </a:cubicBezTo>
                    <a:cubicBezTo>
                      <a:pt x="6" y="1"/>
                      <a:pt x="2" y="0"/>
                      <a:pt x="1" y="1"/>
                    </a:cubicBezTo>
                    <a:cubicBezTo>
                      <a:pt x="0" y="2"/>
                      <a:pt x="0" y="5"/>
                      <a:pt x="1" y="5"/>
                    </a:cubicBezTo>
                    <a:cubicBezTo>
                      <a:pt x="1" y="6"/>
                      <a:pt x="1" y="4"/>
                      <a:pt x="2" y="5"/>
                    </a:cubicBezTo>
                    <a:cubicBezTo>
                      <a:pt x="3" y="5"/>
                      <a:pt x="3" y="4"/>
                      <a:pt x="3" y="4"/>
                    </a:cubicBezTo>
                    <a:cubicBezTo>
                      <a:pt x="3" y="3"/>
                      <a:pt x="3" y="2"/>
                      <a:pt x="5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1" name="Freeform 1197"/>
              <p:cNvSpPr>
                <a:spLocks/>
              </p:cNvSpPr>
              <p:nvPr/>
            </p:nvSpPr>
            <p:spPr bwMode="auto">
              <a:xfrm>
                <a:off x="2448" y="2422"/>
                <a:ext cx="9" cy="3"/>
              </a:xfrm>
              <a:custGeom>
                <a:avLst/>
                <a:gdLst>
                  <a:gd name="T0" fmla="*/ 2 w 13"/>
                  <a:gd name="T1" fmla="*/ 3 h 4"/>
                  <a:gd name="T2" fmla="*/ 3 w 13"/>
                  <a:gd name="T3" fmla="*/ 3 h 4"/>
                  <a:gd name="T4" fmla="*/ 4 w 13"/>
                  <a:gd name="T5" fmla="*/ 3 h 4"/>
                  <a:gd name="T6" fmla="*/ 7 w 13"/>
                  <a:gd name="T7" fmla="*/ 3 h 4"/>
                  <a:gd name="T8" fmla="*/ 9 w 13"/>
                  <a:gd name="T9" fmla="*/ 3 h 4"/>
                  <a:gd name="T10" fmla="*/ 10 w 13"/>
                  <a:gd name="T11" fmla="*/ 2 h 4"/>
                  <a:gd name="T12" fmla="*/ 13 w 13"/>
                  <a:gd name="T13" fmla="*/ 1 h 4"/>
                  <a:gd name="T14" fmla="*/ 10 w 13"/>
                  <a:gd name="T15" fmla="*/ 1 h 4"/>
                  <a:gd name="T16" fmla="*/ 5 w 13"/>
                  <a:gd name="T17" fmla="*/ 1 h 4"/>
                  <a:gd name="T18" fmla="*/ 1 w 13"/>
                  <a:gd name="T19" fmla="*/ 1 h 4"/>
                  <a:gd name="T20" fmla="*/ 0 w 13"/>
                  <a:gd name="T21" fmla="*/ 3 h 4"/>
                  <a:gd name="T22" fmla="*/ 1 w 13"/>
                  <a:gd name="T23" fmla="*/ 4 h 4"/>
                  <a:gd name="T24" fmla="*/ 2 w 13"/>
                  <a:gd name="T2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4">
                    <a:moveTo>
                      <a:pt x="2" y="3"/>
                    </a:moveTo>
                    <a:cubicBezTo>
                      <a:pt x="2" y="3"/>
                      <a:pt x="2" y="3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5" y="4"/>
                      <a:pt x="6" y="3"/>
                      <a:pt x="7" y="3"/>
                    </a:cubicBezTo>
                    <a:cubicBezTo>
                      <a:pt x="8" y="4"/>
                      <a:pt x="8" y="3"/>
                      <a:pt x="9" y="3"/>
                    </a:cubicBezTo>
                    <a:cubicBezTo>
                      <a:pt x="9" y="2"/>
                      <a:pt x="9" y="2"/>
                      <a:pt x="10" y="2"/>
                    </a:cubicBezTo>
                    <a:cubicBezTo>
                      <a:pt x="11" y="2"/>
                      <a:pt x="13" y="2"/>
                      <a:pt x="13" y="1"/>
                    </a:cubicBezTo>
                    <a:cubicBezTo>
                      <a:pt x="13" y="1"/>
                      <a:pt x="11" y="1"/>
                      <a:pt x="10" y="1"/>
                    </a:cubicBezTo>
                    <a:cubicBezTo>
                      <a:pt x="8" y="0"/>
                      <a:pt x="8" y="1"/>
                      <a:pt x="5" y="1"/>
                    </a:cubicBezTo>
                    <a:cubicBezTo>
                      <a:pt x="2" y="1"/>
                      <a:pt x="2" y="0"/>
                      <a:pt x="1" y="1"/>
                    </a:cubicBezTo>
                    <a:cubicBezTo>
                      <a:pt x="0" y="2"/>
                      <a:pt x="1" y="2"/>
                      <a:pt x="0" y="3"/>
                    </a:cubicBezTo>
                    <a:cubicBezTo>
                      <a:pt x="0" y="4"/>
                      <a:pt x="0" y="4"/>
                      <a:pt x="1" y="4"/>
                    </a:cubicBezTo>
                    <a:cubicBezTo>
                      <a:pt x="2" y="4"/>
                      <a:pt x="1" y="4"/>
                      <a:pt x="2" y="3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2" name="Freeform 1198"/>
              <p:cNvSpPr>
                <a:spLocks/>
              </p:cNvSpPr>
              <p:nvPr/>
            </p:nvSpPr>
            <p:spPr bwMode="auto">
              <a:xfrm>
                <a:off x="2416" y="2429"/>
                <a:ext cx="2" cy="0"/>
              </a:xfrm>
              <a:custGeom>
                <a:avLst/>
                <a:gdLst>
                  <a:gd name="T0" fmla="*/ 3 w 4"/>
                  <a:gd name="T1" fmla="*/ 1 h 1"/>
                  <a:gd name="T2" fmla="*/ 3 w 4"/>
                  <a:gd name="T3" fmla="*/ 0 h 1"/>
                  <a:gd name="T4" fmla="*/ 4 w 4"/>
                  <a:gd name="T5" fmla="*/ 1 h 1"/>
                  <a:gd name="T6" fmla="*/ 3 w 4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1">
                    <a:moveTo>
                      <a:pt x="3" y="1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0" y="1"/>
                      <a:pt x="1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3" name="Freeform 1199"/>
              <p:cNvSpPr>
                <a:spLocks/>
              </p:cNvSpPr>
              <p:nvPr/>
            </p:nvSpPr>
            <p:spPr bwMode="auto">
              <a:xfrm>
                <a:off x="2459" y="2421"/>
                <a:ext cx="8" cy="2"/>
              </a:xfrm>
              <a:custGeom>
                <a:avLst/>
                <a:gdLst>
                  <a:gd name="T0" fmla="*/ 5 w 12"/>
                  <a:gd name="T1" fmla="*/ 1 h 2"/>
                  <a:gd name="T2" fmla="*/ 8 w 12"/>
                  <a:gd name="T3" fmla="*/ 1 h 2"/>
                  <a:gd name="T4" fmla="*/ 11 w 12"/>
                  <a:gd name="T5" fmla="*/ 2 h 2"/>
                  <a:gd name="T6" fmla="*/ 9 w 12"/>
                  <a:gd name="T7" fmla="*/ 1 h 2"/>
                  <a:gd name="T8" fmla="*/ 6 w 12"/>
                  <a:gd name="T9" fmla="*/ 0 h 2"/>
                  <a:gd name="T10" fmla="*/ 3 w 12"/>
                  <a:gd name="T11" fmla="*/ 0 h 2"/>
                  <a:gd name="T12" fmla="*/ 1 w 12"/>
                  <a:gd name="T13" fmla="*/ 0 h 2"/>
                  <a:gd name="T14" fmla="*/ 1 w 12"/>
                  <a:gd name="T15" fmla="*/ 2 h 2"/>
                  <a:gd name="T16" fmla="*/ 2 w 12"/>
                  <a:gd name="T17" fmla="*/ 2 h 2"/>
                  <a:gd name="T18" fmla="*/ 2 w 12"/>
                  <a:gd name="T19" fmla="*/ 1 h 2"/>
                  <a:gd name="T20" fmla="*/ 5 w 12"/>
                  <a:gd name="T21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2">
                    <a:moveTo>
                      <a:pt x="5" y="1"/>
                    </a:moveTo>
                    <a:cubicBezTo>
                      <a:pt x="6" y="2"/>
                      <a:pt x="7" y="1"/>
                      <a:pt x="8" y="1"/>
                    </a:cubicBezTo>
                    <a:cubicBezTo>
                      <a:pt x="9" y="1"/>
                      <a:pt x="10" y="2"/>
                      <a:pt x="11" y="2"/>
                    </a:cubicBezTo>
                    <a:cubicBezTo>
                      <a:pt x="12" y="2"/>
                      <a:pt x="11" y="1"/>
                      <a:pt x="9" y="1"/>
                    </a:cubicBezTo>
                    <a:cubicBezTo>
                      <a:pt x="8" y="1"/>
                      <a:pt x="7" y="0"/>
                      <a:pt x="6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1" y="2"/>
                      <a:pt x="1" y="2"/>
                      <a:pt x="2" y="2"/>
                    </a:cubicBezTo>
                    <a:cubicBezTo>
                      <a:pt x="2" y="2"/>
                      <a:pt x="1" y="1"/>
                      <a:pt x="2" y="1"/>
                    </a:cubicBezTo>
                    <a:cubicBezTo>
                      <a:pt x="3" y="0"/>
                      <a:pt x="4" y="1"/>
                      <a:pt x="5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4" name="Freeform 1200"/>
              <p:cNvSpPr>
                <a:spLocks/>
              </p:cNvSpPr>
              <p:nvPr/>
            </p:nvSpPr>
            <p:spPr bwMode="auto">
              <a:xfrm>
                <a:off x="2780" y="2355"/>
                <a:ext cx="0" cy="0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5" name="Freeform 1201"/>
              <p:cNvSpPr>
                <a:spLocks/>
              </p:cNvSpPr>
              <p:nvPr/>
            </p:nvSpPr>
            <p:spPr bwMode="auto">
              <a:xfrm>
                <a:off x="2803" y="2388"/>
                <a:ext cx="27" cy="33"/>
              </a:xfrm>
              <a:custGeom>
                <a:avLst/>
                <a:gdLst>
                  <a:gd name="T0" fmla="*/ 41 w 41"/>
                  <a:gd name="T1" fmla="*/ 32 h 50"/>
                  <a:gd name="T2" fmla="*/ 41 w 41"/>
                  <a:gd name="T3" fmla="*/ 32 h 50"/>
                  <a:gd name="T4" fmla="*/ 5 w 41"/>
                  <a:gd name="T5" fmla="*/ 2 h 50"/>
                  <a:gd name="T6" fmla="*/ 2 w 41"/>
                  <a:gd name="T7" fmla="*/ 2 h 50"/>
                  <a:gd name="T8" fmla="*/ 5 w 41"/>
                  <a:gd name="T9" fmla="*/ 14 h 50"/>
                  <a:gd name="T10" fmla="*/ 10 w 41"/>
                  <a:gd name="T11" fmla="*/ 18 h 50"/>
                  <a:gd name="T12" fmla="*/ 9 w 41"/>
                  <a:gd name="T13" fmla="*/ 24 h 50"/>
                  <a:gd name="T14" fmla="*/ 25 w 41"/>
                  <a:gd name="T15" fmla="*/ 28 h 50"/>
                  <a:gd name="T16" fmla="*/ 22 w 41"/>
                  <a:gd name="T17" fmla="*/ 31 h 50"/>
                  <a:gd name="T18" fmla="*/ 15 w 41"/>
                  <a:gd name="T19" fmla="*/ 26 h 50"/>
                  <a:gd name="T20" fmla="*/ 13 w 41"/>
                  <a:gd name="T21" fmla="*/ 26 h 50"/>
                  <a:gd name="T22" fmla="*/ 16 w 41"/>
                  <a:gd name="T23" fmla="*/ 36 h 50"/>
                  <a:gd name="T24" fmla="*/ 9 w 41"/>
                  <a:gd name="T25" fmla="*/ 43 h 50"/>
                  <a:gd name="T26" fmla="*/ 39 w 41"/>
                  <a:gd name="T27" fmla="*/ 41 h 50"/>
                  <a:gd name="T28" fmla="*/ 40 w 41"/>
                  <a:gd name="T29" fmla="*/ 41 h 50"/>
                  <a:gd name="T30" fmla="*/ 40 w 41"/>
                  <a:gd name="T31" fmla="*/ 41 h 50"/>
                  <a:gd name="T32" fmla="*/ 41 w 41"/>
                  <a:gd name="T33" fmla="*/ 3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1" h="50">
                    <a:moveTo>
                      <a:pt x="41" y="32"/>
                    </a:moveTo>
                    <a:cubicBezTo>
                      <a:pt x="41" y="32"/>
                      <a:pt x="41" y="32"/>
                      <a:pt x="41" y="32"/>
                    </a:cubicBezTo>
                    <a:cubicBezTo>
                      <a:pt x="27" y="25"/>
                      <a:pt x="8" y="10"/>
                      <a:pt x="5" y="2"/>
                    </a:cubicBezTo>
                    <a:cubicBezTo>
                      <a:pt x="4" y="0"/>
                      <a:pt x="3" y="0"/>
                      <a:pt x="2" y="2"/>
                    </a:cubicBezTo>
                    <a:cubicBezTo>
                      <a:pt x="0" y="4"/>
                      <a:pt x="7" y="9"/>
                      <a:pt x="5" y="14"/>
                    </a:cubicBezTo>
                    <a:cubicBezTo>
                      <a:pt x="2" y="23"/>
                      <a:pt x="10" y="17"/>
                      <a:pt x="10" y="18"/>
                    </a:cubicBezTo>
                    <a:cubicBezTo>
                      <a:pt x="10" y="18"/>
                      <a:pt x="7" y="24"/>
                      <a:pt x="9" y="24"/>
                    </a:cubicBezTo>
                    <a:cubicBezTo>
                      <a:pt x="13" y="24"/>
                      <a:pt x="19" y="15"/>
                      <a:pt x="25" y="28"/>
                    </a:cubicBezTo>
                    <a:cubicBezTo>
                      <a:pt x="27" y="30"/>
                      <a:pt x="26" y="33"/>
                      <a:pt x="22" y="31"/>
                    </a:cubicBezTo>
                    <a:cubicBezTo>
                      <a:pt x="19" y="28"/>
                      <a:pt x="17" y="25"/>
                      <a:pt x="15" y="26"/>
                    </a:cubicBezTo>
                    <a:cubicBezTo>
                      <a:pt x="15" y="26"/>
                      <a:pt x="13" y="26"/>
                      <a:pt x="13" y="26"/>
                    </a:cubicBezTo>
                    <a:cubicBezTo>
                      <a:pt x="12" y="30"/>
                      <a:pt x="17" y="32"/>
                      <a:pt x="16" y="36"/>
                    </a:cubicBezTo>
                    <a:cubicBezTo>
                      <a:pt x="15" y="39"/>
                      <a:pt x="8" y="41"/>
                      <a:pt x="9" y="43"/>
                    </a:cubicBezTo>
                    <a:cubicBezTo>
                      <a:pt x="12" y="50"/>
                      <a:pt x="32" y="39"/>
                      <a:pt x="39" y="41"/>
                    </a:cubicBezTo>
                    <a:cubicBezTo>
                      <a:pt x="39" y="41"/>
                      <a:pt x="40" y="41"/>
                      <a:pt x="40" y="41"/>
                    </a:cubicBezTo>
                    <a:cubicBezTo>
                      <a:pt x="40" y="41"/>
                      <a:pt x="40" y="41"/>
                      <a:pt x="40" y="41"/>
                    </a:cubicBezTo>
                    <a:cubicBezTo>
                      <a:pt x="40" y="37"/>
                      <a:pt x="40" y="34"/>
                      <a:pt x="41" y="3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6" name="Freeform 1202"/>
              <p:cNvSpPr>
                <a:spLocks/>
              </p:cNvSpPr>
              <p:nvPr/>
            </p:nvSpPr>
            <p:spPr bwMode="auto">
              <a:xfrm>
                <a:off x="2421" y="2429"/>
                <a:ext cx="2" cy="0"/>
              </a:xfrm>
              <a:custGeom>
                <a:avLst/>
                <a:gdLst>
                  <a:gd name="T0" fmla="*/ 0 w 3"/>
                  <a:gd name="T1" fmla="*/ 1 h 1"/>
                  <a:gd name="T2" fmla="*/ 3 w 3"/>
                  <a:gd name="T3" fmla="*/ 0 h 1"/>
                  <a:gd name="T4" fmla="*/ 1 w 3"/>
                  <a:gd name="T5" fmla="*/ 0 h 1"/>
                  <a:gd name="T6" fmla="*/ 0 w 3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1"/>
                    </a:moveTo>
                    <a:cubicBezTo>
                      <a:pt x="1" y="1"/>
                      <a:pt x="2" y="1"/>
                      <a:pt x="3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0" y="0"/>
                      <a:pt x="0" y="0"/>
                      <a:pt x="0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7" name="Freeform 1203"/>
              <p:cNvSpPr>
                <a:spLocks/>
              </p:cNvSpPr>
              <p:nvPr/>
            </p:nvSpPr>
            <p:spPr bwMode="auto">
              <a:xfrm>
                <a:off x="2417" y="2427"/>
                <a:ext cx="12" cy="2"/>
              </a:xfrm>
              <a:custGeom>
                <a:avLst/>
                <a:gdLst>
                  <a:gd name="T0" fmla="*/ 0 w 18"/>
                  <a:gd name="T1" fmla="*/ 4 h 4"/>
                  <a:gd name="T2" fmla="*/ 1 w 18"/>
                  <a:gd name="T3" fmla="*/ 4 h 4"/>
                  <a:gd name="T4" fmla="*/ 2 w 18"/>
                  <a:gd name="T5" fmla="*/ 4 h 4"/>
                  <a:gd name="T6" fmla="*/ 2 w 18"/>
                  <a:gd name="T7" fmla="*/ 3 h 4"/>
                  <a:gd name="T8" fmla="*/ 4 w 18"/>
                  <a:gd name="T9" fmla="*/ 4 h 4"/>
                  <a:gd name="T10" fmla="*/ 5 w 18"/>
                  <a:gd name="T11" fmla="*/ 4 h 4"/>
                  <a:gd name="T12" fmla="*/ 6 w 18"/>
                  <a:gd name="T13" fmla="*/ 3 h 4"/>
                  <a:gd name="T14" fmla="*/ 8 w 18"/>
                  <a:gd name="T15" fmla="*/ 3 h 4"/>
                  <a:gd name="T16" fmla="*/ 13 w 18"/>
                  <a:gd name="T17" fmla="*/ 3 h 4"/>
                  <a:gd name="T18" fmla="*/ 14 w 18"/>
                  <a:gd name="T19" fmla="*/ 3 h 4"/>
                  <a:gd name="T20" fmla="*/ 18 w 18"/>
                  <a:gd name="T21" fmla="*/ 1 h 4"/>
                  <a:gd name="T22" fmla="*/ 13 w 18"/>
                  <a:gd name="T23" fmla="*/ 1 h 4"/>
                  <a:gd name="T24" fmla="*/ 11 w 18"/>
                  <a:gd name="T25" fmla="*/ 1 h 4"/>
                  <a:gd name="T26" fmla="*/ 0 w 18"/>
                  <a:gd name="T27" fmla="*/ 3 h 4"/>
                  <a:gd name="T28" fmla="*/ 0 w 18"/>
                  <a:gd name="T29" fmla="*/ 3 h 4"/>
                  <a:gd name="T30" fmla="*/ 0 w 18"/>
                  <a:gd name="T3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4">
                    <a:moveTo>
                      <a:pt x="0" y="4"/>
                    </a:moveTo>
                    <a:cubicBezTo>
                      <a:pt x="0" y="4"/>
                      <a:pt x="0" y="4"/>
                      <a:pt x="1" y="4"/>
                    </a:cubicBezTo>
                    <a:cubicBezTo>
                      <a:pt x="1" y="4"/>
                      <a:pt x="1" y="4"/>
                      <a:pt x="2" y="4"/>
                    </a:cubicBezTo>
                    <a:cubicBezTo>
                      <a:pt x="2" y="4"/>
                      <a:pt x="2" y="3"/>
                      <a:pt x="2" y="3"/>
                    </a:cubicBezTo>
                    <a:cubicBezTo>
                      <a:pt x="3" y="3"/>
                      <a:pt x="3" y="3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5" y="3"/>
                      <a:pt x="5" y="3"/>
                      <a:pt x="6" y="3"/>
                    </a:cubicBezTo>
                    <a:cubicBezTo>
                      <a:pt x="7" y="3"/>
                      <a:pt x="7" y="3"/>
                      <a:pt x="8" y="3"/>
                    </a:cubicBezTo>
                    <a:cubicBezTo>
                      <a:pt x="10" y="3"/>
                      <a:pt x="11" y="3"/>
                      <a:pt x="13" y="3"/>
                    </a:cubicBezTo>
                    <a:cubicBezTo>
                      <a:pt x="13" y="3"/>
                      <a:pt x="14" y="3"/>
                      <a:pt x="14" y="3"/>
                    </a:cubicBezTo>
                    <a:cubicBezTo>
                      <a:pt x="15" y="2"/>
                      <a:pt x="17" y="2"/>
                      <a:pt x="18" y="1"/>
                    </a:cubicBezTo>
                    <a:cubicBezTo>
                      <a:pt x="18" y="0"/>
                      <a:pt x="15" y="0"/>
                      <a:pt x="13" y="1"/>
                    </a:cubicBezTo>
                    <a:cubicBezTo>
                      <a:pt x="13" y="1"/>
                      <a:pt x="12" y="1"/>
                      <a:pt x="11" y="1"/>
                    </a:cubicBezTo>
                    <a:cubicBezTo>
                      <a:pt x="7" y="2"/>
                      <a:pt x="6" y="1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3"/>
                      <a:pt x="0" y="3"/>
                      <a:pt x="0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8" name="Freeform 1204"/>
              <p:cNvSpPr>
                <a:spLocks/>
              </p:cNvSpPr>
              <p:nvPr/>
            </p:nvSpPr>
            <p:spPr bwMode="auto">
              <a:xfrm>
                <a:off x="2829" y="2409"/>
                <a:ext cx="1" cy="6"/>
              </a:xfrm>
              <a:custGeom>
                <a:avLst/>
                <a:gdLst>
                  <a:gd name="T0" fmla="*/ 0 w 1"/>
                  <a:gd name="T1" fmla="*/ 9 h 9"/>
                  <a:gd name="T2" fmla="*/ 1 w 1"/>
                  <a:gd name="T3" fmla="*/ 0 h 9"/>
                  <a:gd name="T4" fmla="*/ 0 w 1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9">
                    <a:moveTo>
                      <a:pt x="0" y="9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2"/>
                      <a:pt x="0" y="5"/>
                      <a:pt x="0" y="9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89" name="Freeform 1205"/>
              <p:cNvSpPr>
                <a:spLocks/>
              </p:cNvSpPr>
              <p:nvPr/>
            </p:nvSpPr>
            <p:spPr bwMode="auto">
              <a:xfrm>
                <a:off x="2417" y="2427"/>
                <a:ext cx="8" cy="2"/>
              </a:xfrm>
              <a:custGeom>
                <a:avLst/>
                <a:gdLst>
                  <a:gd name="T0" fmla="*/ 11 w 11"/>
                  <a:gd name="T1" fmla="*/ 1 h 3"/>
                  <a:gd name="T2" fmla="*/ 8 w 11"/>
                  <a:gd name="T3" fmla="*/ 1 h 3"/>
                  <a:gd name="T4" fmla="*/ 2 w 11"/>
                  <a:gd name="T5" fmla="*/ 2 h 3"/>
                  <a:gd name="T6" fmla="*/ 0 w 11"/>
                  <a:gd name="T7" fmla="*/ 3 h 3"/>
                  <a:gd name="T8" fmla="*/ 0 w 11"/>
                  <a:gd name="T9" fmla="*/ 3 h 3"/>
                  <a:gd name="T10" fmla="*/ 11 w 11"/>
                  <a:gd name="T11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3">
                    <a:moveTo>
                      <a:pt x="11" y="1"/>
                    </a:moveTo>
                    <a:cubicBezTo>
                      <a:pt x="10" y="1"/>
                      <a:pt x="9" y="1"/>
                      <a:pt x="8" y="1"/>
                    </a:cubicBezTo>
                    <a:cubicBezTo>
                      <a:pt x="6" y="1"/>
                      <a:pt x="4" y="0"/>
                      <a:pt x="2" y="2"/>
                    </a:cubicBezTo>
                    <a:cubicBezTo>
                      <a:pt x="1" y="2"/>
                      <a:pt x="0" y="2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6" y="1"/>
                      <a:pt x="7" y="2"/>
                      <a:pt x="11" y="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0" name="Freeform 1206"/>
              <p:cNvSpPr>
                <a:spLocks/>
              </p:cNvSpPr>
              <p:nvPr/>
            </p:nvSpPr>
            <p:spPr bwMode="auto">
              <a:xfrm>
                <a:off x="2425" y="2426"/>
                <a:ext cx="7" cy="3"/>
              </a:xfrm>
              <a:custGeom>
                <a:avLst/>
                <a:gdLst>
                  <a:gd name="T0" fmla="*/ 7 w 11"/>
                  <a:gd name="T1" fmla="*/ 2 h 4"/>
                  <a:gd name="T2" fmla="*/ 3 w 11"/>
                  <a:gd name="T3" fmla="*/ 4 h 4"/>
                  <a:gd name="T4" fmla="*/ 2 w 11"/>
                  <a:gd name="T5" fmla="*/ 4 h 4"/>
                  <a:gd name="T6" fmla="*/ 4 w 11"/>
                  <a:gd name="T7" fmla="*/ 4 h 4"/>
                  <a:gd name="T8" fmla="*/ 2 w 11"/>
                  <a:gd name="T9" fmla="*/ 1 h 4"/>
                  <a:gd name="T10" fmla="*/ 0 w 11"/>
                  <a:gd name="T11" fmla="*/ 2 h 4"/>
                  <a:gd name="T12" fmla="*/ 2 w 11"/>
                  <a:gd name="T13" fmla="*/ 2 h 4"/>
                  <a:gd name="T14" fmla="*/ 7 w 11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4">
                    <a:moveTo>
                      <a:pt x="7" y="2"/>
                    </a:moveTo>
                    <a:cubicBezTo>
                      <a:pt x="6" y="3"/>
                      <a:pt x="4" y="3"/>
                      <a:pt x="3" y="4"/>
                    </a:cubicBezTo>
                    <a:cubicBezTo>
                      <a:pt x="3" y="4"/>
                      <a:pt x="2" y="4"/>
                      <a:pt x="2" y="4"/>
                    </a:cubicBezTo>
                    <a:cubicBezTo>
                      <a:pt x="2" y="4"/>
                      <a:pt x="3" y="4"/>
                      <a:pt x="4" y="4"/>
                    </a:cubicBezTo>
                    <a:cubicBezTo>
                      <a:pt x="11" y="3"/>
                      <a:pt x="7" y="0"/>
                      <a:pt x="2" y="1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1" y="2"/>
                      <a:pt x="2" y="2"/>
                      <a:pt x="2" y="2"/>
                    </a:cubicBezTo>
                    <a:cubicBezTo>
                      <a:pt x="4" y="1"/>
                      <a:pt x="7" y="1"/>
                      <a:pt x="7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1" name="Freeform 1207"/>
              <p:cNvSpPr>
                <a:spLocks/>
              </p:cNvSpPr>
              <p:nvPr/>
            </p:nvSpPr>
            <p:spPr bwMode="auto">
              <a:xfrm>
                <a:off x="2420" y="2429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2" name="Freeform 1208"/>
              <p:cNvSpPr>
                <a:spLocks/>
              </p:cNvSpPr>
              <p:nvPr/>
            </p:nvSpPr>
            <p:spPr bwMode="auto">
              <a:xfrm>
                <a:off x="2419" y="2429"/>
                <a:ext cx="1" cy="0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1 h 1"/>
                  <a:gd name="T4" fmla="*/ 2 w 2"/>
                  <a:gd name="T5" fmla="*/ 1 h 1"/>
                  <a:gd name="T6" fmla="*/ 0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1" y="1"/>
                      <a:pt x="2" y="1"/>
                    </a:cubicBezTo>
                    <a:cubicBezTo>
                      <a:pt x="1" y="0"/>
                      <a:pt x="1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3" name="Freeform 1209"/>
              <p:cNvSpPr>
                <a:spLocks/>
              </p:cNvSpPr>
              <p:nvPr/>
            </p:nvSpPr>
            <p:spPr bwMode="auto">
              <a:xfrm>
                <a:off x="2423" y="2429"/>
                <a:ext cx="3" cy="0"/>
              </a:xfrm>
              <a:custGeom>
                <a:avLst/>
                <a:gdLst>
                  <a:gd name="T0" fmla="*/ 5 w 5"/>
                  <a:gd name="T1" fmla="*/ 0 w 5"/>
                  <a:gd name="T2" fmla="*/ 5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5">
                    <a:moveTo>
                      <a:pt x="5" y="0"/>
                    </a:moveTo>
                    <a:cubicBezTo>
                      <a:pt x="3" y="0"/>
                      <a:pt x="2" y="0"/>
                      <a:pt x="0" y="0"/>
                    </a:cubicBezTo>
                    <a:cubicBezTo>
                      <a:pt x="2" y="0"/>
                      <a:pt x="3" y="0"/>
                      <a:pt x="5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4" name="Freeform 1210"/>
              <p:cNvSpPr>
                <a:spLocks/>
              </p:cNvSpPr>
              <p:nvPr/>
            </p:nvSpPr>
            <p:spPr bwMode="auto">
              <a:xfrm>
                <a:off x="2418" y="2429"/>
                <a:ext cx="1" cy="0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  <a:gd name="T3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5" name="Freeform 1211"/>
              <p:cNvSpPr>
                <a:spLocks/>
              </p:cNvSpPr>
              <p:nvPr/>
            </p:nvSpPr>
            <p:spPr bwMode="auto">
              <a:xfrm>
                <a:off x="2358" y="2589"/>
                <a:ext cx="2" cy="4"/>
              </a:xfrm>
              <a:custGeom>
                <a:avLst/>
                <a:gdLst>
                  <a:gd name="T0" fmla="*/ 0 w 2"/>
                  <a:gd name="T1" fmla="*/ 0 h 6"/>
                  <a:gd name="T2" fmla="*/ 1 w 2"/>
                  <a:gd name="T3" fmla="*/ 6 h 6"/>
                  <a:gd name="T4" fmla="*/ 0 w 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cubicBezTo>
                      <a:pt x="0" y="2"/>
                      <a:pt x="2" y="5"/>
                      <a:pt x="1" y="6"/>
                    </a:cubicBezTo>
                    <a:cubicBezTo>
                      <a:pt x="2" y="5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6" name="Freeform 1212"/>
              <p:cNvSpPr>
                <a:spLocks/>
              </p:cNvSpPr>
              <p:nvPr/>
            </p:nvSpPr>
            <p:spPr bwMode="auto">
              <a:xfrm>
                <a:off x="1873" y="2982"/>
                <a:ext cx="9" cy="1"/>
              </a:xfrm>
              <a:custGeom>
                <a:avLst/>
                <a:gdLst>
                  <a:gd name="T0" fmla="*/ 13 w 13"/>
                  <a:gd name="T1" fmla="*/ 2 h 3"/>
                  <a:gd name="T2" fmla="*/ 0 w 13"/>
                  <a:gd name="T3" fmla="*/ 3 h 3"/>
                  <a:gd name="T4" fmla="*/ 13 w 13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3">
                    <a:moveTo>
                      <a:pt x="13" y="2"/>
                    </a:moveTo>
                    <a:cubicBezTo>
                      <a:pt x="8" y="0"/>
                      <a:pt x="4" y="0"/>
                      <a:pt x="0" y="3"/>
                    </a:cubicBezTo>
                    <a:cubicBezTo>
                      <a:pt x="4" y="2"/>
                      <a:pt x="9" y="2"/>
                      <a:pt x="13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7" name="Freeform 1213"/>
              <p:cNvSpPr>
                <a:spLocks/>
              </p:cNvSpPr>
              <p:nvPr/>
            </p:nvSpPr>
            <p:spPr bwMode="auto">
              <a:xfrm>
                <a:off x="1812" y="2949"/>
                <a:ext cx="1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cubicBezTo>
                      <a:pt x="1" y="1"/>
                      <a:pt x="0" y="1"/>
                      <a:pt x="0" y="2"/>
                    </a:cubicBezTo>
                    <a:cubicBezTo>
                      <a:pt x="1" y="2"/>
                      <a:pt x="2" y="1"/>
                      <a:pt x="2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8" name="Freeform 1214"/>
              <p:cNvSpPr>
                <a:spLocks/>
              </p:cNvSpPr>
              <p:nvPr/>
            </p:nvSpPr>
            <p:spPr bwMode="auto">
              <a:xfrm>
                <a:off x="2175" y="3342"/>
                <a:ext cx="4" cy="2"/>
              </a:xfrm>
              <a:custGeom>
                <a:avLst/>
                <a:gdLst>
                  <a:gd name="T0" fmla="*/ 5 w 7"/>
                  <a:gd name="T1" fmla="*/ 2 h 3"/>
                  <a:gd name="T2" fmla="*/ 7 w 7"/>
                  <a:gd name="T3" fmla="*/ 1 h 3"/>
                  <a:gd name="T4" fmla="*/ 5 w 7"/>
                  <a:gd name="T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5" y="2"/>
                    </a:moveTo>
                    <a:cubicBezTo>
                      <a:pt x="6" y="2"/>
                      <a:pt x="7" y="2"/>
                      <a:pt x="7" y="1"/>
                    </a:cubicBezTo>
                    <a:cubicBezTo>
                      <a:pt x="5" y="0"/>
                      <a:pt x="0" y="3"/>
                      <a:pt x="5" y="2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99" name="Freeform 1215"/>
              <p:cNvSpPr>
                <a:spLocks/>
              </p:cNvSpPr>
              <p:nvPr/>
            </p:nvSpPr>
            <p:spPr bwMode="auto">
              <a:xfrm>
                <a:off x="1825" y="2959"/>
                <a:ext cx="0" cy="1"/>
              </a:xfrm>
              <a:custGeom>
                <a:avLst/>
                <a:gdLst>
                  <a:gd name="T0" fmla="*/ 0 h 1"/>
                  <a:gd name="T1" fmla="*/ 0 h 1"/>
                  <a:gd name="T2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00" name="Freeform 1216"/>
              <p:cNvSpPr>
                <a:spLocks/>
              </p:cNvSpPr>
              <p:nvPr/>
            </p:nvSpPr>
            <p:spPr bwMode="auto">
              <a:xfrm>
                <a:off x="2497" y="3335"/>
                <a:ext cx="61" cy="138"/>
              </a:xfrm>
              <a:custGeom>
                <a:avLst/>
                <a:gdLst>
                  <a:gd name="T0" fmla="*/ 9 w 94"/>
                  <a:gd name="T1" fmla="*/ 76 h 211"/>
                  <a:gd name="T2" fmla="*/ 3 w 94"/>
                  <a:gd name="T3" fmla="*/ 82 h 211"/>
                  <a:gd name="T4" fmla="*/ 4 w 94"/>
                  <a:gd name="T5" fmla="*/ 87 h 211"/>
                  <a:gd name="T6" fmla="*/ 8 w 94"/>
                  <a:gd name="T7" fmla="*/ 88 h 211"/>
                  <a:gd name="T8" fmla="*/ 12 w 94"/>
                  <a:gd name="T9" fmla="*/ 92 h 211"/>
                  <a:gd name="T10" fmla="*/ 10 w 94"/>
                  <a:gd name="T11" fmla="*/ 97 h 211"/>
                  <a:gd name="T12" fmla="*/ 4 w 94"/>
                  <a:gd name="T13" fmla="*/ 99 h 211"/>
                  <a:gd name="T14" fmla="*/ 5 w 94"/>
                  <a:gd name="T15" fmla="*/ 109 h 211"/>
                  <a:gd name="T16" fmla="*/ 11 w 94"/>
                  <a:gd name="T17" fmla="*/ 115 h 211"/>
                  <a:gd name="T18" fmla="*/ 16 w 94"/>
                  <a:gd name="T19" fmla="*/ 117 h 211"/>
                  <a:gd name="T20" fmla="*/ 15 w 94"/>
                  <a:gd name="T21" fmla="*/ 126 h 211"/>
                  <a:gd name="T22" fmla="*/ 12 w 94"/>
                  <a:gd name="T23" fmla="*/ 132 h 211"/>
                  <a:gd name="T24" fmla="*/ 7 w 94"/>
                  <a:gd name="T25" fmla="*/ 133 h 211"/>
                  <a:gd name="T26" fmla="*/ 8 w 94"/>
                  <a:gd name="T27" fmla="*/ 139 h 211"/>
                  <a:gd name="T28" fmla="*/ 7 w 94"/>
                  <a:gd name="T29" fmla="*/ 141 h 211"/>
                  <a:gd name="T30" fmla="*/ 13 w 94"/>
                  <a:gd name="T31" fmla="*/ 140 h 211"/>
                  <a:gd name="T32" fmla="*/ 22 w 94"/>
                  <a:gd name="T33" fmla="*/ 139 h 211"/>
                  <a:gd name="T34" fmla="*/ 23 w 94"/>
                  <a:gd name="T35" fmla="*/ 146 h 211"/>
                  <a:gd name="T36" fmla="*/ 22 w 94"/>
                  <a:gd name="T37" fmla="*/ 149 h 211"/>
                  <a:gd name="T38" fmla="*/ 18 w 94"/>
                  <a:gd name="T39" fmla="*/ 155 h 211"/>
                  <a:gd name="T40" fmla="*/ 15 w 94"/>
                  <a:gd name="T41" fmla="*/ 161 h 211"/>
                  <a:gd name="T42" fmla="*/ 22 w 94"/>
                  <a:gd name="T43" fmla="*/ 163 h 211"/>
                  <a:gd name="T44" fmla="*/ 27 w 94"/>
                  <a:gd name="T45" fmla="*/ 165 h 211"/>
                  <a:gd name="T46" fmla="*/ 33 w 94"/>
                  <a:gd name="T47" fmla="*/ 168 h 211"/>
                  <a:gd name="T48" fmla="*/ 29 w 94"/>
                  <a:gd name="T49" fmla="*/ 172 h 211"/>
                  <a:gd name="T50" fmla="*/ 23 w 94"/>
                  <a:gd name="T51" fmla="*/ 176 h 211"/>
                  <a:gd name="T52" fmla="*/ 23 w 94"/>
                  <a:gd name="T53" fmla="*/ 182 h 211"/>
                  <a:gd name="T54" fmla="*/ 28 w 94"/>
                  <a:gd name="T55" fmla="*/ 186 h 211"/>
                  <a:gd name="T56" fmla="*/ 33 w 94"/>
                  <a:gd name="T57" fmla="*/ 189 h 211"/>
                  <a:gd name="T58" fmla="*/ 43 w 94"/>
                  <a:gd name="T59" fmla="*/ 194 h 211"/>
                  <a:gd name="T60" fmla="*/ 50 w 94"/>
                  <a:gd name="T61" fmla="*/ 198 h 211"/>
                  <a:gd name="T62" fmla="*/ 52 w 94"/>
                  <a:gd name="T63" fmla="*/ 203 h 211"/>
                  <a:gd name="T64" fmla="*/ 64 w 94"/>
                  <a:gd name="T65" fmla="*/ 204 h 211"/>
                  <a:gd name="T66" fmla="*/ 62 w 94"/>
                  <a:gd name="T67" fmla="*/ 200 h 211"/>
                  <a:gd name="T68" fmla="*/ 67 w 94"/>
                  <a:gd name="T69" fmla="*/ 190 h 211"/>
                  <a:gd name="T70" fmla="*/ 74 w 94"/>
                  <a:gd name="T71" fmla="*/ 181 h 211"/>
                  <a:gd name="T72" fmla="*/ 68 w 94"/>
                  <a:gd name="T73" fmla="*/ 177 h 211"/>
                  <a:gd name="T74" fmla="*/ 75 w 94"/>
                  <a:gd name="T75" fmla="*/ 174 h 211"/>
                  <a:gd name="T76" fmla="*/ 77 w 94"/>
                  <a:gd name="T77" fmla="*/ 167 h 211"/>
                  <a:gd name="T78" fmla="*/ 78 w 94"/>
                  <a:gd name="T79" fmla="*/ 150 h 211"/>
                  <a:gd name="T80" fmla="*/ 82 w 94"/>
                  <a:gd name="T81" fmla="*/ 131 h 211"/>
                  <a:gd name="T82" fmla="*/ 92 w 94"/>
                  <a:gd name="T83" fmla="*/ 105 h 211"/>
                  <a:gd name="T84" fmla="*/ 92 w 94"/>
                  <a:gd name="T85" fmla="*/ 92 h 211"/>
                  <a:gd name="T86" fmla="*/ 90 w 94"/>
                  <a:gd name="T87" fmla="*/ 72 h 211"/>
                  <a:gd name="T88" fmla="*/ 87 w 94"/>
                  <a:gd name="T89" fmla="*/ 53 h 211"/>
                  <a:gd name="T90" fmla="*/ 86 w 94"/>
                  <a:gd name="T91" fmla="*/ 33 h 211"/>
                  <a:gd name="T92" fmla="*/ 83 w 94"/>
                  <a:gd name="T93" fmla="*/ 7 h 211"/>
                  <a:gd name="T94" fmla="*/ 74 w 94"/>
                  <a:gd name="T95" fmla="*/ 10 h 211"/>
                  <a:gd name="T96" fmla="*/ 72 w 94"/>
                  <a:gd name="T97" fmla="*/ 19 h 211"/>
                  <a:gd name="T98" fmla="*/ 71 w 94"/>
                  <a:gd name="T99" fmla="*/ 27 h 211"/>
                  <a:gd name="T100" fmla="*/ 70 w 94"/>
                  <a:gd name="T101" fmla="*/ 43 h 211"/>
                  <a:gd name="T102" fmla="*/ 54 w 94"/>
                  <a:gd name="T103" fmla="*/ 38 h 211"/>
                  <a:gd name="T104" fmla="*/ 45 w 94"/>
                  <a:gd name="T105" fmla="*/ 48 h 211"/>
                  <a:gd name="T106" fmla="*/ 33 w 94"/>
                  <a:gd name="T107" fmla="*/ 51 h 211"/>
                  <a:gd name="T108" fmla="*/ 25 w 94"/>
                  <a:gd name="T109" fmla="*/ 56 h 211"/>
                  <a:gd name="T110" fmla="*/ 17 w 94"/>
                  <a:gd name="T111" fmla="*/ 60 h 211"/>
                  <a:gd name="T112" fmla="*/ 12 w 94"/>
                  <a:gd name="T113" fmla="*/ 67 h 211"/>
                  <a:gd name="T114" fmla="*/ 9 w 94"/>
                  <a:gd name="T115" fmla="*/ 7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4" h="211">
                    <a:moveTo>
                      <a:pt x="9" y="76"/>
                    </a:moveTo>
                    <a:cubicBezTo>
                      <a:pt x="5" y="77"/>
                      <a:pt x="10" y="80"/>
                      <a:pt x="3" y="82"/>
                    </a:cubicBezTo>
                    <a:cubicBezTo>
                      <a:pt x="0" y="82"/>
                      <a:pt x="3" y="90"/>
                      <a:pt x="4" y="87"/>
                    </a:cubicBezTo>
                    <a:cubicBezTo>
                      <a:pt x="6" y="84"/>
                      <a:pt x="10" y="85"/>
                      <a:pt x="8" y="88"/>
                    </a:cubicBezTo>
                    <a:cubicBezTo>
                      <a:pt x="5" y="92"/>
                      <a:pt x="7" y="90"/>
                      <a:pt x="12" y="92"/>
                    </a:cubicBezTo>
                    <a:cubicBezTo>
                      <a:pt x="17" y="95"/>
                      <a:pt x="13" y="98"/>
                      <a:pt x="10" y="97"/>
                    </a:cubicBezTo>
                    <a:cubicBezTo>
                      <a:pt x="8" y="96"/>
                      <a:pt x="7" y="98"/>
                      <a:pt x="4" y="99"/>
                    </a:cubicBezTo>
                    <a:cubicBezTo>
                      <a:pt x="1" y="100"/>
                      <a:pt x="6" y="106"/>
                      <a:pt x="5" y="109"/>
                    </a:cubicBezTo>
                    <a:cubicBezTo>
                      <a:pt x="3" y="112"/>
                      <a:pt x="8" y="112"/>
                      <a:pt x="11" y="115"/>
                    </a:cubicBezTo>
                    <a:cubicBezTo>
                      <a:pt x="13" y="119"/>
                      <a:pt x="15" y="113"/>
                      <a:pt x="16" y="117"/>
                    </a:cubicBezTo>
                    <a:cubicBezTo>
                      <a:pt x="16" y="121"/>
                      <a:pt x="22" y="122"/>
                      <a:pt x="15" y="126"/>
                    </a:cubicBezTo>
                    <a:cubicBezTo>
                      <a:pt x="8" y="129"/>
                      <a:pt x="14" y="129"/>
                      <a:pt x="12" y="132"/>
                    </a:cubicBezTo>
                    <a:cubicBezTo>
                      <a:pt x="10" y="135"/>
                      <a:pt x="8" y="130"/>
                      <a:pt x="7" y="133"/>
                    </a:cubicBezTo>
                    <a:cubicBezTo>
                      <a:pt x="5" y="136"/>
                      <a:pt x="9" y="135"/>
                      <a:pt x="8" y="139"/>
                    </a:cubicBezTo>
                    <a:cubicBezTo>
                      <a:pt x="8" y="140"/>
                      <a:pt x="8" y="141"/>
                      <a:pt x="7" y="141"/>
                    </a:cubicBezTo>
                    <a:cubicBezTo>
                      <a:pt x="8" y="141"/>
                      <a:pt x="10" y="140"/>
                      <a:pt x="13" y="140"/>
                    </a:cubicBezTo>
                    <a:cubicBezTo>
                      <a:pt x="22" y="141"/>
                      <a:pt x="17" y="135"/>
                      <a:pt x="22" y="139"/>
                    </a:cubicBezTo>
                    <a:cubicBezTo>
                      <a:pt x="27" y="142"/>
                      <a:pt x="22" y="143"/>
                      <a:pt x="23" y="146"/>
                    </a:cubicBezTo>
                    <a:cubicBezTo>
                      <a:pt x="24" y="148"/>
                      <a:pt x="19" y="146"/>
                      <a:pt x="22" y="149"/>
                    </a:cubicBezTo>
                    <a:cubicBezTo>
                      <a:pt x="24" y="153"/>
                      <a:pt x="16" y="152"/>
                      <a:pt x="18" y="155"/>
                    </a:cubicBezTo>
                    <a:cubicBezTo>
                      <a:pt x="20" y="158"/>
                      <a:pt x="13" y="158"/>
                      <a:pt x="15" y="161"/>
                    </a:cubicBezTo>
                    <a:cubicBezTo>
                      <a:pt x="17" y="164"/>
                      <a:pt x="23" y="158"/>
                      <a:pt x="22" y="163"/>
                    </a:cubicBezTo>
                    <a:cubicBezTo>
                      <a:pt x="22" y="167"/>
                      <a:pt x="26" y="164"/>
                      <a:pt x="27" y="165"/>
                    </a:cubicBezTo>
                    <a:cubicBezTo>
                      <a:pt x="29" y="167"/>
                      <a:pt x="37" y="167"/>
                      <a:pt x="33" y="168"/>
                    </a:cubicBezTo>
                    <a:cubicBezTo>
                      <a:pt x="30" y="170"/>
                      <a:pt x="33" y="170"/>
                      <a:pt x="29" y="172"/>
                    </a:cubicBezTo>
                    <a:cubicBezTo>
                      <a:pt x="25" y="175"/>
                      <a:pt x="25" y="170"/>
                      <a:pt x="23" y="176"/>
                    </a:cubicBezTo>
                    <a:cubicBezTo>
                      <a:pt x="21" y="181"/>
                      <a:pt x="24" y="178"/>
                      <a:pt x="23" y="182"/>
                    </a:cubicBezTo>
                    <a:cubicBezTo>
                      <a:pt x="23" y="185"/>
                      <a:pt x="28" y="182"/>
                      <a:pt x="28" y="186"/>
                    </a:cubicBezTo>
                    <a:cubicBezTo>
                      <a:pt x="29" y="190"/>
                      <a:pt x="31" y="187"/>
                      <a:pt x="33" y="189"/>
                    </a:cubicBezTo>
                    <a:cubicBezTo>
                      <a:pt x="35" y="191"/>
                      <a:pt x="35" y="192"/>
                      <a:pt x="43" y="194"/>
                    </a:cubicBezTo>
                    <a:cubicBezTo>
                      <a:pt x="51" y="196"/>
                      <a:pt x="45" y="198"/>
                      <a:pt x="50" y="198"/>
                    </a:cubicBezTo>
                    <a:cubicBezTo>
                      <a:pt x="55" y="197"/>
                      <a:pt x="49" y="204"/>
                      <a:pt x="52" y="203"/>
                    </a:cubicBezTo>
                    <a:cubicBezTo>
                      <a:pt x="55" y="203"/>
                      <a:pt x="59" y="211"/>
                      <a:pt x="64" y="204"/>
                    </a:cubicBezTo>
                    <a:cubicBezTo>
                      <a:pt x="70" y="194"/>
                      <a:pt x="62" y="203"/>
                      <a:pt x="62" y="200"/>
                    </a:cubicBezTo>
                    <a:cubicBezTo>
                      <a:pt x="61" y="196"/>
                      <a:pt x="70" y="197"/>
                      <a:pt x="67" y="190"/>
                    </a:cubicBezTo>
                    <a:cubicBezTo>
                      <a:pt x="65" y="186"/>
                      <a:pt x="75" y="184"/>
                      <a:pt x="74" y="181"/>
                    </a:cubicBezTo>
                    <a:cubicBezTo>
                      <a:pt x="72" y="173"/>
                      <a:pt x="67" y="182"/>
                      <a:pt x="68" y="177"/>
                    </a:cubicBezTo>
                    <a:cubicBezTo>
                      <a:pt x="69" y="171"/>
                      <a:pt x="69" y="178"/>
                      <a:pt x="75" y="174"/>
                    </a:cubicBezTo>
                    <a:cubicBezTo>
                      <a:pt x="81" y="170"/>
                      <a:pt x="73" y="169"/>
                      <a:pt x="77" y="167"/>
                    </a:cubicBezTo>
                    <a:cubicBezTo>
                      <a:pt x="81" y="165"/>
                      <a:pt x="78" y="160"/>
                      <a:pt x="78" y="150"/>
                    </a:cubicBezTo>
                    <a:cubicBezTo>
                      <a:pt x="78" y="141"/>
                      <a:pt x="78" y="137"/>
                      <a:pt x="82" y="131"/>
                    </a:cubicBezTo>
                    <a:cubicBezTo>
                      <a:pt x="87" y="124"/>
                      <a:pt x="94" y="113"/>
                      <a:pt x="92" y="105"/>
                    </a:cubicBezTo>
                    <a:cubicBezTo>
                      <a:pt x="90" y="96"/>
                      <a:pt x="94" y="97"/>
                      <a:pt x="92" y="92"/>
                    </a:cubicBezTo>
                    <a:cubicBezTo>
                      <a:pt x="86" y="82"/>
                      <a:pt x="93" y="76"/>
                      <a:pt x="90" y="72"/>
                    </a:cubicBezTo>
                    <a:cubicBezTo>
                      <a:pt x="88" y="67"/>
                      <a:pt x="92" y="58"/>
                      <a:pt x="87" y="53"/>
                    </a:cubicBezTo>
                    <a:cubicBezTo>
                      <a:pt x="81" y="48"/>
                      <a:pt x="83" y="37"/>
                      <a:pt x="86" y="33"/>
                    </a:cubicBezTo>
                    <a:cubicBezTo>
                      <a:pt x="88" y="30"/>
                      <a:pt x="83" y="13"/>
                      <a:pt x="83" y="7"/>
                    </a:cubicBezTo>
                    <a:cubicBezTo>
                      <a:pt x="82" y="0"/>
                      <a:pt x="71" y="2"/>
                      <a:pt x="74" y="10"/>
                    </a:cubicBezTo>
                    <a:cubicBezTo>
                      <a:pt x="76" y="17"/>
                      <a:pt x="70" y="15"/>
                      <a:pt x="72" y="19"/>
                    </a:cubicBezTo>
                    <a:cubicBezTo>
                      <a:pt x="73" y="24"/>
                      <a:pt x="69" y="23"/>
                      <a:pt x="71" y="27"/>
                    </a:cubicBezTo>
                    <a:cubicBezTo>
                      <a:pt x="73" y="32"/>
                      <a:pt x="74" y="36"/>
                      <a:pt x="70" y="43"/>
                    </a:cubicBezTo>
                    <a:cubicBezTo>
                      <a:pt x="67" y="49"/>
                      <a:pt x="65" y="34"/>
                      <a:pt x="54" y="38"/>
                    </a:cubicBezTo>
                    <a:cubicBezTo>
                      <a:pt x="43" y="43"/>
                      <a:pt x="51" y="44"/>
                      <a:pt x="45" y="48"/>
                    </a:cubicBezTo>
                    <a:cubicBezTo>
                      <a:pt x="38" y="52"/>
                      <a:pt x="39" y="46"/>
                      <a:pt x="33" y="51"/>
                    </a:cubicBezTo>
                    <a:cubicBezTo>
                      <a:pt x="28" y="55"/>
                      <a:pt x="26" y="51"/>
                      <a:pt x="25" y="56"/>
                    </a:cubicBezTo>
                    <a:cubicBezTo>
                      <a:pt x="23" y="65"/>
                      <a:pt x="18" y="52"/>
                      <a:pt x="17" y="60"/>
                    </a:cubicBezTo>
                    <a:cubicBezTo>
                      <a:pt x="16" y="67"/>
                      <a:pt x="13" y="62"/>
                      <a:pt x="12" y="67"/>
                    </a:cubicBezTo>
                    <a:cubicBezTo>
                      <a:pt x="10" y="72"/>
                      <a:pt x="14" y="76"/>
                      <a:pt x="9" y="76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01" name="Freeform 1217"/>
              <p:cNvSpPr>
                <a:spLocks/>
              </p:cNvSpPr>
              <p:nvPr/>
            </p:nvSpPr>
            <p:spPr bwMode="auto">
              <a:xfrm>
                <a:off x="1815" y="2959"/>
                <a:ext cx="1" cy="2"/>
              </a:xfrm>
              <a:custGeom>
                <a:avLst/>
                <a:gdLst>
                  <a:gd name="T0" fmla="*/ 0 w 1"/>
                  <a:gd name="T1" fmla="*/ 0 h 3"/>
                  <a:gd name="T2" fmla="*/ 1 w 1"/>
                  <a:gd name="T3" fmla="*/ 3 h 3"/>
                  <a:gd name="T4" fmla="*/ 0 w 1"/>
                  <a:gd name="T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0"/>
                    </a:moveTo>
                    <a:cubicBezTo>
                      <a:pt x="0" y="1"/>
                      <a:pt x="0" y="2"/>
                      <a:pt x="1" y="3"/>
                    </a:cubicBezTo>
                    <a:cubicBezTo>
                      <a:pt x="1" y="2"/>
                      <a:pt x="1" y="1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02" name="Freeform 1218"/>
              <p:cNvSpPr>
                <a:spLocks/>
              </p:cNvSpPr>
              <p:nvPr/>
            </p:nvSpPr>
            <p:spPr bwMode="auto">
              <a:xfrm>
                <a:off x="2274" y="3294"/>
                <a:ext cx="1" cy="5"/>
              </a:xfrm>
              <a:custGeom>
                <a:avLst/>
                <a:gdLst>
                  <a:gd name="T0" fmla="*/ 2 w 2"/>
                  <a:gd name="T1" fmla="*/ 4 h 8"/>
                  <a:gd name="T2" fmla="*/ 0 w 2"/>
                  <a:gd name="T3" fmla="*/ 0 h 8"/>
                  <a:gd name="T4" fmla="*/ 2 w 2"/>
                  <a:gd name="T5" fmla="*/ 8 h 8"/>
                  <a:gd name="T6" fmla="*/ 2 w 2"/>
                  <a:gd name="T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8">
                    <a:moveTo>
                      <a:pt x="2" y="4"/>
                    </a:moveTo>
                    <a:cubicBezTo>
                      <a:pt x="2" y="4"/>
                      <a:pt x="1" y="2"/>
                      <a:pt x="0" y="0"/>
                    </a:cubicBezTo>
                    <a:cubicBezTo>
                      <a:pt x="0" y="2"/>
                      <a:pt x="1" y="5"/>
                      <a:pt x="2" y="8"/>
                    </a:cubicBezTo>
                    <a:cubicBezTo>
                      <a:pt x="2" y="6"/>
                      <a:pt x="2" y="5"/>
                      <a:pt x="2" y="4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03" name="Freeform 1219"/>
              <p:cNvSpPr>
                <a:spLocks/>
              </p:cNvSpPr>
              <p:nvPr/>
            </p:nvSpPr>
            <p:spPr bwMode="auto">
              <a:xfrm>
                <a:off x="1814" y="2961"/>
                <a:ext cx="5" cy="7"/>
              </a:xfrm>
              <a:custGeom>
                <a:avLst/>
                <a:gdLst>
                  <a:gd name="T0" fmla="*/ 5 w 8"/>
                  <a:gd name="T1" fmla="*/ 11 h 12"/>
                  <a:gd name="T2" fmla="*/ 2 w 8"/>
                  <a:gd name="T3" fmla="*/ 0 h 12"/>
                  <a:gd name="T4" fmla="*/ 1 w 8"/>
                  <a:gd name="T5" fmla="*/ 3 h 12"/>
                  <a:gd name="T6" fmla="*/ 5 w 8"/>
                  <a:gd name="T7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2">
                    <a:moveTo>
                      <a:pt x="5" y="11"/>
                    </a:moveTo>
                    <a:cubicBezTo>
                      <a:pt x="8" y="11"/>
                      <a:pt x="4" y="5"/>
                      <a:pt x="2" y="0"/>
                    </a:cubicBezTo>
                    <a:cubicBezTo>
                      <a:pt x="2" y="1"/>
                      <a:pt x="2" y="2"/>
                      <a:pt x="1" y="3"/>
                    </a:cubicBezTo>
                    <a:cubicBezTo>
                      <a:pt x="0" y="6"/>
                      <a:pt x="0" y="12"/>
                      <a:pt x="5" y="11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04" name="Freeform 1220"/>
              <p:cNvSpPr>
                <a:spLocks noEditPoints="1"/>
              </p:cNvSpPr>
              <p:nvPr/>
            </p:nvSpPr>
            <p:spPr bwMode="auto">
              <a:xfrm>
                <a:off x="1715" y="2659"/>
                <a:ext cx="765" cy="735"/>
              </a:xfrm>
              <a:custGeom>
                <a:avLst/>
                <a:gdLst>
                  <a:gd name="T0" fmla="*/ 1058 w 1167"/>
                  <a:gd name="T1" fmla="*/ 805 h 1121"/>
                  <a:gd name="T2" fmla="*/ 1056 w 1167"/>
                  <a:gd name="T3" fmla="*/ 721 h 1121"/>
                  <a:gd name="T4" fmla="*/ 1037 w 1167"/>
                  <a:gd name="T5" fmla="*/ 640 h 1121"/>
                  <a:gd name="T6" fmla="*/ 1036 w 1167"/>
                  <a:gd name="T7" fmla="*/ 636 h 1121"/>
                  <a:gd name="T8" fmla="*/ 1037 w 1167"/>
                  <a:gd name="T9" fmla="*/ 629 h 1121"/>
                  <a:gd name="T10" fmla="*/ 1040 w 1167"/>
                  <a:gd name="T11" fmla="*/ 610 h 1121"/>
                  <a:gd name="T12" fmla="*/ 988 w 1167"/>
                  <a:gd name="T13" fmla="*/ 620 h 1121"/>
                  <a:gd name="T14" fmla="*/ 993 w 1167"/>
                  <a:gd name="T15" fmla="*/ 624 h 1121"/>
                  <a:gd name="T16" fmla="*/ 977 w 1167"/>
                  <a:gd name="T17" fmla="*/ 628 h 1121"/>
                  <a:gd name="T18" fmla="*/ 1062 w 1167"/>
                  <a:gd name="T19" fmla="*/ 487 h 1121"/>
                  <a:gd name="T20" fmla="*/ 1166 w 1167"/>
                  <a:gd name="T21" fmla="*/ 278 h 1121"/>
                  <a:gd name="T22" fmla="*/ 1037 w 1167"/>
                  <a:gd name="T23" fmla="*/ 252 h 1121"/>
                  <a:gd name="T24" fmla="*/ 981 w 1167"/>
                  <a:gd name="T25" fmla="*/ 212 h 1121"/>
                  <a:gd name="T26" fmla="*/ 928 w 1167"/>
                  <a:gd name="T27" fmla="*/ 208 h 1121"/>
                  <a:gd name="T28" fmla="*/ 856 w 1167"/>
                  <a:gd name="T29" fmla="*/ 126 h 1121"/>
                  <a:gd name="T30" fmla="*/ 799 w 1167"/>
                  <a:gd name="T31" fmla="*/ 101 h 1121"/>
                  <a:gd name="T32" fmla="*/ 705 w 1167"/>
                  <a:gd name="T33" fmla="*/ 42 h 1121"/>
                  <a:gd name="T34" fmla="*/ 573 w 1167"/>
                  <a:gd name="T35" fmla="*/ 29 h 1121"/>
                  <a:gd name="T36" fmla="*/ 579 w 1167"/>
                  <a:gd name="T37" fmla="*/ 119 h 1121"/>
                  <a:gd name="T38" fmla="*/ 425 w 1167"/>
                  <a:gd name="T39" fmla="*/ 234 h 1121"/>
                  <a:gd name="T40" fmla="*/ 320 w 1167"/>
                  <a:gd name="T41" fmla="*/ 184 h 1121"/>
                  <a:gd name="T42" fmla="*/ 279 w 1167"/>
                  <a:gd name="T43" fmla="*/ 231 h 1121"/>
                  <a:gd name="T44" fmla="*/ 311 w 1167"/>
                  <a:gd name="T45" fmla="*/ 321 h 1121"/>
                  <a:gd name="T46" fmla="*/ 249 w 1167"/>
                  <a:gd name="T47" fmla="*/ 320 h 1121"/>
                  <a:gd name="T48" fmla="*/ 169 w 1167"/>
                  <a:gd name="T49" fmla="*/ 304 h 1121"/>
                  <a:gd name="T50" fmla="*/ 135 w 1167"/>
                  <a:gd name="T51" fmla="*/ 296 h 1121"/>
                  <a:gd name="T52" fmla="*/ 78 w 1167"/>
                  <a:gd name="T53" fmla="*/ 309 h 1121"/>
                  <a:gd name="T54" fmla="*/ 48 w 1167"/>
                  <a:gd name="T55" fmla="*/ 362 h 1121"/>
                  <a:gd name="T56" fmla="*/ 50 w 1167"/>
                  <a:gd name="T57" fmla="*/ 389 h 1121"/>
                  <a:gd name="T58" fmla="*/ 72 w 1167"/>
                  <a:gd name="T59" fmla="*/ 422 h 1121"/>
                  <a:gd name="T60" fmla="*/ 138 w 1167"/>
                  <a:gd name="T61" fmla="*/ 435 h 1121"/>
                  <a:gd name="T62" fmla="*/ 148 w 1167"/>
                  <a:gd name="T63" fmla="*/ 437 h 1121"/>
                  <a:gd name="T64" fmla="*/ 153 w 1167"/>
                  <a:gd name="T65" fmla="*/ 455 h 1121"/>
                  <a:gd name="T66" fmla="*/ 178 w 1167"/>
                  <a:gd name="T67" fmla="*/ 462 h 1121"/>
                  <a:gd name="T68" fmla="*/ 205 w 1167"/>
                  <a:gd name="T69" fmla="*/ 483 h 1121"/>
                  <a:gd name="T70" fmla="*/ 278 w 1167"/>
                  <a:gd name="T71" fmla="*/ 505 h 1121"/>
                  <a:gd name="T72" fmla="*/ 232 w 1167"/>
                  <a:gd name="T73" fmla="*/ 514 h 1121"/>
                  <a:gd name="T74" fmla="*/ 333 w 1167"/>
                  <a:gd name="T75" fmla="*/ 620 h 1121"/>
                  <a:gd name="T76" fmla="*/ 321 w 1167"/>
                  <a:gd name="T77" fmla="*/ 697 h 1121"/>
                  <a:gd name="T78" fmla="*/ 382 w 1167"/>
                  <a:gd name="T79" fmla="*/ 790 h 1121"/>
                  <a:gd name="T80" fmla="*/ 319 w 1167"/>
                  <a:gd name="T81" fmla="*/ 833 h 1121"/>
                  <a:gd name="T82" fmla="*/ 295 w 1167"/>
                  <a:gd name="T83" fmla="*/ 1001 h 1121"/>
                  <a:gd name="T84" fmla="*/ 419 w 1167"/>
                  <a:gd name="T85" fmla="*/ 1057 h 1121"/>
                  <a:gd name="T86" fmla="*/ 586 w 1167"/>
                  <a:gd name="T87" fmla="*/ 1099 h 1121"/>
                  <a:gd name="T88" fmla="*/ 660 w 1167"/>
                  <a:gd name="T89" fmla="*/ 1115 h 1121"/>
                  <a:gd name="T90" fmla="*/ 707 w 1167"/>
                  <a:gd name="T91" fmla="*/ 1063 h 1121"/>
                  <a:gd name="T92" fmla="*/ 710 w 1167"/>
                  <a:gd name="T93" fmla="*/ 1024 h 1121"/>
                  <a:gd name="T94" fmla="*/ 766 w 1167"/>
                  <a:gd name="T95" fmla="*/ 980 h 1121"/>
                  <a:gd name="T96" fmla="*/ 784 w 1167"/>
                  <a:gd name="T97" fmla="*/ 967 h 1121"/>
                  <a:gd name="T98" fmla="*/ 866 w 1167"/>
                  <a:gd name="T99" fmla="*/ 990 h 1121"/>
                  <a:gd name="T100" fmla="*/ 898 w 1167"/>
                  <a:gd name="T101" fmla="*/ 978 h 1121"/>
                  <a:gd name="T102" fmla="*/ 947 w 1167"/>
                  <a:gd name="T103" fmla="*/ 1026 h 1121"/>
                  <a:gd name="T104" fmla="*/ 1000 w 1167"/>
                  <a:gd name="T105" fmla="*/ 1024 h 1121"/>
                  <a:gd name="T106" fmla="*/ 1104 w 1167"/>
                  <a:gd name="T107" fmla="*/ 942 h 1121"/>
                  <a:gd name="T108" fmla="*/ 852 w 1167"/>
                  <a:gd name="T109" fmla="*/ 968 h 1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67" h="1121">
                    <a:moveTo>
                      <a:pt x="1115" y="889"/>
                    </a:moveTo>
                    <a:cubicBezTo>
                      <a:pt x="1108" y="884"/>
                      <a:pt x="1090" y="895"/>
                      <a:pt x="1081" y="893"/>
                    </a:cubicBezTo>
                    <a:cubicBezTo>
                      <a:pt x="1042" y="883"/>
                      <a:pt x="1043" y="851"/>
                      <a:pt x="1052" y="828"/>
                    </a:cubicBezTo>
                    <a:cubicBezTo>
                      <a:pt x="1052" y="826"/>
                      <a:pt x="1054" y="824"/>
                      <a:pt x="1056" y="824"/>
                    </a:cubicBezTo>
                    <a:cubicBezTo>
                      <a:pt x="1058" y="823"/>
                      <a:pt x="1061" y="828"/>
                      <a:pt x="1062" y="826"/>
                    </a:cubicBezTo>
                    <a:cubicBezTo>
                      <a:pt x="1065" y="819"/>
                      <a:pt x="1061" y="811"/>
                      <a:pt x="1058" y="805"/>
                    </a:cubicBezTo>
                    <a:cubicBezTo>
                      <a:pt x="1053" y="797"/>
                      <a:pt x="1021" y="786"/>
                      <a:pt x="1022" y="771"/>
                    </a:cubicBezTo>
                    <a:cubicBezTo>
                      <a:pt x="1022" y="769"/>
                      <a:pt x="1026" y="769"/>
                      <a:pt x="1029" y="768"/>
                    </a:cubicBezTo>
                    <a:cubicBezTo>
                      <a:pt x="1031" y="767"/>
                      <a:pt x="1033" y="765"/>
                      <a:pt x="1035" y="765"/>
                    </a:cubicBezTo>
                    <a:cubicBezTo>
                      <a:pt x="1038" y="765"/>
                      <a:pt x="1040" y="769"/>
                      <a:pt x="1043" y="769"/>
                    </a:cubicBezTo>
                    <a:cubicBezTo>
                      <a:pt x="1050" y="769"/>
                      <a:pt x="1074" y="741"/>
                      <a:pt x="1072" y="733"/>
                    </a:cubicBezTo>
                    <a:cubicBezTo>
                      <a:pt x="1071" y="727"/>
                      <a:pt x="1060" y="727"/>
                      <a:pt x="1056" y="721"/>
                    </a:cubicBezTo>
                    <a:cubicBezTo>
                      <a:pt x="1053" y="717"/>
                      <a:pt x="1057" y="710"/>
                      <a:pt x="1055" y="706"/>
                    </a:cubicBezTo>
                    <a:cubicBezTo>
                      <a:pt x="1039" y="682"/>
                      <a:pt x="1025" y="692"/>
                      <a:pt x="1059" y="669"/>
                    </a:cubicBezTo>
                    <a:cubicBezTo>
                      <a:pt x="1056" y="663"/>
                      <a:pt x="1056" y="654"/>
                      <a:pt x="1050" y="651"/>
                    </a:cubicBezTo>
                    <a:cubicBezTo>
                      <a:pt x="1048" y="650"/>
                      <a:pt x="1045" y="655"/>
                      <a:pt x="1044" y="653"/>
                    </a:cubicBezTo>
                    <a:cubicBezTo>
                      <a:pt x="1043" y="650"/>
                      <a:pt x="1047" y="646"/>
                      <a:pt x="1046" y="643"/>
                    </a:cubicBezTo>
                    <a:cubicBezTo>
                      <a:pt x="1044" y="640"/>
                      <a:pt x="1038" y="643"/>
                      <a:pt x="1037" y="640"/>
                    </a:cubicBezTo>
                    <a:cubicBezTo>
                      <a:pt x="1036" y="640"/>
                      <a:pt x="1036" y="640"/>
                      <a:pt x="1036" y="639"/>
                    </a:cubicBezTo>
                    <a:cubicBezTo>
                      <a:pt x="1036" y="639"/>
                      <a:pt x="1036" y="639"/>
                      <a:pt x="1036" y="639"/>
                    </a:cubicBezTo>
                    <a:cubicBezTo>
                      <a:pt x="1036" y="639"/>
                      <a:pt x="1036" y="638"/>
                      <a:pt x="1036" y="638"/>
                    </a:cubicBezTo>
                    <a:cubicBezTo>
                      <a:pt x="1036" y="638"/>
                      <a:pt x="1036" y="638"/>
                      <a:pt x="1036" y="638"/>
                    </a:cubicBezTo>
                    <a:cubicBezTo>
                      <a:pt x="1036" y="637"/>
                      <a:pt x="1036" y="637"/>
                      <a:pt x="1036" y="636"/>
                    </a:cubicBezTo>
                    <a:cubicBezTo>
                      <a:pt x="1036" y="636"/>
                      <a:pt x="1036" y="636"/>
                      <a:pt x="1036" y="636"/>
                    </a:cubicBezTo>
                    <a:cubicBezTo>
                      <a:pt x="1036" y="635"/>
                      <a:pt x="1036" y="635"/>
                      <a:pt x="1036" y="634"/>
                    </a:cubicBezTo>
                    <a:cubicBezTo>
                      <a:pt x="1036" y="634"/>
                      <a:pt x="1036" y="634"/>
                      <a:pt x="1036" y="634"/>
                    </a:cubicBezTo>
                    <a:cubicBezTo>
                      <a:pt x="1036" y="633"/>
                      <a:pt x="1036" y="633"/>
                      <a:pt x="1036" y="633"/>
                    </a:cubicBezTo>
                    <a:cubicBezTo>
                      <a:pt x="1036" y="632"/>
                      <a:pt x="1036" y="632"/>
                      <a:pt x="1036" y="632"/>
                    </a:cubicBezTo>
                    <a:cubicBezTo>
                      <a:pt x="1036" y="631"/>
                      <a:pt x="1036" y="631"/>
                      <a:pt x="1037" y="630"/>
                    </a:cubicBezTo>
                    <a:cubicBezTo>
                      <a:pt x="1037" y="630"/>
                      <a:pt x="1037" y="630"/>
                      <a:pt x="1037" y="629"/>
                    </a:cubicBezTo>
                    <a:cubicBezTo>
                      <a:pt x="1037" y="629"/>
                      <a:pt x="1037" y="629"/>
                      <a:pt x="1037" y="628"/>
                    </a:cubicBezTo>
                    <a:cubicBezTo>
                      <a:pt x="1037" y="626"/>
                      <a:pt x="1038" y="624"/>
                      <a:pt x="1039" y="622"/>
                    </a:cubicBezTo>
                    <a:cubicBezTo>
                      <a:pt x="1039" y="620"/>
                      <a:pt x="1040" y="618"/>
                      <a:pt x="1040" y="616"/>
                    </a:cubicBezTo>
                    <a:cubicBezTo>
                      <a:pt x="1040" y="616"/>
                      <a:pt x="1040" y="616"/>
                      <a:pt x="1040" y="616"/>
                    </a:cubicBezTo>
                    <a:cubicBezTo>
                      <a:pt x="1040" y="614"/>
                      <a:pt x="1040" y="612"/>
                      <a:pt x="1040" y="610"/>
                    </a:cubicBezTo>
                    <a:cubicBezTo>
                      <a:pt x="1040" y="610"/>
                      <a:pt x="1040" y="610"/>
                      <a:pt x="1040" y="610"/>
                    </a:cubicBezTo>
                    <a:cubicBezTo>
                      <a:pt x="1040" y="609"/>
                      <a:pt x="1040" y="608"/>
                      <a:pt x="1039" y="608"/>
                    </a:cubicBezTo>
                    <a:cubicBezTo>
                      <a:pt x="1039" y="608"/>
                      <a:pt x="1039" y="608"/>
                      <a:pt x="1039" y="608"/>
                    </a:cubicBezTo>
                    <a:cubicBezTo>
                      <a:pt x="1038" y="603"/>
                      <a:pt x="1034" y="600"/>
                      <a:pt x="1023" y="600"/>
                    </a:cubicBezTo>
                    <a:cubicBezTo>
                      <a:pt x="1015" y="600"/>
                      <a:pt x="993" y="608"/>
                      <a:pt x="989" y="615"/>
                    </a:cubicBezTo>
                    <a:cubicBezTo>
                      <a:pt x="987" y="618"/>
                      <a:pt x="987" y="620"/>
                      <a:pt x="988" y="620"/>
                    </a:cubicBezTo>
                    <a:cubicBezTo>
                      <a:pt x="988" y="620"/>
                      <a:pt x="988" y="620"/>
                      <a:pt x="988" y="620"/>
                    </a:cubicBezTo>
                    <a:cubicBezTo>
                      <a:pt x="988" y="621"/>
                      <a:pt x="990" y="621"/>
                      <a:pt x="991" y="622"/>
                    </a:cubicBezTo>
                    <a:cubicBezTo>
                      <a:pt x="991" y="622"/>
                      <a:pt x="991" y="622"/>
                      <a:pt x="991" y="622"/>
                    </a:cubicBezTo>
                    <a:cubicBezTo>
                      <a:pt x="992" y="622"/>
                      <a:pt x="992" y="622"/>
                      <a:pt x="992" y="622"/>
                    </a:cubicBezTo>
                    <a:cubicBezTo>
                      <a:pt x="992" y="622"/>
                      <a:pt x="992" y="623"/>
                      <a:pt x="992" y="623"/>
                    </a:cubicBezTo>
                    <a:cubicBezTo>
                      <a:pt x="993" y="623"/>
                      <a:pt x="993" y="623"/>
                      <a:pt x="993" y="623"/>
                    </a:cubicBezTo>
                    <a:cubicBezTo>
                      <a:pt x="993" y="623"/>
                      <a:pt x="993" y="623"/>
                      <a:pt x="993" y="624"/>
                    </a:cubicBezTo>
                    <a:cubicBezTo>
                      <a:pt x="993" y="624"/>
                      <a:pt x="993" y="624"/>
                      <a:pt x="993" y="624"/>
                    </a:cubicBezTo>
                    <a:cubicBezTo>
                      <a:pt x="994" y="624"/>
                      <a:pt x="994" y="625"/>
                      <a:pt x="994" y="625"/>
                    </a:cubicBezTo>
                    <a:cubicBezTo>
                      <a:pt x="994" y="625"/>
                      <a:pt x="994" y="626"/>
                      <a:pt x="994" y="626"/>
                    </a:cubicBezTo>
                    <a:cubicBezTo>
                      <a:pt x="994" y="626"/>
                      <a:pt x="994" y="627"/>
                      <a:pt x="994" y="628"/>
                    </a:cubicBezTo>
                    <a:cubicBezTo>
                      <a:pt x="992" y="635"/>
                      <a:pt x="971" y="647"/>
                      <a:pt x="964" y="643"/>
                    </a:cubicBezTo>
                    <a:cubicBezTo>
                      <a:pt x="956" y="637"/>
                      <a:pt x="977" y="628"/>
                      <a:pt x="977" y="628"/>
                    </a:cubicBezTo>
                    <a:cubicBezTo>
                      <a:pt x="984" y="614"/>
                      <a:pt x="969" y="598"/>
                      <a:pt x="979" y="583"/>
                    </a:cubicBezTo>
                    <a:cubicBezTo>
                      <a:pt x="984" y="576"/>
                      <a:pt x="1004" y="570"/>
                      <a:pt x="1007" y="562"/>
                    </a:cubicBezTo>
                    <a:cubicBezTo>
                      <a:pt x="1007" y="562"/>
                      <a:pt x="1006" y="541"/>
                      <a:pt x="1006" y="541"/>
                    </a:cubicBezTo>
                    <a:cubicBezTo>
                      <a:pt x="1008" y="535"/>
                      <a:pt x="1025" y="534"/>
                      <a:pt x="1029" y="528"/>
                    </a:cubicBezTo>
                    <a:cubicBezTo>
                      <a:pt x="1035" y="519"/>
                      <a:pt x="1041" y="500"/>
                      <a:pt x="1052" y="494"/>
                    </a:cubicBezTo>
                    <a:cubicBezTo>
                      <a:pt x="1056" y="491"/>
                      <a:pt x="1062" y="499"/>
                      <a:pt x="1062" y="487"/>
                    </a:cubicBezTo>
                    <a:cubicBezTo>
                      <a:pt x="1062" y="482"/>
                      <a:pt x="1046" y="488"/>
                      <a:pt x="1046" y="487"/>
                    </a:cubicBezTo>
                    <a:cubicBezTo>
                      <a:pt x="1044" y="482"/>
                      <a:pt x="1056" y="480"/>
                      <a:pt x="1056" y="474"/>
                    </a:cubicBezTo>
                    <a:cubicBezTo>
                      <a:pt x="1056" y="472"/>
                      <a:pt x="1053" y="469"/>
                      <a:pt x="1055" y="468"/>
                    </a:cubicBezTo>
                    <a:cubicBezTo>
                      <a:pt x="1072" y="454"/>
                      <a:pt x="1071" y="497"/>
                      <a:pt x="1108" y="457"/>
                    </a:cubicBezTo>
                    <a:cubicBezTo>
                      <a:pt x="1095" y="452"/>
                      <a:pt x="1121" y="346"/>
                      <a:pt x="1127" y="326"/>
                    </a:cubicBezTo>
                    <a:cubicBezTo>
                      <a:pt x="1132" y="310"/>
                      <a:pt x="1160" y="299"/>
                      <a:pt x="1166" y="278"/>
                    </a:cubicBezTo>
                    <a:cubicBezTo>
                      <a:pt x="1167" y="275"/>
                      <a:pt x="1160" y="277"/>
                      <a:pt x="1157" y="276"/>
                    </a:cubicBezTo>
                    <a:cubicBezTo>
                      <a:pt x="1140" y="268"/>
                      <a:pt x="1118" y="274"/>
                      <a:pt x="1104" y="263"/>
                    </a:cubicBezTo>
                    <a:cubicBezTo>
                      <a:pt x="1101" y="261"/>
                      <a:pt x="1103" y="254"/>
                      <a:pt x="1099" y="252"/>
                    </a:cubicBezTo>
                    <a:cubicBezTo>
                      <a:pt x="1094" y="250"/>
                      <a:pt x="1061" y="262"/>
                      <a:pt x="1059" y="259"/>
                    </a:cubicBezTo>
                    <a:cubicBezTo>
                      <a:pt x="1058" y="257"/>
                      <a:pt x="1053" y="239"/>
                      <a:pt x="1043" y="246"/>
                    </a:cubicBezTo>
                    <a:cubicBezTo>
                      <a:pt x="1037" y="250"/>
                      <a:pt x="1046" y="260"/>
                      <a:pt x="1037" y="252"/>
                    </a:cubicBezTo>
                    <a:cubicBezTo>
                      <a:pt x="1024" y="243"/>
                      <a:pt x="1024" y="230"/>
                      <a:pt x="1016" y="221"/>
                    </a:cubicBezTo>
                    <a:cubicBezTo>
                      <a:pt x="1015" y="219"/>
                      <a:pt x="1012" y="218"/>
                      <a:pt x="1010" y="217"/>
                    </a:cubicBezTo>
                    <a:cubicBezTo>
                      <a:pt x="1008" y="217"/>
                      <a:pt x="1005" y="216"/>
                      <a:pt x="1004" y="215"/>
                    </a:cubicBezTo>
                    <a:cubicBezTo>
                      <a:pt x="1002" y="215"/>
                      <a:pt x="1001" y="215"/>
                      <a:pt x="1000" y="214"/>
                    </a:cubicBezTo>
                    <a:cubicBezTo>
                      <a:pt x="991" y="212"/>
                      <a:pt x="996" y="207"/>
                      <a:pt x="990" y="208"/>
                    </a:cubicBezTo>
                    <a:cubicBezTo>
                      <a:pt x="983" y="209"/>
                      <a:pt x="983" y="209"/>
                      <a:pt x="981" y="212"/>
                    </a:cubicBezTo>
                    <a:cubicBezTo>
                      <a:pt x="978" y="215"/>
                      <a:pt x="976" y="212"/>
                      <a:pt x="973" y="215"/>
                    </a:cubicBezTo>
                    <a:cubicBezTo>
                      <a:pt x="971" y="217"/>
                      <a:pt x="965" y="215"/>
                      <a:pt x="966" y="212"/>
                    </a:cubicBezTo>
                    <a:cubicBezTo>
                      <a:pt x="967" y="209"/>
                      <a:pt x="963" y="209"/>
                      <a:pt x="960" y="209"/>
                    </a:cubicBezTo>
                    <a:cubicBezTo>
                      <a:pt x="956" y="209"/>
                      <a:pt x="955" y="208"/>
                      <a:pt x="953" y="204"/>
                    </a:cubicBezTo>
                    <a:cubicBezTo>
                      <a:pt x="947" y="200"/>
                      <a:pt x="949" y="206"/>
                      <a:pt x="938" y="203"/>
                    </a:cubicBezTo>
                    <a:cubicBezTo>
                      <a:pt x="928" y="199"/>
                      <a:pt x="943" y="208"/>
                      <a:pt x="928" y="208"/>
                    </a:cubicBezTo>
                    <a:cubicBezTo>
                      <a:pt x="913" y="209"/>
                      <a:pt x="924" y="195"/>
                      <a:pt x="914" y="195"/>
                    </a:cubicBezTo>
                    <a:cubicBezTo>
                      <a:pt x="904" y="194"/>
                      <a:pt x="914" y="186"/>
                      <a:pt x="902" y="185"/>
                    </a:cubicBezTo>
                    <a:cubicBezTo>
                      <a:pt x="889" y="183"/>
                      <a:pt x="888" y="168"/>
                      <a:pt x="873" y="171"/>
                    </a:cubicBezTo>
                    <a:cubicBezTo>
                      <a:pt x="857" y="175"/>
                      <a:pt x="874" y="154"/>
                      <a:pt x="868" y="151"/>
                    </a:cubicBezTo>
                    <a:cubicBezTo>
                      <a:pt x="861" y="149"/>
                      <a:pt x="859" y="147"/>
                      <a:pt x="866" y="134"/>
                    </a:cubicBezTo>
                    <a:cubicBezTo>
                      <a:pt x="873" y="121"/>
                      <a:pt x="866" y="120"/>
                      <a:pt x="856" y="126"/>
                    </a:cubicBezTo>
                    <a:cubicBezTo>
                      <a:pt x="847" y="133"/>
                      <a:pt x="854" y="145"/>
                      <a:pt x="845" y="145"/>
                    </a:cubicBezTo>
                    <a:cubicBezTo>
                      <a:pt x="836" y="146"/>
                      <a:pt x="839" y="158"/>
                      <a:pt x="828" y="151"/>
                    </a:cubicBezTo>
                    <a:cubicBezTo>
                      <a:pt x="816" y="144"/>
                      <a:pt x="810" y="155"/>
                      <a:pt x="805" y="146"/>
                    </a:cubicBezTo>
                    <a:cubicBezTo>
                      <a:pt x="800" y="138"/>
                      <a:pt x="817" y="133"/>
                      <a:pt x="807" y="126"/>
                    </a:cubicBezTo>
                    <a:cubicBezTo>
                      <a:pt x="801" y="123"/>
                      <a:pt x="801" y="123"/>
                      <a:pt x="808" y="115"/>
                    </a:cubicBezTo>
                    <a:cubicBezTo>
                      <a:pt x="816" y="106"/>
                      <a:pt x="806" y="111"/>
                      <a:pt x="799" y="101"/>
                    </a:cubicBezTo>
                    <a:cubicBezTo>
                      <a:pt x="791" y="91"/>
                      <a:pt x="786" y="105"/>
                      <a:pt x="776" y="98"/>
                    </a:cubicBezTo>
                    <a:cubicBezTo>
                      <a:pt x="766" y="91"/>
                      <a:pt x="766" y="106"/>
                      <a:pt x="762" y="100"/>
                    </a:cubicBezTo>
                    <a:cubicBezTo>
                      <a:pt x="758" y="94"/>
                      <a:pt x="762" y="77"/>
                      <a:pt x="753" y="79"/>
                    </a:cubicBezTo>
                    <a:cubicBezTo>
                      <a:pt x="743" y="81"/>
                      <a:pt x="748" y="73"/>
                      <a:pt x="739" y="78"/>
                    </a:cubicBezTo>
                    <a:cubicBezTo>
                      <a:pt x="731" y="83"/>
                      <a:pt x="727" y="76"/>
                      <a:pt x="724" y="63"/>
                    </a:cubicBezTo>
                    <a:cubicBezTo>
                      <a:pt x="721" y="50"/>
                      <a:pt x="721" y="38"/>
                      <a:pt x="705" y="42"/>
                    </a:cubicBezTo>
                    <a:cubicBezTo>
                      <a:pt x="689" y="46"/>
                      <a:pt x="699" y="53"/>
                      <a:pt x="687" y="51"/>
                    </a:cubicBezTo>
                    <a:cubicBezTo>
                      <a:pt x="675" y="48"/>
                      <a:pt x="681" y="36"/>
                      <a:pt x="673" y="36"/>
                    </a:cubicBezTo>
                    <a:cubicBezTo>
                      <a:pt x="665" y="35"/>
                      <a:pt x="663" y="28"/>
                      <a:pt x="667" y="21"/>
                    </a:cubicBezTo>
                    <a:cubicBezTo>
                      <a:pt x="671" y="13"/>
                      <a:pt x="663" y="15"/>
                      <a:pt x="662" y="0"/>
                    </a:cubicBezTo>
                    <a:cubicBezTo>
                      <a:pt x="658" y="1"/>
                      <a:pt x="650" y="4"/>
                      <a:pt x="647" y="5"/>
                    </a:cubicBezTo>
                    <a:cubicBezTo>
                      <a:pt x="631" y="7"/>
                      <a:pt x="580" y="12"/>
                      <a:pt x="573" y="29"/>
                    </a:cubicBezTo>
                    <a:cubicBezTo>
                      <a:pt x="565" y="47"/>
                      <a:pt x="577" y="72"/>
                      <a:pt x="571" y="89"/>
                    </a:cubicBezTo>
                    <a:cubicBezTo>
                      <a:pt x="570" y="92"/>
                      <a:pt x="578" y="94"/>
                      <a:pt x="576" y="95"/>
                    </a:cubicBezTo>
                    <a:cubicBezTo>
                      <a:pt x="571" y="98"/>
                      <a:pt x="569" y="98"/>
                      <a:pt x="569" y="106"/>
                    </a:cubicBezTo>
                    <a:cubicBezTo>
                      <a:pt x="569" y="109"/>
                      <a:pt x="574" y="111"/>
                      <a:pt x="576" y="113"/>
                    </a:cubicBezTo>
                    <a:cubicBezTo>
                      <a:pt x="577" y="115"/>
                      <a:pt x="583" y="117"/>
                      <a:pt x="581" y="119"/>
                    </a:cubicBezTo>
                    <a:cubicBezTo>
                      <a:pt x="580" y="120"/>
                      <a:pt x="579" y="119"/>
                      <a:pt x="579" y="119"/>
                    </a:cubicBezTo>
                    <a:cubicBezTo>
                      <a:pt x="564" y="112"/>
                      <a:pt x="568" y="120"/>
                      <a:pt x="561" y="130"/>
                    </a:cubicBezTo>
                    <a:cubicBezTo>
                      <a:pt x="540" y="158"/>
                      <a:pt x="431" y="166"/>
                      <a:pt x="439" y="207"/>
                    </a:cubicBezTo>
                    <a:cubicBezTo>
                      <a:pt x="440" y="215"/>
                      <a:pt x="458" y="216"/>
                      <a:pt x="466" y="215"/>
                    </a:cubicBezTo>
                    <a:cubicBezTo>
                      <a:pt x="470" y="214"/>
                      <a:pt x="476" y="207"/>
                      <a:pt x="476" y="211"/>
                    </a:cubicBezTo>
                    <a:cubicBezTo>
                      <a:pt x="475" y="218"/>
                      <a:pt x="450" y="219"/>
                      <a:pt x="445" y="221"/>
                    </a:cubicBezTo>
                    <a:cubicBezTo>
                      <a:pt x="438" y="224"/>
                      <a:pt x="433" y="231"/>
                      <a:pt x="425" y="234"/>
                    </a:cubicBezTo>
                    <a:cubicBezTo>
                      <a:pt x="423" y="236"/>
                      <a:pt x="413" y="235"/>
                      <a:pt x="413" y="238"/>
                    </a:cubicBezTo>
                    <a:cubicBezTo>
                      <a:pt x="412" y="241"/>
                      <a:pt x="408" y="236"/>
                      <a:pt x="406" y="235"/>
                    </a:cubicBezTo>
                    <a:cubicBezTo>
                      <a:pt x="399" y="232"/>
                      <a:pt x="391" y="228"/>
                      <a:pt x="384" y="228"/>
                    </a:cubicBezTo>
                    <a:cubicBezTo>
                      <a:pt x="370" y="229"/>
                      <a:pt x="357" y="223"/>
                      <a:pt x="345" y="222"/>
                    </a:cubicBezTo>
                    <a:cubicBezTo>
                      <a:pt x="340" y="222"/>
                      <a:pt x="335" y="233"/>
                      <a:pt x="330" y="230"/>
                    </a:cubicBezTo>
                    <a:cubicBezTo>
                      <a:pt x="315" y="220"/>
                      <a:pt x="323" y="188"/>
                      <a:pt x="320" y="184"/>
                    </a:cubicBezTo>
                    <a:cubicBezTo>
                      <a:pt x="315" y="177"/>
                      <a:pt x="289" y="189"/>
                      <a:pt x="284" y="188"/>
                    </a:cubicBezTo>
                    <a:cubicBezTo>
                      <a:pt x="281" y="188"/>
                      <a:pt x="261" y="177"/>
                      <a:pt x="259" y="180"/>
                    </a:cubicBezTo>
                    <a:cubicBezTo>
                      <a:pt x="254" y="187"/>
                      <a:pt x="265" y="186"/>
                      <a:pt x="267" y="189"/>
                    </a:cubicBezTo>
                    <a:cubicBezTo>
                      <a:pt x="270" y="197"/>
                      <a:pt x="266" y="205"/>
                      <a:pt x="268" y="212"/>
                    </a:cubicBezTo>
                    <a:cubicBezTo>
                      <a:pt x="268" y="215"/>
                      <a:pt x="271" y="227"/>
                      <a:pt x="273" y="225"/>
                    </a:cubicBezTo>
                    <a:cubicBezTo>
                      <a:pt x="274" y="223"/>
                      <a:pt x="277" y="231"/>
                      <a:pt x="279" y="231"/>
                    </a:cubicBezTo>
                    <a:cubicBezTo>
                      <a:pt x="282" y="231"/>
                      <a:pt x="281" y="235"/>
                      <a:pt x="286" y="245"/>
                    </a:cubicBezTo>
                    <a:cubicBezTo>
                      <a:pt x="286" y="245"/>
                      <a:pt x="294" y="242"/>
                      <a:pt x="294" y="246"/>
                    </a:cubicBezTo>
                    <a:cubicBezTo>
                      <a:pt x="294" y="246"/>
                      <a:pt x="289" y="245"/>
                      <a:pt x="288" y="246"/>
                    </a:cubicBezTo>
                    <a:cubicBezTo>
                      <a:pt x="287" y="268"/>
                      <a:pt x="304" y="277"/>
                      <a:pt x="289" y="295"/>
                    </a:cubicBezTo>
                    <a:cubicBezTo>
                      <a:pt x="288" y="296"/>
                      <a:pt x="299" y="319"/>
                      <a:pt x="305" y="317"/>
                    </a:cubicBezTo>
                    <a:cubicBezTo>
                      <a:pt x="305" y="317"/>
                      <a:pt x="312" y="320"/>
                      <a:pt x="311" y="321"/>
                    </a:cubicBezTo>
                    <a:cubicBezTo>
                      <a:pt x="309" y="323"/>
                      <a:pt x="271" y="326"/>
                      <a:pt x="268" y="324"/>
                    </a:cubicBezTo>
                    <a:cubicBezTo>
                      <a:pt x="263" y="320"/>
                      <a:pt x="268" y="316"/>
                      <a:pt x="267" y="312"/>
                    </a:cubicBezTo>
                    <a:cubicBezTo>
                      <a:pt x="267" y="310"/>
                      <a:pt x="265" y="314"/>
                      <a:pt x="263" y="314"/>
                    </a:cubicBezTo>
                    <a:cubicBezTo>
                      <a:pt x="260" y="315"/>
                      <a:pt x="258" y="313"/>
                      <a:pt x="255" y="315"/>
                    </a:cubicBezTo>
                    <a:cubicBezTo>
                      <a:pt x="244" y="322"/>
                      <a:pt x="265" y="332"/>
                      <a:pt x="256" y="337"/>
                    </a:cubicBezTo>
                    <a:cubicBezTo>
                      <a:pt x="251" y="340"/>
                      <a:pt x="255" y="322"/>
                      <a:pt x="249" y="320"/>
                    </a:cubicBezTo>
                    <a:cubicBezTo>
                      <a:pt x="233" y="317"/>
                      <a:pt x="244" y="337"/>
                      <a:pt x="232" y="321"/>
                    </a:cubicBezTo>
                    <a:cubicBezTo>
                      <a:pt x="231" y="321"/>
                      <a:pt x="222" y="324"/>
                      <a:pt x="226" y="321"/>
                    </a:cubicBezTo>
                    <a:cubicBezTo>
                      <a:pt x="229" y="319"/>
                      <a:pt x="226" y="314"/>
                      <a:pt x="226" y="314"/>
                    </a:cubicBezTo>
                    <a:cubicBezTo>
                      <a:pt x="218" y="317"/>
                      <a:pt x="204" y="335"/>
                      <a:pt x="194" y="334"/>
                    </a:cubicBezTo>
                    <a:cubicBezTo>
                      <a:pt x="192" y="334"/>
                      <a:pt x="193" y="339"/>
                      <a:pt x="193" y="339"/>
                    </a:cubicBezTo>
                    <a:cubicBezTo>
                      <a:pt x="183" y="336"/>
                      <a:pt x="177" y="309"/>
                      <a:pt x="169" y="304"/>
                    </a:cubicBezTo>
                    <a:cubicBezTo>
                      <a:pt x="162" y="299"/>
                      <a:pt x="165" y="300"/>
                      <a:pt x="160" y="297"/>
                    </a:cubicBezTo>
                    <a:cubicBezTo>
                      <a:pt x="158" y="296"/>
                      <a:pt x="154" y="307"/>
                      <a:pt x="153" y="306"/>
                    </a:cubicBezTo>
                    <a:cubicBezTo>
                      <a:pt x="152" y="304"/>
                      <a:pt x="161" y="294"/>
                      <a:pt x="157" y="290"/>
                    </a:cubicBezTo>
                    <a:cubicBezTo>
                      <a:pt x="153" y="287"/>
                      <a:pt x="145" y="306"/>
                      <a:pt x="144" y="300"/>
                    </a:cubicBezTo>
                    <a:cubicBezTo>
                      <a:pt x="144" y="298"/>
                      <a:pt x="148" y="293"/>
                      <a:pt x="145" y="291"/>
                    </a:cubicBezTo>
                    <a:cubicBezTo>
                      <a:pt x="142" y="289"/>
                      <a:pt x="138" y="293"/>
                      <a:pt x="135" y="296"/>
                    </a:cubicBezTo>
                    <a:cubicBezTo>
                      <a:pt x="126" y="302"/>
                      <a:pt x="122" y="291"/>
                      <a:pt x="117" y="297"/>
                    </a:cubicBezTo>
                    <a:cubicBezTo>
                      <a:pt x="113" y="301"/>
                      <a:pt x="117" y="315"/>
                      <a:pt x="113" y="316"/>
                    </a:cubicBezTo>
                    <a:cubicBezTo>
                      <a:pt x="96" y="321"/>
                      <a:pt x="94" y="301"/>
                      <a:pt x="89" y="322"/>
                    </a:cubicBezTo>
                    <a:cubicBezTo>
                      <a:pt x="88" y="325"/>
                      <a:pt x="85" y="314"/>
                      <a:pt x="82" y="316"/>
                    </a:cubicBezTo>
                    <a:cubicBezTo>
                      <a:pt x="82" y="316"/>
                      <a:pt x="80" y="319"/>
                      <a:pt x="80" y="319"/>
                    </a:cubicBezTo>
                    <a:cubicBezTo>
                      <a:pt x="79" y="318"/>
                      <a:pt x="79" y="309"/>
                      <a:pt x="78" y="309"/>
                    </a:cubicBezTo>
                    <a:cubicBezTo>
                      <a:pt x="77" y="308"/>
                      <a:pt x="54" y="322"/>
                      <a:pt x="48" y="318"/>
                    </a:cubicBezTo>
                    <a:cubicBezTo>
                      <a:pt x="47" y="316"/>
                      <a:pt x="0" y="330"/>
                      <a:pt x="5" y="349"/>
                    </a:cubicBezTo>
                    <a:cubicBezTo>
                      <a:pt x="12" y="378"/>
                      <a:pt x="29" y="342"/>
                      <a:pt x="49" y="348"/>
                    </a:cubicBezTo>
                    <a:cubicBezTo>
                      <a:pt x="55" y="350"/>
                      <a:pt x="33" y="355"/>
                      <a:pt x="35" y="361"/>
                    </a:cubicBezTo>
                    <a:cubicBezTo>
                      <a:pt x="35" y="362"/>
                      <a:pt x="39" y="359"/>
                      <a:pt x="40" y="359"/>
                    </a:cubicBezTo>
                    <a:cubicBezTo>
                      <a:pt x="40" y="360"/>
                      <a:pt x="45" y="362"/>
                      <a:pt x="48" y="362"/>
                    </a:cubicBezTo>
                    <a:cubicBezTo>
                      <a:pt x="51" y="362"/>
                      <a:pt x="61" y="361"/>
                      <a:pt x="59" y="365"/>
                    </a:cubicBezTo>
                    <a:cubicBezTo>
                      <a:pt x="51" y="379"/>
                      <a:pt x="20" y="351"/>
                      <a:pt x="20" y="367"/>
                    </a:cubicBezTo>
                    <a:cubicBezTo>
                      <a:pt x="20" y="372"/>
                      <a:pt x="27" y="369"/>
                      <a:pt x="27" y="371"/>
                    </a:cubicBezTo>
                    <a:cubicBezTo>
                      <a:pt x="27" y="371"/>
                      <a:pt x="25" y="381"/>
                      <a:pt x="26" y="381"/>
                    </a:cubicBezTo>
                    <a:cubicBezTo>
                      <a:pt x="29" y="382"/>
                      <a:pt x="37" y="362"/>
                      <a:pt x="51" y="383"/>
                    </a:cubicBezTo>
                    <a:cubicBezTo>
                      <a:pt x="51" y="384"/>
                      <a:pt x="51" y="388"/>
                      <a:pt x="50" y="389"/>
                    </a:cubicBezTo>
                    <a:cubicBezTo>
                      <a:pt x="49" y="391"/>
                      <a:pt x="8" y="392"/>
                      <a:pt x="11" y="398"/>
                    </a:cubicBezTo>
                    <a:cubicBezTo>
                      <a:pt x="12" y="402"/>
                      <a:pt x="32" y="403"/>
                      <a:pt x="37" y="407"/>
                    </a:cubicBezTo>
                    <a:cubicBezTo>
                      <a:pt x="43" y="413"/>
                      <a:pt x="42" y="428"/>
                      <a:pt x="43" y="429"/>
                    </a:cubicBezTo>
                    <a:cubicBezTo>
                      <a:pt x="49" y="434"/>
                      <a:pt x="62" y="424"/>
                      <a:pt x="60" y="424"/>
                    </a:cubicBezTo>
                    <a:cubicBezTo>
                      <a:pt x="54" y="424"/>
                      <a:pt x="67" y="420"/>
                      <a:pt x="63" y="417"/>
                    </a:cubicBezTo>
                    <a:cubicBezTo>
                      <a:pt x="57" y="412"/>
                      <a:pt x="72" y="423"/>
                      <a:pt x="72" y="422"/>
                    </a:cubicBezTo>
                    <a:cubicBezTo>
                      <a:pt x="76" y="413"/>
                      <a:pt x="80" y="421"/>
                      <a:pt x="89" y="430"/>
                    </a:cubicBezTo>
                    <a:cubicBezTo>
                      <a:pt x="89" y="430"/>
                      <a:pt x="91" y="429"/>
                      <a:pt x="91" y="429"/>
                    </a:cubicBezTo>
                    <a:cubicBezTo>
                      <a:pt x="93" y="429"/>
                      <a:pt x="94" y="431"/>
                      <a:pt x="97" y="430"/>
                    </a:cubicBezTo>
                    <a:cubicBezTo>
                      <a:pt x="109" y="426"/>
                      <a:pt x="119" y="443"/>
                      <a:pt x="130" y="442"/>
                    </a:cubicBezTo>
                    <a:cubicBezTo>
                      <a:pt x="134" y="441"/>
                      <a:pt x="138" y="427"/>
                      <a:pt x="139" y="432"/>
                    </a:cubicBezTo>
                    <a:cubicBezTo>
                      <a:pt x="140" y="432"/>
                      <a:pt x="138" y="435"/>
                      <a:pt x="138" y="435"/>
                    </a:cubicBezTo>
                    <a:cubicBezTo>
                      <a:pt x="137" y="437"/>
                      <a:pt x="132" y="440"/>
                      <a:pt x="133" y="441"/>
                    </a:cubicBezTo>
                    <a:cubicBezTo>
                      <a:pt x="134" y="442"/>
                      <a:pt x="137" y="440"/>
                      <a:pt x="139" y="443"/>
                    </a:cubicBezTo>
                    <a:cubicBezTo>
                      <a:pt x="141" y="445"/>
                      <a:pt x="132" y="440"/>
                      <a:pt x="133" y="443"/>
                    </a:cubicBezTo>
                    <a:cubicBezTo>
                      <a:pt x="133" y="446"/>
                      <a:pt x="142" y="447"/>
                      <a:pt x="147" y="445"/>
                    </a:cubicBezTo>
                    <a:cubicBezTo>
                      <a:pt x="147" y="444"/>
                      <a:pt x="148" y="444"/>
                      <a:pt x="149" y="443"/>
                    </a:cubicBezTo>
                    <a:cubicBezTo>
                      <a:pt x="150" y="442"/>
                      <a:pt x="150" y="440"/>
                      <a:pt x="148" y="437"/>
                    </a:cubicBezTo>
                    <a:cubicBezTo>
                      <a:pt x="147" y="436"/>
                      <a:pt x="151" y="435"/>
                      <a:pt x="152" y="436"/>
                    </a:cubicBezTo>
                    <a:cubicBezTo>
                      <a:pt x="157" y="441"/>
                      <a:pt x="153" y="442"/>
                      <a:pt x="149" y="443"/>
                    </a:cubicBezTo>
                    <a:cubicBezTo>
                      <a:pt x="149" y="444"/>
                      <a:pt x="148" y="445"/>
                      <a:pt x="147" y="445"/>
                    </a:cubicBezTo>
                    <a:cubicBezTo>
                      <a:pt x="147" y="446"/>
                      <a:pt x="147" y="446"/>
                      <a:pt x="147" y="447"/>
                    </a:cubicBezTo>
                    <a:cubicBezTo>
                      <a:pt x="147" y="451"/>
                      <a:pt x="151" y="453"/>
                      <a:pt x="152" y="457"/>
                    </a:cubicBezTo>
                    <a:cubicBezTo>
                      <a:pt x="152" y="456"/>
                      <a:pt x="153" y="455"/>
                      <a:pt x="153" y="455"/>
                    </a:cubicBezTo>
                    <a:cubicBezTo>
                      <a:pt x="156" y="454"/>
                      <a:pt x="163" y="458"/>
                      <a:pt x="162" y="456"/>
                    </a:cubicBezTo>
                    <a:cubicBezTo>
                      <a:pt x="162" y="454"/>
                      <a:pt x="166" y="456"/>
                      <a:pt x="167" y="458"/>
                    </a:cubicBezTo>
                    <a:cubicBezTo>
                      <a:pt x="167" y="455"/>
                      <a:pt x="166" y="446"/>
                      <a:pt x="167" y="448"/>
                    </a:cubicBezTo>
                    <a:cubicBezTo>
                      <a:pt x="175" y="460"/>
                      <a:pt x="182" y="450"/>
                      <a:pt x="187" y="453"/>
                    </a:cubicBezTo>
                    <a:cubicBezTo>
                      <a:pt x="191" y="457"/>
                      <a:pt x="194" y="449"/>
                      <a:pt x="193" y="453"/>
                    </a:cubicBezTo>
                    <a:cubicBezTo>
                      <a:pt x="191" y="466"/>
                      <a:pt x="180" y="458"/>
                      <a:pt x="178" y="462"/>
                    </a:cubicBezTo>
                    <a:cubicBezTo>
                      <a:pt x="177" y="463"/>
                      <a:pt x="171" y="460"/>
                      <a:pt x="172" y="461"/>
                    </a:cubicBezTo>
                    <a:cubicBezTo>
                      <a:pt x="181" y="478"/>
                      <a:pt x="203" y="459"/>
                      <a:pt x="209" y="465"/>
                    </a:cubicBezTo>
                    <a:cubicBezTo>
                      <a:pt x="211" y="466"/>
                      <a:pt x="221" y="467"/>
                      <a:pt x="221" y="467"/>
                    </a:cubicBezTo>
                    <a:cubicBezTo>
                      <a:pt x="223" y="471"/>
                      <a:pt x="212" y="468"/>
                      <a:pt x="210" y="472"/>
                    </a:cubicBezTo>
                    <a:cubicBezTo>
                      <a:pt x="209" y="476"/>
                      <a:pt x="218" y="476"/>
                      <a:pt x="219" y="479"/>
                    </a:cubicBezTo>
                    <a:cubicBezTo>
                      <a:pt x="219" y="480"/>
                      <a:pt x="208" y="479"/>
                      <a:pt x="205" y="483"/>
                    </a:cubicBezTo>
                    <a:cubicBezTo>
                      <a:pt x="203" y="486"/>
                      <a:pt x="209" y="493"/>
                      <a:pt x="210" y="491"/>
                    </a:cubicBezTo>
                    <a:cubicBezTo>
                      <a:pt x="211" y="488"/>
                      <a:pt x="211" y="489"/>
                      <a:pt x="214" y="492"/>
                    </a:cubicBezTo>
                    <a:cubicBezTo>
                      <a:pt x="219" y="497"/>
                      <a:pt x="205" y="493"/>
                      <a:pt x="206" y="494"/>
                    </a:cubicBezTo>
                    <a:cubicBezTo>
                      <a:pt x="213" y="503"/>
                      <a:pt x="226" y="498"/>
                      <a:pt x="241" y="495"/>
                    </a:cubicBezTo>
                    <a:cubicBezTo>
                      <a:pt x="245" y="492"/>
                      <a:pt x="249" y="492"/>
                      <a:pt x="254" y="494"/>
                    </a:cubicBezTo>
                    <a:cubicBezTo>
                      <a:pt x="262" y="495"/>
                      <a:pt x="270" y="497"/>
                      <a:pt x="278" y="505"/>
                    </a:cubicBezTo>
                    <a:cubicBezTo>
                      <a:pt x="278" y="505"/>
                      <a:pt x="276" y="506"/>
                      <a:pt x="276" y="506"/>
                    </a:cubicBezTo>
                    <a:cubicBezTo>
                      <a:pt x="271" y="506"/>
                      <a:pt x="262" y="498"/>
                      <a:pt x="254" y="494"/>
                    </a:cubicBezTo>
                    <a:cubicBezTo>
                      <a:pt x="250" y="494"/>
                      <a:pt x="245" y="494"/>
                      <a:pt x="241" y="495"/>
                    </a:cubicBezTo>
                    <a:cubicBezTo>
                      <a:pt x="241" y="496"/>
                      <a:pt x="240" y="497"/>
                      <a:pt x="239" y="498"/>
                    </a:cubicBezTo>
                    <a:cubicBezTo>
                      <a:pt x="237" y="501"/>
                      <a:pt x="240" y="505"/>
                      <a:pt x="240" y="508"/>
                    </a:cubicBezTo>
                    <a:cubicBezTo>
                      <a:pt x="239" y="513"/>
                      <a:pt x="233" y="510"/>
                      <a:pt x="232" y="514"/>
                    </a:cubicBezTo>
                    <a:cubicBezTo>
                      <a:pt x="232" y="515"/>
                      <a:pt x="237" y="516"/>
                      <a:pt x="237" y="516"/>
                    </a:cubicBezTo>
                    <a:cubicBezTo>
                      <a:pt x="244" y="517"/>
                      <a:pt x="252" y="520"/>
                      <a:pt x="255" y="527"/>
                    </a:cubicBezTo>
                    <a:cubicBezTo>
                      <a:pt x="258" y="535"/>
                      <a:pt x="238" y="542"/>
                      <a:pt x="242" y="553"/>
                    </a:cubicBezTo>
                    <a:cubicBezTo>
                      <a:pt x="246" y="565"/>
                      <a:pt x="266" y="582"/>
                      <a:pt x="274" y="596"/>
                    </a:cubicBezTo>
                    <a:cubicBezTo>
                      <a:pt x="278" y="602"/>
                      <a:pt x="316" y="620"/>
                      <a:pt x="322" y="624"/>
                    </a:cubicBezTo>
                    <a:cubicBezTo>
                      <a:pt x="326" y="626"/>
                      <a:pt x="332" y="616"/>
                      <a:pt x="333" y="620"/>
                    </a:cubicBezTo>
                    <a:cubicBezTo>
                      <a:pt x="336" y="629"/>
                      <a:pt x="325" y="629"/>
                      <a:pt x="324" y="638"/>
                    </a:cubicBezTo>
                    <a:cubicBezTo>
                      <a:pt x="324" y="642"/>
                      <a:pt x="329" y="638"/>
                      <a:pt x="330" y="640"/>
                    </a:cubicBezTo>
                    <a:cubicBezTo>
                      <a:pt x="338" y="658"/>
                      <a:pt x="338" y="663"/>
                      <a:pt x="330" y="676"/>
                    </a:cubicBezTo>
                    <a:cubicBezTo>
                      <a:pt x="327" y="680"/>
                      <a:pt x="335" y="689"/>
                      <a:pt x="338" y="691"/>
                    </a:cubicBezTo>
                    <a:cubicBezTo>
                      <a:pt x="340" y="693"/>
                      <a:pt x="346" y="697"/>
                      <a:pt x="344" y="696"/>
                    </a:cubicBezTo>
                    <a:cubicBezTo>
                      <a:pt x="337" y="692"/>
                      <a:pt x="315" y="675"/>
                      <a:pt x="321" y="697"/>
                    </a:cubicBezTo>
                    <a:cubicBezTo>
                      <a:pt x="322" y="699"/>
                      <a:pt x="354" y="717"/>
                      <a:pt x="360" y="725"/>
                    </a:cubicBezTo>
                    <a:cubicBezTo>
                      <a:pt x="372" y="739"/>
                      <a:pt x="367" y="756"/>
                      <a:pt x="372" y="771"/>
                    </a:cubicBezTo>
                    <a:cubicBezTo>
                      <a:pt x="374" y="775"/>
                      <a:pt x="388" y="786"/>
                      <a:pt x="388" y="787"/>
                    </a:cubicBezTo>
                    <a:cubicBezTo>
                      <a:pt x="386" y="789"/>
                      <a:pt x="377" y="782"/>
                      <a:pt x="380" y="784"/>
                    </a:cubicBezTo>
                    <a:cubicBezTo>
                      <a:pt x="384" y="787"/>
                      <a:pt x="389" y="802"/>
                      <a:pt x="384" y="800"/>
                    </a:cubicBezTo>
                    <a:cubicBezTo>
                      <a:pt x="381" y="799"/>
                      <a:pt x="382" y="792"/>
                      <a:pt x="382" y="790"/>
                    </a:cubicBezTo>
                    <a:cubicBezTo>
                      <a:pt x="382" y="789"/>
                      <a:pt x="382" y="789"/>
                      <a:pt x="382" y="788"/>
                    </a:cubicBezTo>
                    <a:cubicBezTo>
                      <a:pt x="381" y="783"/>
                      <a:pt x="372" y="780"/>
                      <a:pt x="370" y="774"/>
                    </a:cubicBezTo>
                    <a:cubicBezTo>
                      <a:pt x="365" y="763"/>
                      <a:pt x="367" y="751"/>
                      <a:pt x="360" y="740"/>
                    </a:cubicBezTo>
                    <a:cubicBezTo>
                      <a:pt x="355" y="732"/>
                      <a:pt x="341" y="728"/>
                      <a:pt x="337" y="720"/>
                    </a:cubicBezTo>
                    <a:cubicBezTo>
                      <a:pt x="337" y="719"/>
                      <a:pt x="340" y="713"/>
                      <a:pt x="336" y="714"/>
                    </a:cubicBezTo>
                    <a:cubicBezTo>
                      <a:pt x="332" y="716"/>
                      <a:pt x="317" y="819"/>
                      <a:pt x="319" y="833"/>
                    </a:cubicBezTo>
                    <a:cubicBezTo>
                      <a:pt x="320" y="840"/>
                      <a:pt x="321" y="815"/>
                      <a:pt x="328" y="814"/>
                    </a:cubicBezTo>
                    <a:cubicBezTo>
                      <a:pt x="331" y="814"/>
                      <a:pt x="340" y="826"/>
                      <a:pt x="340" y="827"/>
                    </a:cubicBezTo>
                    <a:cubicBezTo>
                      <a:pt x="339" y="828"/>
                      <a:pt x="323" y="827"/>
                      <a:pt x="320" y="842"/>
                    </a:cubicBezTo>
                    <a:cubicBezTo>
                      <a:pt x="313" y="875"/>
                      <a:pt x="316" y="960"/>
                      <a:pt x="289" y="982"/>
                    </a:cubicBezTo>
                    <a:cubicBezTo>
                      <a:pt x="286" y="984"/>
                      <a:pt x="281" y="986"/>
                      <a:pt x="276" y="988"/>
                    </a:cubicBezTo>
                    <a:cubicBezTo>
                      <a:pt x="280" y="991"/>
                      <a:pt x="291" y="1001"/>
                      <a:pt x="295" y="1001"/>
                    </a:cubicBezTo>
                    <a:cubicBezTo>
                      <a:pt x="296" y="1001"/>
                      <a:pt x="305" y="994"/>
                      <a:pt x="310" y="1001"/>
                    </a:cubicBezTo>
                    <a:cubicBezTo>
                      <a:pt x="316" y="1009"/>
                      <a:pt x="300" y="1026"/>
                      <a:pt x="307" y="1028"/>
                    </a:cubicBezTo>
                    <a:cubicBezTo>
                      <a:pt x="313" y="1030"/>
                      <a:pt x="317" y="1018"/>
                      <a:pt x="319" y="1020"/>
                    </a:cubicBezTo>
                    <a:cubicBezTo>
                      <a:pt x="341" y="1043"/>
                      <a:pt x="348" y="1027"/>
                      <a:pt x="368" y="1038"/>
                    </a:cubicBezTo>
                    <a:cubicBezTo>
                      <a:pt x="374" y="1042"/>
                      <a:pt x="375" y="1056"/>
                      <a:pt x="381" y="1059"/>
                    </a:cubicBezTo>
                    <a:cubicBezTo>
                      <a:pt x="393" y="1065"/>
                      <a:pt x="406" y="1049"/>
                      <a:pt x="419" y="1057"/>
                    </a:cubicBezTo>
                    <a:cubicBezTo>
                      <a:pt x="427" y="1062"/>
                      <a:pt x="422" y="1073"/>
                      <a:pt x="435" y="1074"/>
                    </a:cubicBezTo>
                    <a:cubicBezTo>
                      <a:pt x="435" y="1074"/>
                      <a:pt x="448" y="1067"/>
                      <a:pt x="448" y="1067"/>
                    </a:cubicBezTo>
                    <a:cubicBezTo>
                      <a:pt x="463" y="1067"/>
                      <a:pt x="478" y="1074"/>
                      <a:pt x="496" y="1072"/>
                    </a:cubicBezTo>
                    <a:cubicBezTo>
                      <a:pt x="499" y="1071"/>
                      <a:pt x="488" y="1052"/>
                      <a:pt x="500" y="1051"/>
                    </a:cubicBezTo>
                    <a:cubicBezTo>
                      <a:pt x="515" y="1049"/>
                      <a:pt x="561" y="1078"/>
                      <a:pt x="566" y="1089"/>
                    </a:cubicBezTo>
                    <a:cubicBezTo>
                      <a:pt x="571" y="1066"/>
                      <a:pt x="597" y="1080"/>
                      <a:pt x="586" y="1099"/>
                    </a:cubicBezTo>
                    <a:cubicBezTo>
                      <a:pt x="587" y="1099"/>
                      <a:pt x="587" y="1099"/>
                      <a:pt x="586" y="1099"/>
                    </a:cubicBezTo>
                    <a:cubicBezTo>
                      <a:pt x="592" y="1101"/>
                      <a:pt x="605" y="1109"/>
                      <a:pt x="612" y="1113"/>
                    </a:cubicBezTo>
                    <a:cubicBezTo>
                      <a:pt x="613" y="1114"/>
                      <a:pt x="614" y="1114"/>
                      <a:pt x="615" y="1114"/>
                    </a:cubicBezTo>
                    <a:cubicBezTo>
                      <a:pt x="615" y="1115"/>
                      <a:pt x="615" y="1115"/>
                      <a:pt x="616" y="1115"/>
                    </a:cubicBezTo>
                    <a:cubicBezTo>
                      <a:pt x="616" y="1115"/>
                      <a:pt x="616" y="1115"/>
                      <a:pt x="616" y="1115"/>
                    </a:cubicBezTo>
                    <a:cubicBezTo>
                      <a:pt x="638" y="1115"/>
                      <a:pt x="634" y="1106"/>
                      <a:pt x="660" y="1115"/>
                    </a:cubicBezTo>
                    <a:cubicBezTo>
                      <a:pt x="662" y="1116"/>
                      <a:pt x="664" y="1116"/>
                      <a:pt x="666" y="1117"/>
                    </a:cubicBezTo>
                    <a:cubicBezTo>
                      <a:pt x="668" y="1118"/>
                      <a:pt x="671" y="1121"/>
                      <a:pt x="673" y="1119"/>
                    </a:cubicBezTo>
                    <a:cubicBezTo>
                      <a:pt x="675" y="1117"/>
                      <a:pt x="672" y="1112"/>
                      <a:pt x="674" y="1109"/>
                    </a:cubicBezTo>
                    <a:cubicBezTo>
                      <a:pt x="683" y="1098"/>
                      <a:pt x="703" y="1104"/>
                      <a:pt x="714" y="1106"/>
                    </a:cubicBezTo>
                    <a:cubicBezTo>
                      <a:pt x="709" y="1096"/>
                      <a:pt x="704" y="1081"/>
                      <a:pt x="704" y="1076"/>
                    </a:cubicBezTo>
                    <a:cubicBezTo>
                      <a:pt x="703" y="1074"/>
                      <a:pt x="709" y="1067"/>
                      <a:pt x="707" y="1063"/>
                    </a:cubicBezTo>
                    <a:cubicBezTo>
                      <a:pt x="706" y="1058"/>
                      <a:pt x="699" y="1062"/>
                      <a:pt x="699" y="1056"/>
                    </a:cubicBezTo>
                    <a:cubicBezTo>
                      <a:pt x="699" y="1052"/>
                      <a:pt x="707" y="1052"/>
                      <a:pt x="708" y="1048"/>
                    </a:cubicBezTo>
                    <a:cubicBezTo>
                      <a:pt x="710" y="1045"/>
                      <a:pt x="709" y="1043"/>
                      <a:pt x="708" y="1042"/>
                    </a:cubicBezTo>
                    <a:cubicBezTo>
                      <a:pt x="708" y="1043"/>
                      <a:pt x="707" y="1043"/>
                      <a:pt x="706" y="1043"/>
                    </a:cubicBezTo>
                    <a:cubicBezTo>
                      <a:pt x="701" y="1044"/>
                      <a:pt x="706" y="1041"/>
                      <a:pt x="708" y="1042"/>
                    </a:cubicBezTo>
                    <a:cubicBezTo>
                      <a:pt x="715" y="1038"/>
                      <a:pt x="705" y="1012"/>
                      <a:pt x="710" y="1024"/>
                    </a:cubicBezTo>
                    <a:cubicBezTo>
                      <a:pt x="710" y="1026"/>
                      <a:pt x="729" y="1005"/>
                      <a:pt x="735" y="1001"/>
                    </a:cubicBezTo>
                    <a:cubicBezTo>
                      <a:pt x="738" y="999"/>
                      <a:pt x="744" y="1002"/>
                      <a:pt x="746" y="1001"/>
                    </a:cubicBezTo>
                    <a:cubicBezTo>
                      <a:pt x="757" y="991"/>
                      <a:pt x="765" y="981"/>
                      <a:pt x="778" y="972"/>
                    </a:cubicBezTo>
                    <a:cubicBezTo>
                      <a:pt x="779" y="972"/>
                      <a:pt x="784" y="968"/>
                      <a:pt x="783" y="967"/>
                    </a:cubicBezTo>
                    <a:cubicBezTo>
                      <a:pt x="783" y="967"/>
                      <a:pt x="763" y="984"/>
                      <a:pt x="762" y="982"/>
                    </a:cubicBezTo>
                    <a:cubicBezTo>
                      <a:pt x="762" y="980"/>
                      <a:pt x="765" y="980"/>
                      <a:pt x="766" y="980"/>
                    </a:cubicBezTo>
                    <a:cubicBezTo>
                      <a:pt x="774" y="976"/>
                      <a:pt x="785" y="956"/>
                      <a:pt x="797" y="960"/>
                    </a:cubicBezTo>
                    <a:cubicBezTo>
                      <a:pt x="798" y="961"/>
                      <a:pt x="796" y="963"/>
                      <a:pt x="796" y="964"/>
                    </a:cubicBezTo>
                    <a:cubicBezTo>
                      <a:pt x="794" y="965"/>
                      <a:pt x="791" y="964"/>
                      <a:pt x="788" y="965"/>
                    </a:cubicBezTo>
                    <a:cubicBezTo>
                      <a:pt x="788" y="965"/>
                      <a:pt x="787" y="966"/>
                      <a:pt x="786" y="966"/>
                    </a:cubicBezTo>
                    <a:cubicBezTo>
                      <a:pt x="785" y="966"/>
                      <a:pt x="785" y="966"/>
                      <a:pt x="785" y="966"/>
                    </a:cubicBezTo>
                    <a:cubicBezTo>
                      <a:pt x="785" y="967"/>
                      <a:pt x="784" y="967"/>
                      <a:pt x="784" y="967"/>
                    </a:cubicBezTo>
                    <a:cubicBezTo>
                      <a:pt x="784" y="967"/>
                      <a:pt x="791" y="965"/>
                      <a:pt x="795" y="965"/>
                    </a:cubicBezTo>
                    <a:cubicBezTo>
                      <a:pt x="804" y="966"/>
                      <a:pt x="799" y="974"/>
                      <a:pt x="805" y="977"/>
                    </a:cubicBezTo>
                    <a:cubicBezTo>
                      <a:pt x="815" y="982"/>
                      <a:pt x="827" y="977"/>
                      <a:pt x="836" y="979"/>
                    </a:cubicBezTo>
                    <a:cubicBezTo>
                      <a:pt x="841" y="981"/>
                      <a:pt x="846" y="1002"/>
                      <a:pt x="861" y="992"/>
                    </a:cubicBezTo>
                    <a:cubicBezTo>
                      <a:pt x="862" y="991"/>
                      <a:pt x="862" y="990"/>
                      <a:pt x="861" y="989"/>
                    </a:cubicBezTo>
                    <a:cubicBezTo>
                      <a:pt x="862" y="990"/>
                      <a:pt x="864" y="991"/>
                      <a:pt x="866" y="990"/>
                    </a:cubicBezTo>
                    <a:cubicBezTo>
                      <a:pt x="867" y="990"/>
                      <a:pt x="861" y="985"/>
                      <a:pt x="867" y="984"/>
                    </a:cubicBezTo>
                    <a:cubicBezTo>
                      <a:pt x="870" y="983"/>
                      <a:pt x="888" y="988"/>
                      <a:pt x="883" y="978"/>
                    </a:cubicBezTo>
                    <a:cubicBezTo>
                      <a:pt x="882" y="976"/>
                      <a:pt x="879" y="977"/>
                      <a:pt x="879" y="975"/>
                    </a:cubicBezTo>
                    <a:cubicBezTo>
                      <a:pt x="879" y="968"/>
                      <a:pt x="879" y="968"/>
                      <a:pt x="885" y="970"/>
                    </a:cubicBezTo>
                    <a:cubicBezTo>
                      <a:pt x="886" y="970"/>
                      <a:pt x="890" y="970"/>
                      <a:pt x="888" y="972"/>
                    </a:cubicBezTo>
                    <a:cubicBezTo>
                      <a:pt x="885" y="975"/>
                      <a:pt x="899" y="976"/>
                      <a:pt x="898" y="978"/>
                    </a:cubicBezTo>
                    <a:cubicBezTo>
                      <a:pt x="897" y="987"/>
                      <a:pt x="878" y="981"/>
                      <a:pt x="878" y="989"/>
                    </a:cubicBezTo>
                    <a:cubicBezTo>
                      <a:pt x="878" y="1002"/>
                      <a:pt x="905" y="988"/>
                      <a:pt x="909" y="993"/>
                    </a:cubicBezTo>
                    <a:cubicBezTo>
                      <a:pt x="912" y="997"/>
                      <a:pt x="907" y="1007"/>
                      <a:pt x="910" y="1009"/>
                    </a:cubicBezTo>
                    <a:cubicBezTo>
                      <a:pt x="917" y="1014"/>
                      <a:pt x="932" y="1010"/>
                      <a:pt x="939" y="1013"/>
                    </a:cubicBezTo>
                    <a:cubicBezTo>
                      <a:pt x="945" y="1016"/>
                      <a:pt x="948" y="1021"/>
                      <a:pt x="947" y="1024"/>
                    </a:cubicBezTo>
                    <a:cubicBezTo>
                      <a:pt x="947" y="1024"/>
                      <a:pt x="947" y="1026"/>
                      <a:pt x="947" y="1026"/>
                    </a:cubicBezTo>
                    <a:cubicBezTo>
                      <a:pt x="958" y="1031"/>
                      <a:pt x="967" y="1012"/>
                      <a:pt x="978" y="1025"/>
                    </a:cubicBezTo>
                    <a:cubicBezTo>
                      <a:pt x="981" y="1028"/>
                      <a:pt x="974" y="1029"/>
                      <a:pt x="974" y="1030"/>
                    </a:cubicBezTo>
                    <a:cubicBezTo>
                      <a:pt x="975" y="1030"/>
                      <a:pt x="980" y="1030"/>
                      <a:pt x="981" y="1030"/>
                    </a:cubicBezTo>
                    <a:cubicBezTo>
                      <a:pt x="983" y="1030"/>
                      <a:pt x="978" y="1021"/>
                      <a:pt x="984" y="1020"/>
                    </a:cubicBezTo>
                    <a:cubicBezTo>
                      <a:pt x="991" y="1020"/>
                      <a:pt x="994" y="1025"/>
                      <a:pt x="999" y="1025"/>
                    </a:cubicBezTo>
                    <a:cubicBezTo>
                      <a:pt x="999" y="1025"/>
                      <a:pt x="1000" y="1025"/>
                      <a:pt x="1000" y="1024"/>
                    </a:cubicBezTo>
                    <a:cubicBezTo>
                      <a:pt x="1006" y="1008"/>
                      <a:pt x="1022" y="1018"/>
                      <a:pt x="1027" y="1005"/>
                    </a:cubicBezTo>
                    <a:cubicBezTo>
                      <a:pt x="1027" y="1004"/>
                      <a:pt x="1028" y="1004"/>
                      <a:pt x="1029" y="1003"/>
                    </a:cubicBezTo>
                    <a:cubicBezTo>
                      <a:pt x="1031" y="999"/>
                      <a:pt x="1018" y="1003"/>
                      <a:pt x="1019" y="1000"/>
                    </a:cubicBezTo>
                    <a:cubicBezTo>
                      <a:pt x="1025" y="988"/>
                      <a:pt x="1057" y="970"/>
                      <a:pt x="1067" y="967"/>
                    </a:cubicBezTo>
                    <a:cubicBezTo>
                      <a:pt x="1070" y="966"/>
                      <a:pt x="1066" y="956"/>
                      <a:pt x="1070" y="954"/>
                    </a:cubicBezTo>
                    <a:cubicBezTo>
                      <a:pt x="1078" y="949"/>
                      <a:pt x="1091" y="945"/>
                      <a:pt x="1104" y="942"/>
                    </a:cubicBezTo>
                    <a:cubicBezTo>
                      <a:pt x="1100" y="925"/>
                      <a:pt x="1128" y="896"/>
                      <a:pt x="1115" y="889"/>
                    </a:cubicBezTo>
                    <a:close/>
                    <a:moveTo>
                      <a:pt x="855" y="985"/>
                    </a:moveTo>
                    <a:cubicBezTo>
                      <a:pt x="853" y="982"/>
                      <a:pt x="853" y="979"/>
                      <a:pt x="854" y="976"/>
                    </a:cubicBezTo>
                    <a:cubicBezTo>
                      <a:pt x="853" y="973"/>
                      <a:pt x="852" y="970"/>
                      <a:pt x="852" y="968"/>
                    </a:cubicBezTo>
                    <a:cubicBezTo>
                      <a:pt x="851" y="966"/>
                      <a:pt x="850" y="965"/>
                      <a:pt x="851" y="965"/>
                    </a:cubicBezTo>
                    <a:cubicBezTo>
                      <a:pt x="851" y="964"/>
                      <a:pt x="851" y="966"/>
                      <a:pt x="852" y="968"/>
                    </a:cubicBezTo>
                    <a:cubicBezTo>
                      <a:pt x="853" y="970"/>
                      <a:pt x="854" y="972"/>
                      <a:pt x="854" y="972"/>
                    </a:cubicBezTo>
                    <a:cubicBezTo>
                      <a:pt x="854" y="973"/>
                      <a:pt x="854" y="974"/>
                      <a:pt x="854" y="976"/>
                    </a:cubicBezTo>
                    <a:cubicBezTo>
                      <a:pt x="855" y="980"/>
                      <a:pt x="857" y="986"/>
                      <a:pt x="860" y="988"/>
                    </a:cubicBezTo>
                    <a:cubicBezTo>
                      <a:pt x="858" y="987"/>
                      <a:pt x="855" y="985"/>
                      <a:pt x="855" y="985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05" name="Freeform 1221"/>
              <p:cNvSpPr>
                <a:spLocks/>
              </p:cNvSpPr>
              <p:nvPr/>
            </p:nvSpPr>
            <p:spPr bwMode="auto">
              <a:xfrm>
                <a:off x="2396" y="3058"/>
                <a:ext cx="1" cy="1"/>
              </a:xfrm>
              <a:custGeom>
                <a:avLst/>
                <a:gdLst>
                  <a:gd name="T0" fmla="*/ 0 w 1"/>
                  <a:gd name="T1" fmla="*/ 0 h 2"/>
                  <a:gd name="T2" fmla="*/ 1 w 1"/>
                  <a:gd name="T3" fmla="*/ 2 h 2"/>
                  <a:gd name="T4" fmla="*/ 0 w 1"/>
                  <a:gd name="T5" fmla="*/ 0 h 2"/>
                  <a:gd name="T6" fmla="*/ 0 w 1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cubicBezTo>
                      <a:pt x="1" y="0"/>
                      <a:pt x="1" y="1"/>
                      <a:pt x="1" y="2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06" name="Freeform 1222"/>
              <p:cNvSpPr>
                <a:spLocks/>
              </p:cNvSpPr>
              <p:nvPr/>
            </p:nvSpPr>
            <p:spPr bwMode="auto">
              <a:xfrm>
                <a:off x="2363" y="3065"/>
                <a:ext cx="2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3 w 3"/>
                  <a:gd name="T5" fmla="*/ 2 h 2"/>
                  <a:gd name="T6" fmla="*/ 0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2" y="1"/>
                      <a:pt x="3" y="2"/>
                    </a:cubicBezTo>
                    <a:cubicBezTo>
                      <a:pt x="2" y="1"/>
                      <a:pt x="0" y="1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507" name="Freeform 1223"/>
              <p:cNvSpPr>
                <a:spLocks/>
              </p:cNvSpPr>
              <p:nvPr/>
            </p:nvSpPr>
            <p:spPr bwMode="auto">
              <a:xfrm>
                <a:off x="2397" y="3059"/>
                <a:ext cx="0" cy="4"/>
              </a:xfrm>
              <a:custGeom>
                <a:avLst/>
                <a:gdLst>
                  <a:gd name="T0" fmla="*/ 0 h 6"/>
                  <a:gd name="T1" fmla="*/ 6 h 6"/>
                  <a:gd name="T2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cubicBezTo>
                      <a:pt x="0" y="2"/>
                      <a:pt x="0" y="4"/>
                      <a:pt x="0" y="6"/>
                    </a:cubicBezTo>
                    <a:cubicBezTo>
                      <a:pt x="0" y="4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406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</p:grpSp>
        <p:sp>
          <p:nvSpPr>
            <p:cNvPr id="1150" name="Rectangle 1225"/>
            <p:cNvSpPr>
              <a:spLocks noChangeArrowheads="1"/>
            </p:cNvSpPr>
            <p:nvPr/>
          </p:nvSpPr>
          <p:spPr bwMode="auto">
            <a:xfrm>
              <a:off x="2099" y="3380"/>
              <a:ext cx="1" cy="1"/>
            </a:xfrm>
            <a:prstGeom prst="rect">
              <a:avLst/>
            </a:prstGeom>
            <a:grpFill/>
            <a:ln w="1270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51" name="Freeform 1226"/>
            <p:cNvSpPr>
              <a:spLocks/>
            </p:cNvSpPr>
            <p:nvPr/>
          </p:nvSpPr>
          <p:spPr bwMode="auto">
            <a:xfrm>
              <a:off x="2099" y="3380"/>
              <a:ext cx="18" cy="9"/>
            </a:xfrm>
            <a:custGeom>
              <a:avLst/>
              <a:gdLst>
                <a:gd name="T0" fmla="*/ 0 w 26"/>
                <a:gd name="T1" fmla="*/ 0 h 14"/>
                <a:gd name="T2" fmla="*/ 26 w 26"/>
                <a:gd name="T3" fmla="*/ 14 h 14"/>
                <a:gd name="T4" fmla="*/ 0 w 26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4">
                  <a:moveTo>
                    <a:pt x="0" y="0"/>
                  </a:moveTo>
                  <a:cubicBezTo>
                    <a:pt x="6" y="2"/>
                    <a:pt x="19" y="10"/>
                    <a:pt x="26" y="14"/>
                  </a:cubicBezTo>
                  <a:cubicBezTo>
                    <a:pt x="19" y="10"/>
                    <a:pt x="6" y="2"/>
                    <a:pt x="0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52" name="Freeform 1227"/>
            <p:cNvSpPr>
              <a:spLocks/>
            </p:cNvSpPr>
            <p:nvPr/>
          </p:nvSpPr>
          <p:spPr bwMode="auto">
            <a:xfrm>
              <a:off x="2371" y="2799"/>
              <a:ext cx="1" cy="0"/>
            </a:xfrm>
            <a:custGeom>
              <a:avLst/>
              <a:gdLst>
                <a:gd name="T0" fmla="*/ 0 w 2"/>
                <a:gd name="T1" fmla="*/ 0 h 1"/>
                <a:gd name="T2" fmla="*/ 0 w 2"/>
                <a:gd name="T3" fmla="*/ 1 h 1"/>
                <a:gd name="T4" fmla="*/ 2 w 2"/>
                <a:gd name="T5" fmla="*/ 1 h 1"/>
                <a:gd name="T6" fmla="*/ 0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53" name="Freeform 1228"/>
            <p:cNvSpPr>
              <a:spLocks/>
            </p:cNvSpPr>
            <p:nvPr/>
          </p:nvSpPr>
          <p:spPr bwMode="auto">
            <a:xfrm>
              <a:off x="2374" y="2800"/>
              <a:ext cx="3" cy="1"/>
            </a:xfrm>
            <a:custGeom>
              <a:avLst/>
              <a:gdLst>
                <a:gd name="T0" fmla="*/ 6 w 6"/>
                <a:gd name="T1" fmla="*/ 2 h 2"/>
                <a:gd name="T2" fmla="*/ 0 w 6"/>
                <a:gd name="T3" fmla="*/ 0 h 2"/>
                <a:gd name="T4" fmla="*/ 6 w 6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cubicBezTo>
                    <a:pt x="4" y="2"/>
                    <a:pt x="2" y="1"/>
                    <a:pt x="0" y="0"/>
                  </a:cubicBezTo>
                  <a:cubicBezTo>
                    <a:pt x="1" y="1"/>
                    <a:pt x="4" y="2"/>
                    <a:pt x="6" y="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54" name="Freeform 1229"/>
            <p:cNvSpPr>
              <a:spLocks/>
            </p:cNvSpPr>
            <p:nvPr/>
          </p:nvSpPr>
          <p:spPr bwMode="auto">
            <a:xfrm>
              <a:off x="3242" y="1800"/>
              <a:ext cx="6" cy="12"/>
            </a:xfrm>
            <a:custGeom>
              <a:avLst/>
              <a:gdLst>
                <a:gd name="T0" fmla="*/ 4 w 10"/>
                <a:gd name="T1" fmla="*/ 1 h 18"/>
                <a:gd name="T2" fmla="*/ 3 w 10"/>
                <a:gd name="T3" fmla="*/ 1 h 18"/>
                <a:gd name="T4" fmla="*/ 5 w 10"/>
                <a:gd name="T5" fmla="*/ 10 h 18"/>
                <a:gd name="T6" fmla="*/ 4 w 10"/>
                <a:gd name="T7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4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0" y="0"/>
                    <a:pt x="3" y="8"/>
                    <a:pt x="5" y="10"/>
                  </a:cubicBezTo>
                  <a:cubicBezTo>
                    <a:pt x="10" y="18"/>
                    <a:pt x="10" y="7"/>
                    <a:pt x="4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55" name="Freeform 1230"/>
            <p:cNvSpPr>
              <a:spLocks/>
            </p:cNvSpPr>
            <p:nvPr/>
          </p:nvSpPr>
          <p:spPr bwMode="auto">
            <a:xfrm>
              <a:off x="3236" y="1792"/>
              <a:ext cx="18" cy="15"/>
            </a:xfrm>
            <a:custGeom>
              <a:avLst/>
              <a:gdLst>
                <a:gd name="T0" fmla="*/ 15 w 28"/>
                <a:gd name="T1" fmla="*/ 0 h 22"/>
                <a:gd name="T2" fmla="*/ 15 w 28"/>
                <a:gd name="T3" fmla="*/ 1 h 22"/>
                <a:gd name="T4" fmla="*/ 15 w 28"/>
                <a:gd name="T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22">
                  <a:moveTo>
                    <a:pt x="15" y="0"/>
                  </a:moveTo>
                  <a:cubicBezTo>
                    <a:pt x="0" y="2"/>
                    <a:pt x="28" y="22"/>
                    <a:pt x="15" y="1"/>
                  </a:cubicBezTo>
                  <a:lnTo>
                    <a:pt x="15" y="0"/>
                  </a:ln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56" name="Freeform 1231"/>
            <p:cNvSpPr>
              <a:spLocks/>
            </p:cNvSpPr>
            <p:nvPr/>
          </p:nvSpPr>
          <p:spPr bwMode="auto">
            <a:xfrm>
              <a:off x="3234" y="1568"/>
              <a:ext cx="8" cy="10"/>
            </a:xfrm>
            <a:custGeom>
              <a:avLst/>
              <a:gdLst>
                <a:gd name="T0" fmla="*/ 3 w 11"/>
                <a:gd name="T1" fmla="*/ 1 h 16"/>
                <a:gd name="T2" fmla="*/ 9 w 11"/>
                <a:gd name="T3" fmla="*/ 8 h 16"/>
                <a:gd name="T4" fmla="*/ 3 w 11"/>
                <a:gd name="T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6">
                  <a:moveTo>
                    <a:pt x="3" y="1"/>
                  </a:moveTo>
                  <a:cubicBezTo>
                    <a:pt x="0" y="0"/>
                    <a:pt x="5" y="16"/>
                    <a:pt x="9" y="8"/>
                  </a:cubicBezTo>
                  <a:cubicBezTo>
                    <a:pt x="11" y="5"/>
                    <a:pt x="5" y="2"/>
                    <a:pt x="3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57" name="Freeform 1232"/>
            <p:cNvSpPr>
              <a:spLocks/>
            </p:cNvSpPr>
            <p:nvPr/>
          </p:nvSpPr>
          <p:spPr bwMode="auto">
            <a:xfrm>
              <a:off x="3197" y="1848"/>
              <a:ext cx="9" cy="5"/>
            </a:xfrm>
            <a:custGeom>
              <a:avLst/>
              <a:gdLst>
                <a:gd name="T0" fmla="*/ 12 w 14"/>
                <a:gd name="T1" fmla="*/ 3 h 8"/>
                <a:gd name="T2" fmla="*/ 8 w 14"/>
                <a:gd name="T3" fmla="*/ 0 h 8"/>
                <a:gd name="T4" fmla="*/ 8 w 14"/>
                <a:gd name="T5" fmla="*/ 1 h 8"/>
                <a:gd name="T6" fmla="*/ 2 w 14"/>
                <a:gd name="T7" fmla="*/ 7 h 8"/>
                <a:gd name="T8" fmla="*/ 12 w 14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8">
                  <a:moveTo>
                    <a:pt x="12" y="3"/>
                  </a:moveTo>
                  <a:cubicBezTo>
                    <a:pt x="11" y="1"/>
                    <a:pt x="9" y="3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0"/>
                    <a:pt x="0" y="5"/>
                    <a:pt x="2" y="7"/>
                  </a:cubicBezTo>
                  <a:cubicBezTo>
                    <a:pt x="3" y="8"/>
                    <a:pt x="14" y="7"/>
                    <a:pt x="12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58" name="Freeform 1233"/>
            <p:cNvSpPr>
              <a:spLocks/>
            </p:cNvSpPr>
            <p:nvPr/>
          </p:nvSpPr>
          <p:spPr bwMode="auto">
            <a:xfrm>
              <a:off x="3242" y="1835"/>
              <a:ext cx="11" cy="5"/>
            </a:xfrm>
            <a:custGeom>
              <a:avLst/>
              <a:gdLst>
                <a:gd name="T0" fmla="*/ 1 w 17"/>
                <a:gd name="T1" fmla="*/ 3 h 8"/>
                <a:gd name="T2" fmla="*/ 4 w 17"/>
                <a:gd name="T3" fmla="*/ 3 h 8"/>
                <a:gd name="T4" fmla="*/ 9 w 17"/>
                <a:gd name="T5" fmla="*/ 6 h 8"/>
                <a:gd name="T6" fmla="*/ 11 w 17"/>
                <a:gd name="T7" fmla="*/ 7 h 8"/>
                <a:gd name="T8" fmla="*/ 12 w 17"/>
                <a:gd name="T9" fmla="*/ 4 h 8"/>
                <a:gd name="T10" fmla="*/ 17 w 17"/>
                <a:gd name="T11" fmla="*/ 4 h 8"/>
                <a:gd name="T12" fmla="*/ 16 w 17"/>
                <a:gd name="T13" fmla="*/ 3 h 8"/>
                <a:gd name="T14" fmla="*/ 8 w 17"/>
                <a:gd name="T15" fmla="*/ 0 h 8"/>
                <a:gd name="T16" fmla="*/ 8 w 17"/>
                <a:gd name="T17" fmla="*/ 0 h 8"/>
                <a:gd name="T18" fmla="*/ 1 w 17"/>
                <a:gd name="T1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8">
                  <a:moveTo>
                    <a:pt x="1" y="3"/>
                  </a:moveTo>
                  <a:cubicBezTo>
                    <a:pt x="1" y="4"/>
                    <a:pt x="3" y="3"/>
                    <a:pt x="4" y="3"/>
                  </a:cubicBezTo>
                  <a:cubicBezTo>
                    <a:pt x="6" y="5"/>
                    <a:pt x="6" y="6"/>
                    <a:pt x="9" y="6"/>
                  </a:cubicBezTo>
                  <a:cubicBezTo>
                    <a:pt x="10" y="6"/>
                    <a:pt x="11" y="8"/>
                    <a:pt x="11" y="7"/>
                  </a:cubicBezTo>
                  <a:cubicBezTo>
                    <a:pt x="11" y="6"/>
                    <a:pt x="11" y="5"/>
                    <a:pt x="12" y="4"/>
                  </a:cubicBezTo>
                  <a:cubicBezTo>
                    <a:pt x="13" y="4"/>
                    <a:pt x="17" y="4"/>
                    <a:pt x="17" y="4"/>
                  </a:cubicBezTo>
                  <a:cubicBezTo>
                    <a:pt x="17" y="3"/>
                    <a:pt x="16" y="3"/>
                    <a:pt x="16" y="3"/>
                  </a:cubicBezTo>
                  <a:cubicBezTo>
                    <a:pt x="13" y="3"/>
                    <a:pt x="10" y="3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0" y="0"/>
                    <a:pt x="1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59" name="Freeform 1234"/>
            <p:cNvSpPr>
              <a:spLocks/>
            </p:cNvSpPr>
            <p:nvPr/>
          </p:nvSpPr>
          <p:spPr bwMode="auto">
            <a:xfrm>
              <a:off x="3266" y="1836"/>
              <a:ext cx="13" cy="8"/>
            </a:xfrm>
            <a:custGeom>
              <a:avLst/>
              <a:gdLst>
                <a:gd name="T0" fmla="*/ 2 w 20"/>
                <a:gd name="T1" fmla="*/ 11 h 12"/>
                <a:gd name="T2" fmla="*/ 4 w 20"/>
                <a:gd name="T3" fmla="*/ 12 h 12"/>
                <a:gd name="T4" fmla="*/ 11 w 20"/>
                <a:gd name="T5" fmla="*/ 10 h 12"/>
                <a:gd name="T6" fmla="*/ 11 w 20"/>
                <a:gd name="T7" fmla="*/ 8 h 12"/>
                <a:gd name="T8" fmla="*/ 11 w 20"/>
                <a:gd name="T9" fmla="*/ 8 h 12"/>
                <a:gd name="T10" fmla="*/ 12 w 20"/>
                <a:gd name="T11" fmla="*/ 8 h 12"/>
                <a:gd name="T12" fmla="*/ 13 w 20"/>
                <a:gd name="T13" fmla="*/ 7 h 12"/>
                <a:gd name="T14" fmla="*/ 10 w 20"/>
                <a:gd name="T15" fmla="*/ 6 h 12"/>
                <a:gd name="T16" fmla="*/ 12 w 20"/>
                <a:gd name="T17" fmla="*/ 6 h 12"/>
                <a:gd name="T18" fmla="*/ 17 w 20"/>
                <a:gd name="T19" fmla="*/ 6 h 12"/>
                <a:gd name="T20" fmla="*/ 16 w 20"/>
                <a:gd name="T21" fmla="*/ 3 h 12"/>
                <a:gd name="T22" fmla="*/ 19 w 20"/>
                <a:gd name="T23" fmla="*/ 3 h 12"/>
                <a:gd name="T24" fmla="*/ 16 w 20"/>
                <a:gd name="T25" fmla="*/ 0 h 12"/>
                <a:gd name="T26" fmla="*/ 16 w 20"/>
                <a:gd name="T27" fmla="*/ 0 h 12"/>
                <a:gd name="T28" fmla="*/ 4 w 20"/>
                <a:gd name="T29" fmla="*/ 1 h 12"/>
                <a:gd name="T30" fmla="*/ 4 w 20"/>
                <a:gd name="T31" fmla="*/ 7 h 12"/>
                <a:gd name="T32" fmla="*/ 3 w 20"/>
                <a:gd name="T33" fmla="*/ 10 h 12"/>
                <a:gd name="T34" fmla="*/ 2 w 20"/>
                <a:gd name="T3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" h="12">
                  <a:moveTo>
                    <a:pt x="2" y="11"/>
                  </a:moveTo>
                  <a:cubicBezTo>
                    <a:pt x="2" y="12"/>
                    <a:pt x="4" y="12"/>
                    <a:pt x="4" y="12"/>
                  </a:cubicBezTo>
                  <a:cubicBezTo>
                    <a:pt x="6" y="12"/>
                    <a:pt x="9" y="11"/>
                    <a:pt x="11" y="10"/>
                  </a:cubicBezTo>
                  <a:cubicBezTo>
                    <a:pt x="13" y="9"/>
                    <a:pt x="9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3" y="7"/>
                    <a:pt x="13" y="7"/>
                  </a:cubicBezTo>
                  <a:cubicBezTo>
                    <a:pt x="13" y="6"/>
                    <a:pt x="10" y="7"/>
                    <a:pt x="10" y="6"/>
                  </a:cubicBezTo>
                  <a:cubicBezTo>
                    <a:pt x="10" y="6"/>
                    <a:pt x="12" y="6"/>
                    <a:pt x="12" y="6"/>
                  </a:cubicBezTo>
                  <a:cubicBezTo>
                    <a:pt x="12" y="6"/>
                    <a:pt x="17" y="6"/>
                    <a:pt x="17" y="6"/>
                  </a:cubicBezTo>
                  <a:cubicBezTo>
                    <a:pt x="17" y="5"/>
                    <a:pt x="15" y="4"/>
                    <a:pt x="16" y="3"/>
                  </a:cubicBezTo>
                  <a:cubicBezTo>
                    <a:pt x="17" y="2"/>
                    <a:pt x="18" y="4"/>
                    <a:pt x="19" y="3"/>
                  </a:cubicBezTo>
                  <a:cubicBezTo>
                    <a:pt x="20" y="3"/>
                    <a:pt x="17" y="1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2" y="2"/>
                    <a:pt x="8" y="0"/>
                    <a:pt x="4" y="1"/>
                  </a:cubicBezTo>
                  <a:cubicBezTo>
                    <a:pt x="0" y="2"/>
                    <a:pt x="5" y="6"/>
                    <a:pt x="4" y="7"/>
                  </a:cubicBezTo>
                  <a:cubicBezTo>
                    <a:pt x="4" y="9"/>
                    <a:pt x="3" y="7"/>
                    <a:pt x="3" y="10"/>
                  </a:cubicBezTo>
                  <a:cubicBezTo>
                    <a:pt x="3" y="11"/>
                    <a:pt x="2" y="11"/>
                    <a:pt x="2" y="1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0" name="Freeform 1235"/>
            <p:cNvSpPr>
              <a:spLocks/>
            </p:cNvSpPr>
            <p:nvPr/>
          </p:nvSpPr>
          <p:spPr bwMode="auto">
            <a:xfrm>
              <a:off x="3242" y="1532"/>
              <a:ext cx="17" cy="8"/>
            </a:xfrm>
            <a:custGeom>
              <a:avLst/>
              <a:gdLst>
                <a:gd name="T0" fmla="*/ 10 w 25"/>
                <a:gd name="T1" fmla="*/ 10 h 12"/>
                <a:gd name="T2" fmla="*/ 3 w 25"/>
                <a:gd name="T3" fmla="*/ 4 h 12"/>
                <a:gd name="T4" fmla="*/ 3 w 25"/>
                <a:gd name="T5" fmla="*/ 4 h 12"/>
                <a:gd name="T6" fmla="*/ 10 w 25"/>
                <a:gd name="T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2">
                  <a:moveTo>
                    <a:pt x="10" y="10"/>
                  </a:moveTo>
                  <a:cubicBezTo>
                    <a:pt x="25" y="0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0" y="4"/>
                    <a:pt x="7" y="12"/>
                    <a:pt x="10" y="1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1" name="Freeform 1236"/>
            <p:cNvSpPr>
              <a:spLocks/>
            </p:cNvSpPr>
            <p:nvPr/>
          </p:nvSpPr>
          <p:spPr bwMode="auto">
            <a:xfrm>
              <a:off x="3280" y="1825"/>
              <a:ext cx="4" cy="9"/>
            </a:xfrm>
            <a:custGeom>
              <a:avLst/>
              <a:gdLst>
                <a:gd name="T0" fmla="*/ 6 w 6"/>
                <a:gd name="T1" fmla="*/ 3 h 14"/>
                <a:gd name="T2" fmla="*/ 6 w 6"/>
                <a:gd name="T3" fmla="*/ 2 h 14"/>
                <a:gd name="T4" fmla="*/ 6 w 6"/>
                <a:gd name="T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4">
                  <a:moveTo>
                    <a:pt x="6" y="3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0" y="0"/>
                    <a:pt x="3" y="14"/>
                    <a:pt x="6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2" name="Freeform 1237"/>
            <p:cNvSpPr>
              <a:spLocks/>
            </p:cNvSpPr>
            <p:nvPr/>
          </p:nvSpPr>
          <p:spPr bwMode="auto">
            <a:xfrm>
              <a:off x="3292" y="1859"/>
              <a:ext cx="10" cy="19"/>
            </a:xfrm>
            <a:custGeom>
              <a:avLst/>
              <a:gdLst>
                <a:gd name="T0" fmla="*/ 11 w 15"/>
                <a:gd name="T1" fmla="*/ 17 h 29"/>
                <a:gd name="T2" fmla="*/ 11 w 15"/>
                <a:gd name="T3" fmla="*/ 16 h 29"/>
                <a:gd name="T4" fmla="*/ 6 w 15"/>
                <a:gd name="T5" fmla="*/ 6 h 29"/>
                <a:gd name="T6" fmla="*/ 11 w 15"/>
                <a:gd name="T7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29">
                  <a:moveTo>
                    <a:pt x="11" y="17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5" y="5"/>
                    <a:pt x="6" y="6"/>
                    <a:pt x="6" y="6"/>
                  </a:cubicBezTo>
                  <a:cubicBezTo>
                    <a:pt x="0" y="0"/>
                    <a:pt x="11" y="29"/>
                    <a:pt x="11" y="1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3" name="Freeform 1238"/>
            <p:cNvSpPr>
              <a:spLocks/>
            </p:cNvSpPr>
            <p:nvPr/>
          </p:nvSpPr>
          <p:spPr bwMode="auto">
            <a:xfrm>
              <a:off x="3253" y="1838"/>
              <a:ext cx="12" cy="8"/>
            </a:xfrm>
            <a:custGeom>
              <a:avLst/>
              <a:gdLst>
                <a:gd name="T0" fmla="*/ 2 w 18"/>
                <a:gd name="T1" fmla="*/ 10 h 13"/>
                <a:gd name="T2" fmla="*/ 15 w 18"/>
                <a:gd name="T3" fmla="*/ 11 h 13"/>
                <a:gd name="T4" fmla="*/ 14 w 18"/>
                <a:gd name="T5" fmla="*/ 8 h 13"/>
                <a:gd name="T6" fmla="*/ 17 w 18"/>
                <a:gd name="T7" fmla="*/ 4 h 13"/>
                <a:gd name="T8" fmla="*/ 3 w 18"/>
                <a:gd name="T9" fmla="*/ 6 h 13"/>
                <a:gd name="T10" fmla="*/ 8 w 18"/>
                <a:gd name="T11" fmla="*/ 9 h 13"/>
                <a:gd name="T12" fmla="*/ 2 w 18"/>
                <a:gd name="T13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3">
                  <a:moveTo>
                    <a:pt x="2" y="10"/>
                  </a:moveTo>
                  <a:cubicBezTo>
                    <a:pt x="3" y="13"/>
                    <a:pt x="13" y="13"/>
                    <a:pt x="15" y="11"/>
                  </a:cubicBezTo>
                  <a:cubicBezTo>
                    <a:pt x="18" y="9"/>
                    <a:pt x="14" y="9"/>
                    <a:pt x="14" y="8"/>
                  </a:cubicBezTo>
                  <a:cubicBezTo>
                    <a:pt x="13" y="7"/>
                    <a:pt x="17" y="7"/>
                    <a:pt x="17" y="4"/>
                  </a:cubicBezTo>
                  <a:cubicBezTo>
                    <a:pt x="13" y="0"/>
                    <a:pt x="6" y="2"/>
                    <a:pt x="3" y="6"/>
                  </a:cubicBezTo>
                  <a:cubicBezTo>
                    <a:pt x="2" y="8"/>
                    <a:pt x="10" y="7"/>
                    <a:pt x="8" y="9"/>
                  </a:cubicBezTo>
                  <a:cubicBezTo>
                    <a:pt x="8" y="9"/>
                    <a:pt x="0" y="8"/>
                    <a:pt x="2" y="1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4" name="Freeform 1239"/>
            <p:cNvSpPr>
              <a:spLocks/>
            </p:cNvSpPr>
            <p:nvPr/>
          </p:nvSpPr>
          <p:spPr bwMode="auto">
            <a:xfrm>
              <a:off x="3290" y="1831"/>
              <a:ext cx="15" cy="10"/>
            </a:xfrm>
            <a:custGeom>
              <a:avLst/>
              <a:gdLst>
                <a:gd name="T0" fmla="*/ 16 w 22"/>
                <a:gd name="T1" fmla="*/ 1 h 15"/>
                <a:gd name="T2" fmla="*/ 17 w 22"/>
                <a:gd name="T3" fmla="*/ 2 h 15"/>
                <a:gd name="T4" fmla="*/ 18 w 22"/>
                <a:gd name="T5" fmla="*/ 1 h 15"/>
                <a:gd name="T6" fmla="*/ 16 w 22"/>
                <a:gd name="T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5">
                  <a:moveTo>
                    <a:pt x="16" y="1"/>
                  </a:moveTo>
                  <a:cubicBezTo>
                    <a:pt x="0" y="7"/>
                    <a:pt x="22" y="15"/>
                    <a:pt x="17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7" y="0"/>
                    <a:pt x="16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5" name="Freeform 1240"/>
            <p:cNvSpPr>
              <a:spLocks/>
            </p:cNvSpPr>
            <p:nvPr/>
          </p:nvSpPr>
          <p:spPr bwMode="auto">
            <a:xfrm>
              <a:off x="3261" y="1829"/>
              <a:ext cx="6" cy="6"/>
            </a:xfrm>
            <a:custGeom>
              <a:avLst/>
              <a:gdLst>
                <a:gd name="T0" fmla="*/ 2 w 8"/>
                <a:gd name="T1" fmla="*/ 4 h 10"/>
                <a:gd name="T2" fmla="*/ 1 w 8"/>
                <a:gd name="T3" fmla="*/ 10 h 10"/>
                <a:gd name="T4" fmla="*/ 4 w 8"/>
                <a:gd name="T5" fmla="*/ 3 h 10"/>
                <a:gd name="T6" fmla="*/ 4 w 8"/>
                <a:gd name="T7" fmla="*/ 3 h 10"/>
                <a:gd name="T8" fmla="*/ 2 w 8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2" y="4"/>
                  </a:moveTo>
                  <a:cubicBezTo>
                    <a:pt x="1" y="5"/>
                    <a:pt x="0" y="10"/>
                    <a:pt x="1" y="10"/>
                  </a:cubicBezTo>
                  <a:cubicBezTo>
                    <a:pt x="8" y="9"/>
                    <a:pt x="3" y="5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0"/>
                    <a:pt x="2" y="3"/>
                    <a:pt x="2" y="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6" name="Freeform 1241"/>
            <p:cNvSpPr>
              <a:spLocks/>
            </p:cNvSpPr>
            <p:nvPr/>
          </p:nvSpPr>
          <p:spPr bwMode="auto">
            <a:xfrm>
              <a:off x="3279" y="1835"/>
              <a:ext cx="11" cy="7"/>
            </a:xfrm>
            <a:custGeom>
              <a:avLst/>
              <a:gdLst>
                <a:gd name="T0" fmla="*/ 5 w 16"/>
                <a:gd name="T1" fmla="*/ 10 h 11"/>
                <a:gd name="T2" fmla="*/ 5 w 16"/>
                <a:gd name="T3" fmla="*/ 11 h 11"/>
                <a:gd name="T4" fmla="*/ 6 w 16"/>
                <a:gd name="T5" fmla="*/ 11 h 11"/>
                <a:gd name="T6" fmla="*/ 7 w 16"/>
                <a:gd name="T7" fmla="*/ 10 h 11"/>
                <a:gd name="T8" fmla="*/ 8 w 16"/>
                <a:gd name="T9" fmla="*/ 11 h 11"/>
                <a:gd name="T10" fmla="*/ 9 w 16"/>
                <a:gd name="T11" fmla="*/ 11 h 11"/>
                <a:gd name="T12" fmla="*/ 12 w 16"/>
                <a:gd name="T13" fmla="*/ 9 h 11"/>
                <a:gd name="T14" fmla="*/ 10 w 16"/>
                <a:gd name="T15" fmla="*/ 6 h 11"/>
                <a:gd name="T16" fmla="*/ 15 w 16"/>
                <a:gd name="T17" fmla="*/ 2 h 11"/>
                <a:gd name="T18" fmla="*/ 5 w 16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1">
                  <a:moveTo>
                    <a:pt x="5" y="10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6" y="11"/>
                    <a:pt x="6" y="11"/>
                  </a:cubicBezTo>
                  <a:cubicBezTo>
                    <a:pt x="6" y="11"/>
                    <a:pt x="6" y="10"/>
                    <a:pt x="7" y="10"/>
                  </a:cubicBezTo>
                  <a:cubicBezTo>
                    <a:pt x="7" y="10"/>
                    <a:pt x="8" y="11"/>
                    <a:pt x="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1"/>
                    <a:pt x="12" y="10"/>
                    <a:pt x="12" y="9"/>
                  </a:cubicBezTo>
                  <a:cubicBezTo>
                    <a:pt x="13" y="6"/>
                    <a:pt x="11" y="8"/>
                    <a:pt x="10" y="6"/>
                  </a:cubicBezTo>
                  <a:cubicBezTo>
                    <a:pt x="10" y="4"/>
                    <a:pt x="16" y="4"/>
                    <a:pt x="15" y="2"/>
                  </a:cubicBezTo>
                  <a:cubicBezTo>
                    <a:pt x="14" y="0"/>
                    <a:pt x="0" y="4"/>
                    <a:pt x="5" y="1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7" name="Freeform 1242"/>
            <p:cNvSpPr>
              <a:spLocks/>
            </p:cNvSpPr>
            <p:nvPr/>
          </p:nvSpPr>
          <p:spPr bwMode="auto">
            <a:xfrm>
              <a:off x="3240" y="1770"/>
              <a:ext cx="6" cy="4"/>
            </a:xfrm>
            <a:custGeom>
              <a:avLst/>
              <a:gdLst>
                <a:gd name="T0" fmla="*/ 1 w 10"/>
                <a:gd name="T1" fmla="*/ 3 h 6"/>
                <a:gd name="T2" fmla="*/ 5 w 10"/>
                <a:gd name="T3" fmla="*/ 4 h 6"/>
                <a:gd name="T4" fmla="*/ 6 w 10"/>
                <a:gd name="T5" fmla="*/ 4 h 6"/>
                <a:gd name="T6" fmla="*/ 1 w 10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1" y="3"/>
                  </a:moveTo>
                  <a:cubicBezTo>
                    <a:pt x="0" y="4"/>
                    <a:pt x="5" y="6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0" y="4"/>
                    <a:pt x="3" y="0"/>
                    <a:pt x="1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8" name="Freeform 1243"/>
            <p:cNvSpPr>
              <a:spLocks/>
            </p:cNvSpPr>
            <p:nvPr/>
          </p:nvSpPr>
          <p:spPr bwMode="auto">
            <a:xfrm>
              <a:off x="3297" y="1871"/>
              <a:ext cx="32" cy="32"/>
            </a:xfrm>
            <a:custGeom>
              <a:avLst/>
              <a:gdLst>
                <a:gd name="T0" fmla="*/ 5 w 49"/>
                <a:gd name="T1" fmla="*/ 21 h 50"/>
                <a:gd name="T2" fmla="*/ 4 w 49"/>
                <a:gd name="T3" fmla="*/ 15 h 50"/>
                <a:gd name="T4" fmla="*/ 1 w 49"/>
                <a:gd name="T5" fmla="*/ 26 h 50"/>
                <a:gd name="T6" fmla="*/ 2 w 49"/>
                <a:gd name="T7" fmla="*/ 26 h 50"/>
                <a:gd name="T8" fmla="*/ 2 w 49"/>
                <a:gd name="T9" fmla="*/ 26 h 50"/>
                <a:gd name="T10" fmla="*/ 3 w 49"/>
                <a:gd name="T11" fmla="*/ 26 h 50"/>
                <a:gd name="T12" fmla="*/ 16 w 49"/>
                <a:gd name="T13" fmla="*/ 27 h 50"/>
                <a:gd name="T14" fmla="*/ 17 w 49"/>
                <a:gd name="T15" fmla="*/ 28 h 50"/>
                <a:gd name="T16" fmla="*/ 17 w 49"/>
                <a:gd name="T17" fmla="*/ 28 h 50"/>
                <a:gd name="T18" fmla="*/ 16 w 49"/>
                <a:gd name="T19" fmla="*/ 28 h 50"/>
                <a:gd name="T20" fmla="*/ 1 w 49"/>
                <a:gd name="T21" fmla="*/ 31 h 50"/>
                <a:gd name="T22" fmla="*/ 6 w 49"/>
                <a:gd name="T23" fmla="*/ 35 h 50"/>
                <a:gd name="T24" fmla="*/ 5 w 49"/>
                <a:gd name="T25" fmla="*/ 46 h 50"/>
                <a:gd name="T26" fmla="*/ 6 w 49"/>
                <a:gd name="T27" fmla="*/ 47 h 50"/>
                <a:gd name="T28" fmla="*/ 15 w 49"/>
                <a:gd name="T29" fmla="*/ 43 h 50"/>
                <a:gd name="T30" fmla="*/ 16 w 49"/>
                <a:gd name="T31" fmla="*/ 41 h 50"/>
                <a:gd name="T32" fmla="*/ 16 w 49"/>
                <a:gd name="T33" fmla="*/ 42 h 50"/>
                <a:gd name="T34" fmla="*/ 15 w 49"/>
                <a:gd name="T35" fmla="*/ 46 h 50"/>
                <a:gd name="T36" fmla="*/ 17 w 49"/>
                <a:gd name="T37" fmla="*/ 46 h 50"/>
                <a:gd name="T38" fmla="*/ 17 w 49"/>
                <a:gd name="T39" fmla="*/ 49 h 50"/>
                <a:gd name="T40" fmla="*/ 18 w 49"/>
                <a:gd name="T41" fmla="*/ 48 h 50"/>
                <a:gd name="T42" fmla="*/ 20 w 49"/>
                <a:gd name="T43" fmla="*/ 46 h 50"/>
                <a:gd name="T44" fmla="*/ 22 w 49"/>
                <a:gd name="T45" fmla="*/ 43 h 50"/>
                <a:gd name="T46" fmla="*/ 25 w 49"/>
                <a:gd name="T47" fmla="*/ 47 h 50"/>
                <a:gd name="T48" fmla="*/ 26 w 49"/>
                <a:gd name="T49" fmla="*/ 47 h 50"/>
                <a:gd name="T50" fmla="*/ 27 w 49"/>
                <a:gd name="T51" fmla="*/ 46 h 50"/>
                <a:gd name="T52" fmla="*/ 31 w 49"/>
                <a:gd name="T53" fmla="*/ 42 h 50"/>
                <a:gd name="T54" fmla="*/ 29 w 49"/>
                <a:gd name="T55" fmla="*/ 41 h 50"/>
                <a:gd name="T56" fmla="*/ 39 w 49"/>
                <a:gd name="T57" fmla="*/ 30 h 50"/>
                <a:gd name="T58" fmla="*/ 37 w 49"/>
                <a:gd name="T59" fmla="*/ 24 h 50"/>
                <a:gd name="T60" fmla="*/ 39 w 49"/>
                <a:gd name="T61" fmla="*/ 23 h 50"/>
                <a:gd name="T62" fmla="*/ 38 w 49"/>
                <a:gd name="T63" fmla="*/ 19 h 50"/>
                <a:gd name="T64" fmla="*/ 41 w 49"/>
                <a:gd name="T65" fmla="*/ 17 h 50"/>
                <a:gd name="T66" fmla="*/ 49 w 49"/>
                <a:gd name="T67" fmla="*/ 5 h 50"/>
                <a:gd name="T68" fmla="*/ 34 w 49"/>
                <a:gd name="T69" fmla="*/ 15 h 50"/>
                <a:gd name="T70" fmla="*/ 17 w 49"/>
                <a:gd name="T71" fmla="*/ 18 h 50"/>
                <a:gd name="T72" fmla="*/ 5 w 49"/>
                <a:gd name="T73" fmla="*/ 2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9" h="50">
                  <a:moveTo>
                    <a:pt x="5" y="21"/>
                  </a:moveTo>
                  <a:cubicBezTo>
                    <a:pt x="2" y="20"/>
                    <a:pt x="8" y="14"/>
                    <a:pt x="4" y="15"/>
                  </a:cubicBezTo>
                  <a:cubicBezTo>
                    <a:pt x="2" y="16"/>
                    <a:pt x="0" y="26"/>
                    <a:pt x="1" y="26"/>
                  </a:cubicBezTo>
                  <a:cubicBezTo>
                    <a:pt x="1" y="26"/>
                    <a:pt x="2" y="26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6"/>
                    <a:pt x="2" y="26"/>
                    <a:pt x="3" y="26"/>
                  </a:cubicBezTo>
                  <a:cubicBezTo>
                    <a:pt x="7" y="26"/>
                    <a:pt x="12" y="26"/>
                    <a:pt x="16" y="27"/>
                  </a:cubicBezTo>
                  <a:cubicBezTo>
                    <a:pt x="17" y="27"/>
                    <a:pt x="17" y="27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4" y="28"/>
                    <a:pt x="1" y="28"/>
                    <a:pt x="1" y="31"/>
                  </a:cubicBezTo>
                  <a:cubicBezTo>
                    <a:pt x="1" y="34"/>
                    <a:pt x="6" y="33"/>
                    <a:pt x="6" y="35"/>
                  </a:cubicBezTo>
                  <a:cubicBezTo>
                    <a:pt x="7" y="38"/>
                    <a:pt x="5" y="43"/>
                    <a:pt x="5" y="46"/>
                  </a:cubicBezTo>
                  <a:cubicBezTo>
                    <a:pt x="5" y="46"/>
                    <a:pt x="5" y="47"/>
                    <a:pt x="6" y="47"/>
                  </a:cubicBezTo>
                  <a:cubicBezTo>
                    <a:pt x="9" y="48"/>
                    <a:pt x="12" y="45"/>
                    <a:pt x="15" y="43"/>
                  </a:cubicBezTo>
                  <a:cubicBezTo>
                    <a:pt x="15" y="43"/>
                    <a:pt x="16" y="41"/>
                    <a:pt x="16" y="41"/>
                  </a:cubicBezTo>
                  <a:cubicBezTo>
                    <a:pt x="17" y="41"/>
                    <a:pt x="17" y="42"/>
                    <a:pt x="16" y="42"/>
                  </a:cubicBezTo>
                  <a:cubicBezTo>
                    <a:pt x="16" y="43"/>
                    <a:pt x="14" y="45"/>
                    <a:pt x="15" y="46"/>
                  </a:cubicBezTo>
                  <a:cubicBezTo>
                    <a:pt x="15" y="47"/>
                    <a:pt x="16" y="45"/>
                    <a:pt x="17" y="46"/>
                  </a:cubicBezTo>
                  <a:cubicBezTo>
                    <a:pt x="18" y="47"/>
                    <a:pt x="16" y="49"/>
                    <a:pt x="17" y="49"/>
                  </a:cubicBezTo>
                  <a:cubicBezTo>
                    <a:pt x="18" y="50"/>
                    <a:pt x="18" y="49"/>
                    <a:pt x="18" y="48"/>
                  </a:cubicBezTo>
                  <a:cubicBezTo>
                    <a:pt x="18" y="45"/>
                    <a:pt x="19" y="48"/>
                    <a:pt x="20" y="46"/>
                  </a:cubicBezTo>
                  <a:cubicBezTo>
                    <a:pt x="21" y="45"/>
                    <a:pt x="21" y="43"/>
                    <a:pt x="22" y="43"/>
                  </a:cubicBezTo>
                  <a:cubicBezTo>
                    <a:pt x="24" y="44"/>
                    <a:pt x="23" y="48"/>
                    <a:pt x="25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8" y="46"/>
                    <a:pt x="32" y="44"/>
                    <a:pt x="31" y="42"/>
                  </a:cubicBezTo>
                  <a:cubicBezTo>
                    <a:pt x="31" y="41"/>
                    <a:pt x="28" y="42"/>
                    <a:pt x="29" y="41"/>
                  </a:cubicBezTo>
                  <a:cubicBezTo>
                    <a:pt x="33" y="36"/>
                    <a:pt x="39" y="37"/>
                    <a:pt x="39" y="30"/>
                  </a:cubicBezTo>
                  <a:cubicBezTo>
                    <a:pt x="39" y="28"/>
                    <a:pt x="37" y="24"/>
                    <a:pt x="37" y="24"/>
                  </a:cubicBezTo>
                  <a:cubicBezTo>
                    <a:pt x="37" y="23"/>
                    <a:pt x="39" y="23"/>
                    <a:pt x="39" y="23"/>
                  </a:cubicBezTo>
                  <a:cubicBezTo>
                    <a:pt x="39" y="22"/>
                    <a:pt x="37" y="21"/>
                    <a:pt x="38" y="19"/>
                  </a:cubicBezTo>
                  <a:cubicBezTo>
                    <a:pt x="39" y="18"/>
                    <a:pt x="40" y="18"/>
                    <a:pt x="41" y="17"/>
                  </a:cubicBezTo>
                  <a:cubicBezTo>
                    <a:pt x="42" y="17"/>
                    <a:pt x="49" y="6"/>
                    <a:pt x="49" y="5"/>
                  </a:cubicBezTo>
                  <a:cubicBezTo>
                    <a:pt x="46" y="0"/>
                    <a:pt x="39" y="14"/>
                    <a:pt x="34" y="15"/>
                  </a:cubicBezTo>
                  <a:cubicBezTo>
                    <a:pt x="28" y="16"/>
                    <a:pt x="23" y="17"/>
                    <a:pt x="17" y="18"/>
                  </a:cubicBezTo>
                  <a:cubicBezTo>
                    <a:pt x="13" y="18"/>
                    <a:pt x="11" y="22"/>
                    <a:pt x="5" y="2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69" name="Freeform 1244"/>
            <p:cNvSpPr>
              <a:spLocks/>
            </p:cNvSpPr>
            <p:nvPr/>
          </p:nvSpPr>
          <p:spPr bwMode="auto">
            <a:xfrm>
              <a:off x="3287" y="1823"/>
              <a:ext cx="18" cy="9"/>
            </a:xfrm>
            <a:custGeom>
              <a:avLst/>
              <a:gdLst>
                <a:gd name="T0" fmla="*/ 25 w 27"/>
                <a:gd name="T1" fmla="*/ 6 h 14"/>
                <a:gd name="T2" fmla="*/ 2 w 27"/>
                <a:gd name="T3" fmla="*/ 10 h 14"/>
                <a:gd name="T4" fmla="*/ 12 w 27"/>
                <a:gd name="T5" fmla="*/ 9 h 14"/>
                <a:gd name="T6" fmla="*/ 8 w 27"/>
                <a:gd name="T7" fmla="*/ 8 h 14"/>
                <a:gd name="T8" fmla="*/ 13 w 27"/>
                <a:gd name="T9" fmla="*/ 9 h 14"/>
                <a:gd name="T10" fmla="*/ 15 w 27"/>
                <a:gd name="T11" fmla="*/ 9 h 14"/>
                <a:gd name="T12" fmla="*/ 15 w 27"/>
                <a:gd name="T13" fmla="*/ 10 h 14"/>
                <a:gd name="T14" fmla="*/ 14 w 27"/>
                <a:gd name="T15" fmla="*/ 13 h 14"/>
                <a:gd name="T16" fmla="*/ 21 w 27"/>
                <a:gd name="T17" fmla="*/ 10 h 14"/>
                <a:gd name="T18" fmla="*/ 26 w 27"/>
                <a:gd name="T19" fmla="*/ 9 h 14"/>
                <a:gd name="T20" fmla="*/ 26 w 27"/>
                <a:gd name="T21" fmla="*/ 8 h 14"/>
                <a:gd name="T22" fmla="*/ 26 w 27"/>
                <a:gd name="T23" fmla="*/ 8 h 14"/>
                <a:gd name="T24" fmla="*/ 25 w 27"/>
                <a:gd name="T25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14">
                  <a:moveTo>
                    <a:pt x="25" y="6"/>
                  </a:moveTo>
                  <a:cubicBezTo>
                    <a:pt x="20" y="5"/>
                    <a:pt x="0" y="0"/>
                    <a:pt x="2" y="10"/>
                  </a:cubicBezTo>
                  <a:cubicBezTo>
                    <a:pt x="2" y="10"/>
                    <a:pt x="15" y="13"/>
                    <a:pt x="12" y="9"/>
                  </a:cubicBezTo>
                  <a:cubicBezTo>
                    <a:pt x="11" y="8"/>
                    <a:pt x="9" y="9"/>
                    <a:pt x="8" y="8"/>
                  </a:cubicBezTo>
                  <a:cubicBezTo>
                    <a:pt x="8" y="8"/>
                    <a:pt x="12" y="9"/>
                    <a:pt x="13" y="9"/>
                  </a:cubicBezTo>
                  <a:cubicBezTo>
                    <a:pt x="13" y="9"/>
                    <a:pt x="14" y="9"/>
                    <a:pt x="15" y="9"/>
                  </a:cubicBezTo>
                  <a:cubicBezTo>
                    <a:pt x="15" y="9"/>
                    <a:pt x="15" y="9"/>
                    <a:pt x="15" y="10"/>
                  </a:cubicBezTo>
                  <a:cubicBezTo>
                    <a:pt x="16" y="10"/>
                    <a:pt x="13" y="12"/>
                    <a:pt x="14" y="13"/>
                  </a:cubicBezTo>
                  <a:cubicBezTo>
                    <a:pt x="15" y="14"/>
                    <a:pt x="20" y="11"/>
                    <a:pt x="21" y="10"/>
                  </a:cubicBezTo>
                  <a:cubicBezTo>
                    <a:pt x="23" y="9"/>
                    <a:pt x="25" y="12"/>
                    <a:pt x="26" y="9"/>
                  </a:cubicBezTo>
                  <a:cubicBezTo>
                    <a:pt x="26" y="9"/>
                    <a:pt x="26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6" y="7"/>
                    <a:pt x="25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0" name="Freeform 1245"/>
            <p:cNvSpPr>
              <a:spLocks/>
            </p:cNvSpPr>
            <p:nvPr/>
          </p:nvSpPr>
          <p:spPr bwMode="auto">
            <a:xfrm>
              <a:off x="3227" y="1539"/>
              <a:ext cx="27" cy="23"/>
            </a:xfrm>
            <a:custGeom>
              <a:avLst/>
              <a:gdLst>
                <a:gd name="T0" fmla="*/ 16 w 41"/>
                <a:gd name="T1" fmla="*/ 3 h 34"/>
                <a:gd name="T2" fmla="*/ 41 w 41"/>
                <a:gd name="T3" fmla="*/ 6 h 34"/>
                <a:gd name="T4" fmla="*/ 41 w 41"/>
                <a:gd name="T5" fmla="*/ 5 h 34"/>
                <a:gd name="T6" fmla="*/ 22 w 41"/>
                <a:gd name="T7" fmla="*/ 10 h 34"/>
                <a:gd name="T8" fmla="*/ 16 w 41"/>
                <a:gd name="T9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4">
                  <a:moveTo>
                    <a:pt x="16" y="3"/>
                  </a:moveTo>
                  <a:cubicBezTo>
                    <a:pt x="0" y="5"/>
                    <a:pt x="35" y="34"/>
                    <a:pt x="41" y="6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38" y="0"/>
                    <a:pt x="26" y="10"/>
                    <a:pt x="22" y="10"/>
                  </a:cubicBezTo>
                  <a:cubicBezTo>
                    <a:pt x="18" y="9"/>
                    <a:pt x="32" y="2"/>
                    <a:pt x="16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1" name="Freeform 1246"/>
            <p:cNvSpPr>
              <a:spLocks/>
            </p:cNvSpPr>
            <p:nvPr/>
          </p:nvSpPr>
          <p:spPr bwMode="auto">
            <a:xfrm>
              <a:off x="3303" y="1826"/>
              <a:ext cx="36" cy="31"/>
            </a:xfrm>
            <a:custGeom>
              <a:avLst/>
              <a:gdLst>
                <a:gd name="T0" fmla="*/ 13 w 55"/>
                <a:gd name="T1" fmla="*/ 13 h 47"/>
                <a:gd name="T2" fmla="*/ 20 w 55"/>
                <a:gd name="T3" fmla="*/ 24 h 47"/>
                <a:gd name="T4" fmla="*/ 25 w 55"/>
                <a:gd name="T5" fmla="*/ 25 h 47"/>
                <a:gd name="T6" fmla="*/ 13 w 55"/>
                <a:gd name="T7" fmla="*/ 27 h 47"/>
                <a:gd name="T8" fmla="*/ 14 w 55"/>
                <a:gd name="T9" fmla="*/ 39 h 47"/>
                <a:gd name="T10" fmla="*/ 22 w 55"/>
                <a:gd name="T11" fmla="*/ 40 h 47"/>
                <a:gd name="T12" fmla="*/ 25 w 55"/>
                <a:gd name="T13" fmla="*/ 46 h 47"/>
                <a:gd name="T14" fmla="*/ 30 w 55"/>
                <a:gd name="T15" fmla="*/ 40 h 47"/>
                <a:gd name="T16" fmla="*/ 33 w 55"/>
                <a:gd name="T17" fmla="*/ 43 h 47"/>
                <a:gd name="T18" fmla="*/ 33 w 55"/>
                <a:gd name="T19" fmla="*/ 43 h 47"/>
                <a:gd name="T20" fmla="*/ 38 w 55"/>
                <a:gd name="T21" fmla="*/ 39 h 47"/>
                <a:gd name="T22" fmla="*/ 55 w 55"/>
                <a:gd name="T23" fmla="*/ 4 h 47"/>
                <a:gd name="T24" fmla="*/ 39 w 55"/>
                <a:gd name="T25" fmla="*/ 13 h 47"/>
                <a:gd name="T26" fmla="*/ 13 w 55"/>
                <a:gd name="T27" fmla="*/ 19 h 47"/>
                <a:gd name="T28" fmla="*/ 13 w 55"/>
                <a:gd name="T29" fmla="*/ 1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5" h="47">
                  <a:moveTo>
                    <a:pt x="13" y="13"/>
                  </a:moveTo>
                  <a:cubicBezTo>
                    <a:pt x="0" y="17"/>
                    <a:pt x="17" y="23"/>
                    <a:pt x="20" y="24"/>
                  </a:cubicBezTo>
                  <a:cubicBezTo>
                    <a:pt x="21" y="24"/>
                    <a:pt x="25" y="25"/>
                    <a:pt x="25" y="25"/>
                  </a:cubicBezTo>
                  <a:cubicBezTo>
                    <a:pt x="24" y="27"/>
                    <a:pt x="16" y="26"/>
                    <a:pt x="13" y="27"/>
                  </a:cubicBezTo>
                  <a:cubicBezTo>
                    <a:pt x="8" y="30"/>
                    <a:pt x="16" y="31"/>
                    <a:pt x="14" y="39"/>
                  </a:cubicBezTo>
                  <a:cubicBezTo>
                    <a:pt x="12" y="46"/>
                    <a:pt x="19" y="43"/>
                    <a:pt x="22" y="40"/>
                  </a:cubicBezTo>
                  <a:cubicBezTo>
                    <a:pt x="24" y="38"/>
                    <a:pt x="24" y="47"/>
                    <a:pt x="25" y="46"/>
                  </a:cubicBezTo>
                  <a:cubicBezTo>
                    <a:pt x="26" y="45"/>
                    <a:pt x="29" y="39"/>
                    <a:pt x="30" y="40"/>
                  </a:cubicBezTo>
                  <a:cubicBezTo>
                    <a:pt x="31" y="41"/>
                    <a:pt x="31" y="44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4" y="42"/>
                    <a:pt x="39" y="42"/>
                    <a:pt x="38" y="39"/>
                  </a:cubicBezTo>
                  <a:cubicBezTo>
                    <a:pt x="36" y="31"/>
                    <a:pt x="55" y="5"/>
                    <a:pt x="55" y="4"/>
                  </a:cubicBezTo>
                  <a:cubicBezTo>
                    <a:pt x="52" y="0"/>
                    <a:pt x="44" y="13"/>
                    <a:pt x="39" y="13"/>
                  </a:cubicBezTo>
                  <a:cubicBezTo>
                    <a:pt x="30" y="13"/>
                    <a:pt x="21" y="21"/>
                    <a:pt x="13" y="19"/>
                  </a:cubicBezTo>
                  <a:cubicBezTo>
                    <a:pt x="10" y="18"/>
                    <a:pt x="16" y="12"/>
                    <a:pt x="13" y="1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2" name="Freeform 1247"/>
            <p:cNvSpPr>
              <a:spLocks/>
            </p:cNvSpPr>
            <p:nvPr/>
          </p:nvSpPr>
          <p:spPr bwMode="auto">
            <a:xfrm>
              <a:off x="3332" y="1857"/>
              <a:ext cx="16" cy="8"/>
            </a:xfrm>
            <a:custGeom>
              <a:avLst/>
              <a:gdLst>
                <a:gd name="T0" fmla="*/ 9 w 25"/>
                <a:gd name="T1" fmla="*/ 1 h 12"/>
                <a:gd name="T2" fmla="*/ 3 w 25"/>
                <a:gd name="T3" fmla="*/ 3 h 12"/>
                <a:gd name="T4" fmla="*/ 2 w 25"/>
                <a:gd name="T5" fmla="*/ 0 h 12"/>
                <a:gd name="T6" fmla="*/ 0 w 25"/>
                <a:gd name="T7" fmla="*/ 3 h 12"/>
                <a:gd name="T8" fmla="*/ 4 w 25"/>
                <a:gd name="T9" fmla="*/ 5 h 12"/>
                <a:gd name="T10" fmla="*/ 11 w 25"/>
                <a:gd name="T11" fmla="*/ 11 h 12"/>
                <a:gd name="T12" fmla="*/ 13 w 25"/>
                <a:gd name="T13" fmla="*/ 5 h 12"/>
                <a:gd name="T14" fmla="*/ 15 w 25"/>
                <a:gd name="T15" fmla="*/ 8 h 12"/>
                <a:gd name="T16" fmla="*/ 18 w 25"/>
                <a:gd name="T17" fmla="*/ 7 h 12"/>
                <a:gd name="T18" fmla="*/ 21 w 25"/>
                <a:gd name="T19" fmla="*/ 11 h 12"/>
                <a:gd name="T20" fmla="*/ 22 w 25"/>
                <a:gd name="T21" fmla="*/ 7 h 12"/>
                <a:gd name="T22" fmla="*/ 24 w 25"/>
                <a:gd name="T23" fmla="*/ 3 h 12"/>
                <a:gd name="T24" fmla="*/ 22 w 25"/>
                <a:gd name="T25" fmla="*/ 2 h 12"/>
                <a:gd name="T26" fmla="*/ 9 w 25"/>
                <a:gd name="T2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12">
                  <a:moveTo>
                    <a:pt x="9" y="1"/>
                  </a:moveTo>
                  <a:cubicBezTo>
                    <a:pt x="7" y="2"/>
                    <a:pt x="6" y="3"/>
                    <a:pt x="3" y="3"/>
                  </a:cubicBezTo>
                  <a:cubicBezTo>
                    <a:pt x="1" y="3"/>
                    <a:pt x="3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6"/>
                    <a:pt x="3" y="3"/>
                    <a:pt x="4" y="5"/>
                  </a:cubicBezTo>
                  <a:cubicBezTo>
                    <a:pt x="5" y="8"/>
                    <a:pt x="6" y="12"/>
                    <a:pt x="11" y="11"/>
                  </a:cubicBezTo>
                  <a:cubicBezTo>
                    <a:pt x="14" y="10"/>
                    <a:pt x="10" y="6"/>
                    <a:pt x="13" y="5"/>
                  </a:cubicBezTo>
                  <a:cubicBezTo>
                    <a:pt x="14" y="5"/>
                    <a:pt x="15" y="7"/>
                    <a:pt x="15" y="8"/>
                  </a:cubicBezTo>
                  <a:cubicBezTo>
                    <a:pt x="16" y="8"/>
                    <a:pt x="17" y="7"/>
                    <a:pt x="18" y="7"/>
                  </a:cubicBezTo>
                  <a:cubicBezTo>
                    <a:pt x="19" y="8"/>
                    <a:pt x="17" y="12"/>
                    <a:pt x="21" y="11"/>
                  </a:cubicBezTo>
                  <a:cubicBezTo>
                    <a:pt x="24" y="11"/>
                    <a:pt x="21" y="9"/>
                    <a:pt x="22" y="7"/>
                  </a:cubicBezTo>
                  <a:cubicBezTo>
                    <a:pt x="22" y="5"/>
                    <a:pt x="25" y="5"/>
                    <a:pt x="24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0" y="4"/>
                    <a:pt x="9" y="1"/>
                    <a:pt x="9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3" name="Freeform 1248"/>
            <p:cNvSpPr>
              <a:spLocks/>
            </p:cNvSpPr>
            <p:nvPr/>
          </p:nvSpPr>
          <p:spPr bwMode="auto">
            <a:xfrm>
              <a:off x="3345" y="1852"/>
              <a:ext cx="8" cy="5"/>
            </a:xfrm>
            <a:custGeom>
              <a:avLst/>
              <a:gdLst>
                <a:gd name="T0" fmla="*/ 4 w 13"/>
                <a:gd name="T1" fmla="*/ 3 h 8"/>
                <a:gd name="T2" fmla="*/ 9 w 13"/>
                <a:gd name="T3" fmla="*/ 3 h 8"/>
                <a:gd name="T4" fmla="*/ 10 w 13"/>
                <a:gd name="T5" fmla="*/ 2 h 8"/>
                <a:gd name="T6" fmla="*/ 4 w 13"/>
                <a:gd name="T7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8">
                  <a:moveTo>
                    <a:pt x="4" y="3"/>
                  </a:moveTo>
                  <a:cubicBezTo>
                    <a:pt x="0" y="6"/>
                    <a:pt x="13" y="8"/>
                    <a:pt x="9" y="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0"/>
                    <a:pt x="5" y="1"/>
                    <a:pt x="4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4" name="Freeform 1249"/>
            <p:cNvSpPr>
              <a:spLocks/>
            </p:cNvSpPr>
            <p:nvPr/>
          </p:nvSpPr>
          <p:spPr bwMode="auto">
            <a:xfrm>
              <a:off x="3304" y="1845"/>
              <a:ext cx="8" cy="11"/>
            </a:xfrm>
            <a:custGeom>
              <a:avLst/>
              <a:gdLst>
                <a:gd name="T0" fmla="*/ 6 w 12"/>
                <a:gd name="T1" fmla="*/ 7 h 17"/>
                <a:gd name="T2" fmla="*/ 3 w 12"/>
                <a:gd name="T3" fmla="*/ 3 h 17"/>
                <a:gd name="T4" fmla="*/ 5 w 12"/>
                <a:gd name="T5" fmla="*/ 16 h 17"/>
                <a:gd name="T6" fmla="*/ 5 w 12"/>
                <a:gd name="T7" fmla="*/ 14 h 17"/>
                <a:gd name="T8" fmla="*/ 7 w 12"/>
                <a:gd name="T9" fmla="*/ 13 h 17"/>
                <a:gd name="T10" fmla="*/ 10 w 12"/>
                <a:gd name="T11" fmla="*/ 15 h 17"/>
                <a:gd name="T12" fmla="*/ 10 w 12"/>
                <a:gd name="T13" fmla="*/ 14 h 17"/>
                <a:gd name="T14" fmla="*/ 9 w 12"/>
                <a:gd name="T15" fmla="*/ 3 h 17"/>
                <a:gd name="T16" fmla="*/ 6 w 12"/>
                <a:gd name="T17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7">
                  <a:moveTo>
                    <a:pt x="6" y="7"/>
                  </a:moveTo>
                  <a:cubicBezTo>
                    <a:pt x="3" y="8"/>
                    <a:pt x="6" y="1"/>
                    <a:pt x="3" y="3"/>
                  </a:cubicBezTo>
                  <a:cubicBezTo>
                    <a:pt x="0" y="5"/>
                    <a:pt x="4" y="16"/>
                    <a:pt x="5" y="16"/>
                  </a:cubicBezTo>
                  <a:cubicBezTo>
                    <a:pt x="6" y="16"/>
                    <a:pt x="5" y="14"/>
                    <a:pt x="5" y="14"/>
                  </a:cubicBezTo>
                  <a:cubicBezTo>
                    <a:pt x="6" y="14"/>
                    <a:pt x="7" y="14"/>
                    <a:pt x="7" y="13"/>
                  </a:cubicBezTo>
                  <a:cubicBezTo>
                    <a:pt x="9" y="11"/>
                    <a:pt x="10" y="17"/>
                    <a:pt x="10" y="15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1" y="12"/>
                    <a:pt x="12" y="4"/>
                    <a:pt x="9" y="3"/>
                  </a:cubicBezTo>
                  <a:cubicBezTo>
                    <a:pt x="4" y="0"/>
                    <a:pt x="9" y="6"/>
                    <a:pt x="6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5" name="Freeform 1250"/>
            <p:cNvSpPr>
              <a:spLocks/>
            </p:cNvSpPr>
            <p:nvPr/>
          </p:nvSpPr>
          <p:spPr bwMode="auto">
            <a:xfrm>
              <a:off x="3271" y="1811"/>
              <a:ext cx="15" cy="19"/>
            </a:xfrm>
            <a:custGeom>
              <a:avLst/>
              <a:gdLst>
                <a:gd name="T0" fmla="*/ 19 w 22"/>
                <a:gd name="T1" fmla="*/ 21 h 29"/>
                <a:gd name="T2" fmla="*/ 18 w 22"/>
                <a:gd name="T3" fmla="*/ 19 h 29"/>
                <a:gd name="T4" fmla="*/ 5 w 22"/>
                <a:gd name="T5" fmla="*/ 0 h 29"/>
                <a:gd name="T6" fmla="*/ 5 w 22"/>
                <a:gd name="T7" fmla="*/ 0 h 29"/>
                <a:gd name="T8" fmla="*/ 19 w 22"/>
                <a:gd name="T9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9">
                  <a:moveTo>
                    <a:pt x="19" y="21"/>
                  </a:moveTo>
                  <a:cubicBezTo>
                    <a:pt x="22" y="19"/>
                    <a:pt x="19" y="19"/>
                    <a:pt x="18" y="19"/>
                  </a:cubicBezTo>
                  <a:cubicBezTo>
                    <a:pt x="11" y="17"/>
                    <a:pt x="19" y="8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0" y="29"/>
                    <a:pt x="19" y="2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6" name="Freeform 1251"/>
            <p:cNvSpPr>
              <a:spLocks/>
            </p:cNvSpPr>
            <p:nvPr/>
          </p:nvSpPr>
          <p:spPr bwMode="auto">
            <a:xfrm>
              <a:off x="3248" y="1802"/>
              <a:ext cx="11" cy="8"/>
            </a:xfrm>
            <a:custGeom>
              <a:avLst/>
              <a:gdLst>
                <a:gd name="T0" fmla="*/ 10 w 17"/>
                <a:gd name="T1" fmla="*/ 11 h 12"/>
                <a:gd name="T2" fmla="*/ 16 w 17"/>
                <a:gd name="T3" fmla="*/ 4 h 12"/>
                <a:gd name="T4" fmla="*/ 8 w 17"/>
                <a:gd name="T5" fmla="*/ 0 h 12"/>
                <a:gd name="T6" fmla="*/ 7 w 17"/>
                <a:gd name="T7" fmla="*/ 0 h 12"/>
                <a:gd name="T8" fmla="*/ 10 w 17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2">
                  <a:moveTo>
                    <a:pt x="10" y="11"/>
                  </a:moveTo>
                  <a:cubicBezTo>
                    <a:pt x="13" y="12"/>
                    <a:pt x="17" y="6"/>
                    <a:pt x="16" y="4"/>
                  </a:cubicBezTo>
                  <a:cubicBezTo>
                    <a:pt x="14" y="0"/>
                    <a:pt x="9" y="3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0" y="8"/>
                    <a:pt x="10" y="1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7" name="Freeform 1252"/>
            <p:cNvSpPr>
              <a:spLocks noEditPoints="1"/>
            </p:cNvSpPr>
            <p:nvPr/>
          </p:nvSpPr>
          <p:spPr bwMode="auto">
            <a:xfrm>
              <a:off x="3202" y="854"/>
              <a:ext cx="644" cy="1028"/>
            </a:xfrm>
            <a:custGeom>
              <a:avLst/>
              <a:gdLst>
                <a:gd name="T0" fmla="*/ 808 w 982"/>
                <a:gd name="T1" fmla="*/ 802 h 1568"/>
                <a:gd name="T2" fmla="*/ 692 w 982"/>
                <a:gd name="T3" fmla="*/ 33 h 1568"/>
                <a:gd name="T4" fmla="*/ 372 w 982"/>
                <a:gd name="T5" fmla="*/ 226 h 1568"/>
                <a:gd name="T6" fmla="*/ 41 w 982"/>
                <a:gd name="T7" fmla="*/ 138 h 1568"/>
                <a:gd name="T8" fmla="*/ 254 w 982"/>
                <a:gd name="T9" fmla="*/ 411 h 1568"/>
                <a:gd name="T10" fmla="*/ 364 w 982"/>
                <a:gd name="T11" fmla="*/ 823 h 1568"/>
                <a:gd name="T12" fmla="*/ 110 w 982"/>
                <a:gd name="T13" fmla="*/ 1053 h 1568"/>
                <a:gd name="T14" fmla="*/ 97 w 982"/>
                <a:gd name="T15" fmla="*/ 1303 h 1568"/>
                <a:gd name="T16" fmla="*/ 78 w 982"/>
                <a:gd name="T17" fmla="*/ 1445 h 1568"/>
                <a:gd name="T18" fmla="*/ 220 w 982"/>
                <a:gd name="T19" fmla="*/ 1546 h 1568"/>
                <a:gd name="T20" fmla="*/ 452 w 982"/>
                <a:gd name="T21" fmla="*/ 1483 h 1568"/>
                <a:gd name="T22" fmla="*/ 589 w 982"/>
                <a:gd name="T23" fmla="*/ 1452 h 1568"/>
                <a:gd name="T24" fmla="*/ 898 w 982"/>
                <a:gd name="T25" fmla="*/ 1120 h 1568"/>
                <a:gd name="T26" fmla="*/ 359 w 982"/>
                <a:gd name="T27" fmla="*/ 539 h 1568"/>
                <a:gd name="T28" fmla="*/ 844 w 982"/>
                <a:gd name="T29" fmla="*/ 1132 h 1568"/>
                <a:gd name="T30" fmla="*/ 809 w 982"/>
                <a:gd name="T31" fmla="*/ 1136 h 1568"/>
                <a:gd name="T32" fmla="*/ 719 w 982"/>
                <a:gd name="T33" fmla="*/ 1094 h 1568"/>
                <a:gd name="T34" fmla="*/ 695 w 982"/>
                <a:gd name="T35" fmla="*/ 1063 h 1568"/>
                <a:gd name="T36" fmla="*/ 624 w 982"/>
                <a:gd name="T37" fmla="*/ 879 h 1568"/>
                <a:gd name="T38" fmla="*/ 543 w 982"/>
                <a:gd name="T39" fmla="*/ 1050 h 1568"/>
                <a:gd name="T40" fmla="*/ 651 w 982"/>
                <a:gd name="T41" fmla="*/ 547 h 1568"/>
                <a:gd name="T42" fmla="*/ 638 w 982"/>
                <a:gd name="T43" fmla="*/ 581 h 1568"/>
                <a:gd name="T44" fmla="*/ 704 w 982"/>
                <a:gd name="T45" fmla="*/ 922 h 1568"/>
                <a:gd name="T46" fmla="*/ 781 w 982"/>
                <a:gd name="T47" fmla="*/ 781 h 1568"/>
                <a:gd name="T48" fmla="*/ 825 w 982"/>
                <a:gd name="T49" fmla="*/ 653 h 1568"/>
                <a:gd name="T50" fmla="*/ 719 w 982"/>
                <a:gd name="T51" fmla="*/ 629 h 1568"/>
                <a:gd name="T52" fmla="*/ 675 w 982"/>
                <a:gd name="T53" fmla="*/ 130 h 1568"/>
                <a:gd name="T54" fmla="*/ 671 w 982"/>
                <a:gd name="T55" fmla="*/ 200 h 1568"/>
                <a:gd name="T56" fmla="*/ 550 w 982"/>
                <a:gd name="T57" fmla="*/ 307 h 1568"/>
                <a:gd name="T58" fmla="*/ 521 w 982"/>
                <a:gd name="T59" fmla="*/ 311 h 1568"/>
                <a:gd name="T60" fmla="*/ 422 w 982"/>
                <a:gd name="T61" fmla="*/ 1023 h 1568"/>
                <a:gd name="T62" fmla="*/ 401 w 982"/>
                <a:gd name="T63" fmla="*/ 1136 h 1568"/>
                <a:gd name="T64" fmla="*/ 372 w 982"/>
                <a:gd name="T65" fmla="*/ 1109 h 1568"/>
                <a:gd name="T66" fmla="*/ 215 w 982"/>
                <a:gd name="T67" fmla="*/ 1264 h 1568"/>
                <a:gd name="T68" fmla="*/ 267 w 982"/>
                <a:gd name="T69" fmla="*/ 1281 h 1568"/>
                <a:gd name="T70" fmla="*/ 330 w 982"/>
                <a:gd name="T71" fmla="*/ 1211 h 1568"/>
                <a:gd name="T72" fmla="*/ 277 w 982"/>
                <a:gd name="T73" fmla="*/ 1345 h 1568"/>
                <a:gd name="T74" fmla="*/ 365 w 982"/>
                <a:gd name="T75" fmla="*/ 1277 h 1568"/>
                <a:gd name="T76" fmla="*/ 367 w 982"/>
                <a:gd name="T77" fmla="*/ 1342 h 1568"/>
                <a:gd name="T78" fmla="*/ 409 w 982"/>
                <a:gd name="T79" fmla="*/ 1327 h 1568"/>
                <a:gd name="T80" fmla="*/ 421 w 982"/>
                <a:gd name="T81" fmla="*/ 1372 h 1568"/>
                <a:gd name="T82" fmla="*/ 458 w 982"/>
                <a:gd name="T83" fmla="*/ 1217 h 1568"/>
                <a:gd name="T84" fmla="*/ 438 w 982"/>
                <a:gd name="T85" fmla="*/ 1072 h 1568"/>
                <a:gd name="T86" fmla="*/ 500 w 982"/>
                <a:gd name="T87" fmla="*/ 1181 h 1568"/>
                <a:gd name="T88" fmla="*/ 588 w 982"/>
                <a:gd name="T89" fmla="*/ 1116 h 1568"/>
                <a:gd name="T90" fmla="*/ 518 w 982"/>
                <a:gd name="T91" fmla="*/ 1178 h 1568"/>
                <a:gd name="T92" fmla="*/ 449 w 982"/>
                <a:gd name="T93" fmla="*/ 1251 h 1568"/>
                <a:gd name="T94" fmla="*/ 500 w 982"/>
                <a:gd name="T95" fmla="*/ 1338 h 1568"/>
                <a:gd name="T96" fmla="*/ 477 w 982"/>
                <a:gd name="T97" fmla="*/ 1293 h 1568"/>
                <a:gd name="T98" fmla="*/ 564 w 982"/>
                <a:gd name="T99" fmla="*/ 1364 h 1568"/>
                <a:gd name="T100" fmla="*/ 560 w 982"/>
                <a:gd name="T101" fmla="*/ 1285 h 1568"/>
                <a:gd name="T102" fmla="*/ 573 w 982"/>
                <a:gd name="T103" fmla="*/ 1278 h 1568"/>
                <a:gd name="T104" fmla="*/ 604 w 982"/>
                <a:gd name="T105" fmla="*/ 1296 h 1568"/>
                <a:gd name="T106" fmla="*/ 707 w 982"/>
                <a:gd name="T107" fmla="*/ 1268 h 1568"/>
                <a:gd name="T108" fmla="*/ 606 w 982"/>
                <a:gd name="T109" fmla="*/ 1164 h 1568"/>
                <a:gd name="T110" fmla="*/ 623 w 982"/>
                <a:gd name="T111" fmla="*/ 1113 h 1568"/>
                <a:gd name="T112" fmla="*/ 623 w 982"/>
                <a:gd name="T113" fmla="*/ 1086 h 1568"/>
                <a:gd name="T114" fmla="*/ 732 w 982"/>
                <a:gd name="T115" fmla="*/ 1201 h 1568"/>
                <a:gd name="T116" fmla="*/ 830 w 982"/>
                <a:gd name="T117" fmla="*/ 1173 h 1568"/>
                <a:gd name="T118" fmla="*/ 798 w 982"/>
                <a:gd name="T119" fmla="*/ 1274 h 1568"/>
                <a:gd name="T120" fmla="*/ 688 w 982"/>
                <a:gd name="T121" fmla="*/ 1330 h 1568"/>
                <a:gd name="T122" fmla="*/ 630 w 982"/>
                <a:gd name="T123" fmla="*/ 1371 h 1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82" h="1568">
                  <a:moveTo>
                    <a:pt x="718" y="1387"/>
                  </a:moveTo>
                  <a:cubicBezTo>
                    <a:pt x="763" y="1352"/>
                    <a:pt x="803" y="1310"/>
                    <a:pt x="843" y="1269"/>
                  </a:cubicBezTo>
                  <a:cubicBezTo>
                    <a:pt x="843" y="1267"/>
                    <a:pt x="843" y="1265"/>
                    <a:pt x="841" y="1265"/>
                  </a:cubicBezTo>
                  <a:cubicBezTo>
                    <a:pt x="837" y="1266"/>
                    <a:pt x="834" y="1283"/>
                    <a:pt x="827" y="1272"/>
                  </a:cubicBezTo>
                  <a:cubicBezTo>
                    <a:pt x="826" y="1270"/>
                    <a:pt x="831" y="1251"/>
                    <a:pt x="835" y="1250"/>
                  </a:cubicBezTo>
                  <a:cubicBezTo>
                    <a:pt x="836" y="1250"/>
                    <a:pt x="842" y="1252"/>
                    <a:pt x="842" y="1250"/>
                  </a:cubicBezTo>
                  <a:cubicBezTo>
                    <a:pt x="841" y="1241"/>
                    <a:pt x="809" y="1227"/>
                    <a:pt x="810" y="1222"/>
                  </a:cubicBezTo>
                  <a:cubicBezTo>
                    <a:pt x="812" y="1217"/>
                    <a:pt x="838" y="1235"/>
                    <a:pt x="839" y="1240"/>
                  </a:cubicBezTo>
                  <a:cubicBezTo>
                    <a:pt x="840" y="1240"/>
                    <a:pt x="840" y="1240"/>
                    <a:pt x="840" y="1240"/>
                  </a:cubicBezTo>
                  <a:cubicBezTo>
                    <a:pt x="841" y="1242"/>
                    <a:pt x="847" y="1253"/>
                    <a:pt x="847" y="1254"/>
                  </a:cubicBezTo>
                  <a:cubicBezTo>
                    <a:pt x="848" y="1255"/>
                    <a:pt x="851" y="1257"/>
                    <a:pt x="852" y="1259"/>
                  </a:cubicBezTo>
                  <a:cubicBezTo>
                    <a:pt x="870" y="1241"/>
                    <a:pt x="887" y="1223"/>
                    <a:pt x="905" y="1206"/>
                  </a:cubicBezTo>
                  <a:cubicBezTo>
                    <a:pt x="936" y="1176"/>
                    <a:pt x="948" y="1163"/>
                    <a:pt x="967" y="1124"/>
                  </a:cubicBezTo>
                  <a:cubicBezTo>
                    <a:pt x="969" y="1120"/>
                    <a:pt x="982" y="1105"/>
                    <a:pt x="981" y="1101"/>
                  </a:cubicBezTo>
                  <a:cubicBezTo>
                    <a:pt x="979" y="1095"/>
                    <a:pt x="964" y="1084"/>
                    <a:pt x="960" y="1079"/>
                  </a:cubicBezTo>
                  <a:cubicBezTo>
                    <a:pt x="952" y="1071"/>
                    <a:pt x="955" y="1061"/>
                    <a:pt x="947" y="1054"/>
                  </a:cubicBezTo>
                  <a:cubicBezTo>
                    <a:pt x="926" y="1037"/>
                    <a:pt x="898" y="1030"/>
                    <a:pt x="878" y="1013"/>
                  </a:cubicBezTo>
                  <a:cubicBezTo>
                    <a:pt x="873" y="1009"/>
                    <a:pt x="837" y="984"/>
                    <a:pt x="840" y="978"/>
                  </a:cubicBezTo>
                  <a:cubicBezTo>
                    <a:pt x="841" y="972"/>
                    <a:pt x="896" y="947"/>
                    <a:pt x="895" y="928"/>
                  </a:cubicBezTo>
                  <a:cubicBezTo>
                    <a:pt x="891" y="885"/>
                    <a:pt x="849" y="898"/>
                    <a:pt x="844" y="880"/>
                  </a:cubicBezTo>
                  <a:cubicBezTo>
                    <a:pt x="844" y="880"/>
                    <a:pt x="847" y="868"/>
                    <a:pt x="847" y="868"/>
                  </a:cubicBezTo>
                  <a:cubicBezTo>
                    <a:pt x="844" y="862"/>
                    <a:pt x="832" y="864"/>
                    <a:pt x="838" y="853"/>
                  </a:cubicBezTo>
                  <a:cubicBezTo>
                    <a:pt x="840" y="849"/>
                    <a:pt x="862" y="848"/>
                    <a:pt x="859" y="840"/>
                  </a:cubicBezTo>
                  <a:cubicBezTo>
                    <a:pt x="850" y="814"/>
                    <a:pt x="821" y="828"/>
                    <a:pt x="808" y="802"/>
                  </a:cubicBezTo>
                  <a:cubicBezTo>
                    <a:pt x="791" y="768"/>
                    <a:pt x="826" y="780"/>
                    <a:pt x="828" y="770"/>
                  </a:cubicBezTo>
                  <a:cubicBezTo>
                    <a:pt x="831" y="747"/>
                    <a:pt x="818" y="761"/>
                    <a:pt x="805" y="754"/>
                  </a:cubicBezTo>
                  <a:cubicBezTo>
                    <a:pt x="800" y="752"/>
                    <a:pt x="817" y="736"/>
                    <a:pt x="817" y="730"/>
                  </a:cubicBezTo>
                  <a:cubicBezTo>
                    <a:pt x="817" y="726"/>
                    <a:pt x="817" y="722"/>
                    <a:pt x="817" y="718"/>
                  </a:cubicBezTo>
                  <a:cubicBezTo>
                    <a:pt x="817" y="716"/>
                    <a:pt x="816" y="713"/>
                    <a:pt x="817" y="711"/>
                  </a:cubicBezTo>
                  <a:cubicBezTo>
                    <a:pt x="817" y="711"/>
                    <a:pt x="831" y="707"/>
                    <a:pt x="826" y="701"/>
                  </a:cubicBezTo>
                  <a:cubicBezTo>
                    <a:pt x="823" y="698"/>
                    <a:pt x="813" y="695"/>
                    <a:pt x="816" y="691"/>
                  </a:cubicBezTo>
                  <a:cubicBezTo>
                    <a:pt x="822" y="683"/>
                    <a:pt x="844" y="691"/>
                    <a:pt x="850" y="689"/>
                  </a:cubicBezTo>
                  <a:cubicBezTo>
                    <a:pt x="857" y="685"/>
                    <a:pt x="841" y="648"/>
                    <a:pt x="839" y="643"/>
                  </a:cubicBezTo>
                  <a:cubicBezTo>
                    <a:pt x="830" y="615"/>
                    <a:pt x="797" y="560"/>
                    <a:pt x="782" y="533"/>
                  </a:cubicBezTo>
                  <a:cubicBezTo>
                    <a:pt x="775" y="522"/>
                    <a:pt x="760" y="514"/>
                    <a:pt x="756" y="502"/>
                  </a:cubicBezTo>
                  <a:cubicBezTo>
                    <a:pt x="746" y="466"/>
                    <a:pt x="856" y="405"/>
                    <a:pt x="843" y="375"/>
                  </a:cubicBezTo>
                  <a:cubicBezTo>
                    <a:pt x="839" y="368"/>
                    <a:pt x="819" y="362"/>
                    <a:pt x="813" y="357"/>
                  </a:cubicBezTo>
                  <a:cubicBezTo>
                    <a:pt x="800" y="346"/>
                    <a:pt x="795" y="324"/>
                    <a:pt x="782" y="315"/>
                  </a:cubicBezTo>
                  <a:cubicBezTo>
                    <a:pt x="766" y="305"/>
                    <a:pt x="737" y="309"/>
                    <a:pt x="724" y="297"/>
                  </a:cubicBezTo>
                  <a:cubicBezTo>
                    <a:pt x="719" y="292"/>
                    <a:pt x="716" y="277"/>
                    <a:pt x="713" y="271"/>
                  </a:cubicBezTo>
                  <a:cubicBezTo>
                    <a:pt x="692" y="218"/>
                    <a:pt x="737" y="229"/>
                    <a:pt x="733" y="200"/>
                  </a:cubicBezTo>
                  <a:cubicBezTo>
                    <a:pt x="730" y="178"/>
                    <a:pt x="708" y="198"/>
                    <a:pt x="700" y="189"/>
                  </a:cubicBezTo>
                  <a:cubicBezTo>
                    <a:pt x="697" y="186"/>
                    <a:pt x="726" y="172"/>
                    <a:pt x="746" y="163"/>
                  </a:cubicBezTo>
                  <a:cubicBezTo>
                    <a:pt x="694" y="144"/>
                    <a:pt x="781" y="107"/>
                    <a:pt x="777" y="91"/>
                  </a:cubicBezTo>
                  <a:cubicBezTo>
                    <a:pt x="772" y="67"/>
                    <a:pt x="750" y="57"/>
                    <a:pt x="725" y="47"/>
                  </a:cubicBezTo>
                  <a:cubicBezTo>
                    <a:pt x="719" y="45"/>
                    <a:pt x="713" y="43"/>
                    <a:pt x="707" y="40"/>
                  </a:cubicBezTo>
                  <a:cubicBezTo>
                    <a:pt x="705" y="39"/>
                    <a:pt x="703" y="38"/>
                    <a:pt x="701" y="37"/>
                  </a:cubicBezTo>
                  <a:cubicBezTo>
                    <a:pt x="698" y="36"/>
                    <a:pt x="695" y="34"/>
                    <a:pt x="692" y="33"/>
                  </a:cubicBezTo>
                  <a:cubicBezTo>
                    <a:pt x="678" y="25"/>
                    <a:pt x="665" y="15"/>
                    <a:pt x="656" y="0"/>
                  </a:cubicBezTo>
                  <a:cubicBezTo>
                    <a:pt x="654" y="0"/>
                    <a:pt x="652" y="0"/>
                    <a:pt x="650" y="0"/>
                  </a:cubicBezTo>
                  <a:cubicBezTo>
                    <a:pt x="649" y="0"/>
                    <a:pt x="647" y="0"/>
                    <a:pt x="645" y="0"/>
                  </a:cubicBezTo>
                  <a:cubicBezTo>
                    <a:pt x="621" y="0"/>
                    <a:pt x="611" y="15"/>
                    <a:pt x="587" y="23"/>
                  </a:cubicBezTo>
                  <a:cubicBezTo>
                    <a:pt x="568" y="30"/>
                    <a:pt x="544" y="10"/>
                    <a:pt x="525" y="22"/>
                  </a:cubicBezTo>
                  <a:cubicBezTo>
                    <a:pt x="521" y="24"/>
                    <a:pt x="486" y="55"/>
                    <a:pt x="481" y="59"/>
                  </a:cubicBezTo>
                  <a:cubicBezTo>
                    <a:pt x="480" y="61"/>
                    <a:pt x="478" y="68"/>
                    <a:pt x="475" y="75"/>
                  </a:cubicBezTo>
                  <a:cubicBezTo>
                    <a:pt x="474" y="76"/>
                    <a:pt x="473" y="78"/>
                    <a:pt x="472" y="80"/>
                  </a:cubicBezTo>
                  <a:cubicBezTo>
                    <a:pt x="471" y="81"/>
                    <a:pt x="470" y="82"/>
                    <a:pt x="470" y="83"/>
                  </a:cubicBezTo>
                  <a:cubicBezTo>
                    <a:pt x="469" y="84"/>
                    <a:pt x="469" y="85"/>
                    <a:pt x="468" y="85"/>
                  </a:cubicBezTo>
                  <a:cubicBezTo>
                    <a:pt x="467" y="92"/>
                    <a:pt x="470" y="104"/>
                    <a:pt x="468" y="110"/>
                  </a:cubicBezTo>
                  <a:cubicBezTo>
                    <a:pt x="464" y="120"/>
                    <a:pt x="457" y="125"/>
                    <a:pt x="458" y="139"/>
                  </a:cubicBezTo>
                  <a:cubicBezTo>
                    <a:pt x="458" y="143"/>
                    <a:pt x="461" y="149"/>
                    <a:pt x="463" y="154"/>
                  </a:cubicBezTo>
                  <a:cubicBezTo>
                    <a:pt x="464" y="155"/>
                    <a:pt x="464" y="156"/>
                    <a:pt x="464" y="157"/>
                  </a:cubicBezTo>
                  <a:cubicBezTo>
                    <a:pt x="465" y="157"/>
                    <a:pt x="465" y="158"/>
                    <a:pt x="465" y="159"/>
                  </a:cubicBezTo>
                  <a:cubicBezTo>
                    <a:pt x="466" y="160"/>
                    <a:pt x="466" y="162"/>
                    <a:pt x="466" y="163"/>
                  </a:cubicBezTo>
                  <a:cubicBezTo>
                    <a:pt x="467" y="165"/>
                    <a:pt x="467" y="166"/>
                    <a:pt x="467" y="168"/>
                  </a:cubicBezTo>
                  <a:cubicBezTo>
                    <a:pt x="466" y="170"/>
                    <a:pt x="465" y="173"/>
                    <a:pt x="464" y="175"/>
                  </a:cubicBezTo>
                  <a:cubicBezTo>
                    <a:pt x="458" y="188"/>
                    <a:pt x="439" y="186"/>
                    <a:pt x="428" y="189"/>
                  </a:cubicBezTo>
                  <a:cubicBezTo>
                    <a:pt x="421" y="191"/>
                    <a:pt x="417" y="194"/>
                    <a:pt x="415" y="199"/>
                  </a:cubicBezTo>
                  <a:cubicBezTo>
                    <a:pt x="409" y="208"/>
                    <a:pt x="410" y="221"/>
                    <a:pt x="403" y="229"/>
                  </a:cubicBezTo>
                  <a:cubicBezTo>
                    <a:pt x="397" y="234"/>
                    <a:pt x="391" y="233"/>
                    <a:pt x="386" y="239"/>
                  </a:cubicBezTo>
                  <a:cubicBezTo>
                    <a:pt x="386" y="239"/>
                    <a:pt x="386" y="239"/>
                    <a:pt x="386" y="239"/>
                  </a:cubicBezTo>
                  <a:cubicBezTo>
                    <a:pt x="386" y="240"/>
                    <a:pt x="378" y="232"/>
                    <a:pt x="372" y="226"/>
                  </a:cubicBezTo>
                  <a:cubicBezTo>
                    <a:pt x="371" y="226"/>
                    <a:pt x="371" y="225"/>
                    <a:pt x="370" y="224"/>
                  </a:cubicBezTo>
                  <a:cubicBezTo>
                    <a:pt x="368" y="223"/>
                    <a:pt x="366" y="221"/>
                    <a:pt x="366" y="221"/>
                  </a:cubicBezTo>
                  <a:cubicBezTo>
                    <a:pt x="358" y="217"/>
                    <a:pt x="314" y="202"/>
                    <a:pt x="297" y="198"/>
                  </a:cubicBezTo>
                  <a:cubicBezTo>
                    <a:pt x="294" y="197"/>
                    <a:pt x="292" y="197"/>
                    <a:pt x="291" y="197"/>
                  </a:cubicBezTo>
                  <a:cubicBezTo>
                    <a:pt x="286" y="198"/>
                    <a:pt x="282" y="212"/>
                    <a:pt x="278" y="215"/>
                  </a:cubicBezTo>
                  <a:cubicBezTo>
                    <a:pt x="274" y="218"/>
                    <a:pt x="253" y="226"/>
                    <a:pt x="241" y="228"/>
                  </a:cubicBezTo>
                  <a:cubicBezTo>
                    <a:pt x="240" y="228"/>
                    <a:pt x="239" y="228"/>
                    <a:pt x="239" y="228"/>
                  </a:cubicBezTo>
                  <a:cubicBezTo>
                    <a:pt x="238" y="229"/>
                    <a:pt x="237" y="229"/>
                    <a:pt x="237" y="229"/>
                  </a:cubicBezTo>
                  <a:cubicBezTo>
                    <a:pt x="236" y="229"/>
                    <a:pt x="235" y="229"/>
                    <a:pt x="235" y="229"/>
                  </a:cubicBezTo>
                  <a:cubicBezTo>
                    <a:pt x="234" y="229"/>
                    <a:pt x="234" y="229"/>
                    <a:pt x="233" y="229"/>
                  </a:cubicBezTo>
                  <a:cubicBezTo>
                    <a:pt x="233" y="229"/>
                    <a:pt x="221" y="218"/>
                    <a:pt x="221" y="218"/>
                  </a:cubicBezTo>
                  <a:cubicBezTo>
                    <a:pt x="216" y="216"/>
                    <a:pt x="208" y="215"/>
                    <a:pt x="199" y="215"/>
                  </a:cubicBezTo>
                  <a:cubicBezTo>
                    <a:pt x="194" y="215"/>
                    <a:pt x="187" y="215"/>
                    <a:pt x="182" y="216"/>
                  </a:cubicBezTo>
                  <a:cubicBezTo>
                    <a:pt x="177" y="216"/>
                    <a:pt x="173" y="216"/>
                    <a:pt x="169" y="216"/>
                  </a:cubicBezTo>
                  <a:cubicBezTo>
                    <a:pt x="167" y="216"/>
                    <a:pt x="164" y="217"/>
                    <a:pt x="162" y="215"/>
                  </a:cubicBezTo>
                  <a:cubicBezTo>
                    <a:pt x="157" y="210"/>
                    <a:pt x="160" y="201"/>
                    <a:pt x="158" y="194"/>
                  </a:cubicBezTo>
                  <a:cubicBezTo>
                    <a:pt x="155" y="189"/>
                    <a:pt x="150" y="181"/>
                    <a:pt x="143" y="172"/>
                  </a:cubicBezTo>
                  <a:cubicBezTo>
                    <a:pt x="141" y="170"/>
                    <a:pt x="139" y="168"/>
                    <a:pt x="137" y="166"/>
                  </a:cubicBezTo>
                  <a:cubicBezTo>
                    <a:pt x="134" y="163"/>
                    <a:pt x="132" y="160"/>
                    <a:pt x="129" y="157"/>
                  </a:cubicBezTo>
                  <a:cubicBezTo>
                    <a:pt x="109" y="137"/>
                    <a:pt x="83" y="118"/>
                    <a:pt x="68" y="118"/>
                  </a:cubicBezTo>
                  <a:cubicBezTo>
                    <a:pt x="67" y="118"/>
                    <a:pt x="66" y="118"/>
                    <a:pt x="65" y="118"/>
                  </a:cubicBezTo>
                  <a:cubicBezTo>
                    <a:pt x="60" y="118"/>
                    <a:pt x="51" y="125"/>
                    <a:pt x="45" y="132"/>
                  </a:cubicBezTo>
                  <a:cubicBezTo>
                    <a:pt x="44" y="133"/>
                    <a:pt x="43" y="134"/>
                    <a:pt x="43" y="134"/>
                  </a:cubicBezTo>
                  <a:cubicBezTo>
                    <a:pt x="42" y="136"/>
                    <a:pt x="41" y="137"/>
                    <a:pt x="41" y="138"/>
                  </a:cubicBezTo>
                  <a:cubicBezTo>
                    <a:pt x="40" y="139"/>
                    <a:pt x="40" y="140"/>
                    <a:pt x="40" y="142"/>
                  </a:cubicBezTo>
                  <a:cubicBezTo>
                    <a:pt x="40" y="143"/>
                    <a:pt x="42" y="145"/>
                    <a:pt x="43" y="148"/>
                  </a:cubicBezTo>
                  <a:cubicBezTo>
                    <a:pt x="43" y="149"/>
                    <a:pt x="44" y="149"/>
                    <a:pt x="44" y="149"/>
                  </a:cubicBezTo>
                  <a:cubicBezTo>
                    <a:pt x="44" y="150"/>
                    <a:pt x="45" y="151"/>
                    <a:pt x="45" y="152"/>
                  </a:cubicBezTo>
                  <a:cubicBezTo>
                    <a:pt x="48" y="158"/>
                    <a:pt x="49" y="164"/>
                    <a:pt x="43" y="165"/>
                  </a:cubicBezTo>
                  <a:cubicBezTo>
                    <a:pt x="43" y="165"/>
                    <a:pt x="43" y="165"/>
                    <a:pt x="43" y="165"/>
                  </a:cubicBezTo>
                  <a:cubicBezTo>
                    <a:pt x="43" y="165"/>
                    <a:pt x="43" y="165"/>
                    <a:pt x="43" y="165"/>
                  </a:cubicBezTo>
                  <a:cubicBezTo>
                    <a:pt x="40" y="166"/>
                    <a:pt x="22" y="156"/>
                    <a:pt x="10" y="155"/>
                  </a:cubicBezTo>
                  <a:cubicBezTo>
                    <a:pt x="9" y="155"/>
                    <a:pt x="8" y="155"/>
                    <a:pt x="7" y="155"/>
                  </a:cubicBezTo>
                  <a:cubicBezTo>
                    <a:pt x="4" y="155"/>
                    <a:pt x="2" y="156"/>
                    <a:pt x="1" y="158"/>
                  </a:cubicBezTo>
                  <a:cubicBezTo>
                    <a:pt x="0" y="158"/>
                    <a:pt x="0" y="159"/>
                    <a:pt x="0" y="160"/>
                  </a:cubicBezTo>
                  <a:cubicBezTo>
                    <a:pt x="0" y="160"/>
                    <a:pt x="0" y="160"/>
                    <a:pt x="0" y="161"/>
                  </a:cubicBezTo>
                  <a:cubicBezTo>
                    <a:pt x="1" y="161"/>
                    <a:pt x="2" y="162"/>
                    <a:pt x="4" y="163"/>
                  </a:cubicBezTo>
                  <a:cubicBezTo>
                    <a:pt x="12" y="166"/>
                    <a:pt x="30" y="171"/>
                    <a:pt x="31" y="179"/>
                  </a:cubicBezTo>
                  <a:cubicBezTo>
                    <a:pt x="32" y="185"/>
                    <a:pt x="19" y="177"/>
                    <a:pt x="28" y="186"/>
                  </a:cubicBezTo>
                  <a:cubicBezTo>
                    <a:pt x="35" y="193"/>
                    <a:pt x="119" y="245"/>
                    <a:pt x="131" y="252"/>
                  </a:cubicBezTo>
                  <a:cubicBezTo>
                    <a:pt x="160" y="269"/>
                    <a:pt x="200" y="258"/>
                    <a:pt x="226" y="289"/>
                  </a:cubicBezTo>
                  <a:cubicBezTo>
                    <a:pt x="230" y="294"/>
                    <a:pt x="227" y="305"/>
                    <a:pt x="229" y="307"/>
                  </a:cubicBezTo>
                  <a:cubicBezTo>
                    <a:pt x="230" y="309"/>
                    <a:pt x="233" y="306"/>
                    <a:pt x="236" y="306"/>
                  </a:cubicBezTo>
                  <a:cubicBezTo>
                    <a:pt x="246" y="304"/>
                    <a:pt x="247" y="310"/>
                    <a:pt x="253" y="318"/>
                  </a:cubicBezTo>
                  <a:cubicBezTo>
                    <a:pt x="260" y="325"/>
                    <a:pt x="282" y="331"/>
                    <a:pt x="275" y="339"/>
                  </a:cubicBezTo>
                  <a:cubicBezTo>
                    <a:pt x="271" y="343"/>
                    <a:pt x="263" y="342"/>
                    <a:pt x="260" y="346"/>
                  </a:cubicBezTo>
                  <a:cubicBezTo>
                    <a:pt x="251" y="361"/>
                    <a:pt x="268" y="380"/>
                    <a:pt x="265" y="393"/>
                  </a:cubicBezTo>
                  <a:cubicBezTo>
                    <a:pt x="263" y="399"/>
                    <a:pt x="250" y="404"/>
                    <a:pt x="254" y="411"/>
                  </a:cubicBezTo>
                  <a:cubicBezTo>
                    <a:pt x="259" y="421"/>
                    <a:pt x="275" y="411"/>
                    <a:pt x="284" y="419"/>
                  </a:cubicBezTo>
                  <a:cubicBezTo>
                    <a:pt x="294" y="428"/>
                    <a:pt x="267" y="449"/>
                    <a:pt x="266" y="458"/>
                  </a:cubicBezTo>
                  <a:cubicBezTo>
                    <a:pt x="265" y="478"/>
                    <a:pt x="308" y="495"/>
                    <a:pt x="305" y="515"/>
                  </a:cubicBezTo>
                  <a:cubicBezTo>
                    <a:pt x="305" y="515"/>
                    <a:pt x="296" y="522"/>
                    <a:pt x="296" y="522"/>
                  </a:cubicBezTo>
                  <a:cubicBezTo>
                    <a:pt x="292" y="530"/>
                    <a:pt x="298" y="543"/>
                    <a:pt x="294" y="551"/>
                  </a:cubicBezTo>
                  <a:cubicBezTo>
                    <a:pt x="288" y="563"/>
                    <a:pt x="273" y="559"/>
                    <a:pt x="273" y="576"/>
                  </a:cubicBezTo>
                  <a:cubicBezTo>
                    <a:pt x="273" y="615"/>
                    <a:pt x="310" y="632"/>
                    <a:pt x="320" y="667"/>
                  </a:cubicBezTo>
                  <a:cubicBezTo>
                    <a:pt x="321" y="670"/>
                    <a:pt x="343" y="672"/>
                    <a:pt x="352" y="669"/>
                  </a:cubicBezTo>
                  <a:cubicBezTo>
                    <a:pt x="357" y="668"/>
                    <a:pt x="362" y="655"/>
                    <a:pt x="367" y="652"/>
                  </a:cubicBezTo>
                  <a:cubicBezTo>
                    <a:pt x="368" y="651"/>
                    <a:pt x="368" y="652"/>
                    <a:pt x="368" y="653"/>
                  </a:cubicBezTo>
                  <a:cubicBezTo>
                    <a:pt x="368" y="653"/>
                    <a:pt x="356" y="666"/>
                    <a:pt x="354" y="670"/>
                  </a:cubicBezTo>
                  <a:cubicBezTo>
                    <a:pt x="352" y="677"/>
                    <a:pt x="362" y="690"/>
                    <a:pt x="364" y="694"/>
                  </a:cubicBezTo>
                  <a:cubicBezTo>
                    <a:pt x="367" y="697"/>
                    <a:pt x="373" y="689"/>
                    <a:pt x="377" y="690"/>
                  </a:cubicBezTo>
                  <a:cubicBezTo>
                    <a:pt x="386" y="692"/>
                    <a:pt x="422" y="708"/>
                    <a:pt x="425" y="717"/>
                  </a:cubicBezTo>
                  <a:cubicBezTo>
                    <a:pt x="428" y="728"/>
                    <a:pt x="421" y="728"/>
                    <a:pt x="418" y="733"/>
                  </a:cubicBezTo>
                  <a:cubicBezTo>
                    <a:pt x="417" y="733"/>
                    <a:pt x="419" y="734"/>
                    <a:pt x="419" y="735"/>
                  </a:cubicBezTo>
                  <a:cubicBezTo>
                    <a:pt x="421" y="743"/>
                    <a:pt x="425" y="757"/>
                    <a:pt x="418" y="764"/>
                  </a:cubicBezTo>
                  <a:cubicBezTo>
                    <a:pt x="417" y="765"/>
                    <a:pt x="409" y="769"/>
                    <a:pt x="413" y="772"/>
                  </a:cubicBezTo>
                  <a:cubicBezTo>
                    <a:pt x="415" y="774"/>
                    <a:pt x="444" y="788"/>
                    <a:pt x="433" y="797"/>
                  </a:cubicBezTo>
                  <a:cubicBezTo>
                    <a:pt x="429" y="801"/>
                    <a:pt x="413" y="784"/>
                    <a:pt x="411" y="795"/>
                  </a:cubicBezTo>
                  <a:cubicBezTo>
                    <a:pt x="409" y="800"/>
                    <a:pt x="439" y="810"/>
                    <a:pt x="424" y="817"/>
                  </a:cubicBezTo>
                  <a:cubicBezTo>
                    <a:pt x="410" y="823"/>
                    <a:pt x="414" y="805"/>
                    <a:pt x="403" y="803"/>
                  </a:cubicBezTo>
                  <a:cubicBezTo>
                    <a:pt x="397" y="802"/>
                    <a:pt x="375" y="810"/>
                    <a:pt x="370" y="812"/>
                  </a:cubicBezTo>
                  <a:cubicBezTo>
                    <a:pt x="366" y="813"/>
                    <a:pt x="368" y="823"/>
                    <a:pt x="364" y="823"/>
                  </a:cubicBezTo>
                  <a:cubicBezTo>
                    <a:pt x="361" y="823"/>
                    <a:pt x="356" y="816"/>
                    <a:pt x="353" y="820"/>
                  </a:cubicBezTo>
                  <a:cubicBezTo>
                    <a:pt x="351" y="822"/>
                    <a:pt x="358" y="822"/>
                    <a:pt x="356" y="824"/>
                  </a:cubicBezTo>
                  <a:cubicBezTo>
                    <a:pt x="347" y="836"/>
                    <a:pt x="340" y="856"/>
                    <a:pt x="335" y="862"/>
                  </a:cubicBezTo>
                  <a:cubicBezTo>
                    <a:pt x="329" y="870"/>
                    <a:pt x="292" y="882"/>
                    <a:pt x="298" y="901"/>
                  </a:cubicBezTo>
                  <a:cubicBezTo>
                    <a:pt x="298" y="901"/>
                    <a:pt x="300" y="903"/>
                    <a:pt x="300" y="903"/>
                  </a:cubicBezTo>
                  <a:cubicBezTo>
                    <a:pt x="298" y="905"/>
                    <a:pt x="294" y="899"/>
                    <a:pt x="292" y="901"/>
                  </a:cubicBezTo>
                  <a:cubicBezTo>
                    <a:pt x="287" y="906"/>
                    <a:pt x="266" y="925"/>
                    <a:pt x="267" y="928"/>
                  </a:cubicBezTo>
                  <a:cubicBezTo>
                    <a:pt x="268" y="930"/>
                    <a:pt x="274" y="934"/>
                    <a:pt x="270" y="937"/>
                  </a:cubicBezTo>
                  <a:cubicBezTo>
                    <a:pt x="265" y="940"/>
                    <a:pt x="254" y="930"/>
                    <a:pt x="250" y="933"/>
                  </a:cubicBezTo>
                  <a:cubicBezTo>
                    <a:pt x="245" y="937"/>
                    <a:pt x="257" y="948"/>
                    <a:pt x="252" y="953"/>
                  </a:cubicBezTo>
                  <a:cubicBezTo>
                    <a:pt x="245" y="960"/>
                    <a:pt x="227" y="959"/>
                    <a:pt x="221" y="963"/>
                  </a:cubicBezTo>
                  <a:cubicBezTo>
                    <a:pt x="214" y="967"/>
                    <a:pt x="218" y="975"/>
                    <a:pt x="216" y="977"/>
                  </a:cubicBezTo>
                  <a:cubicBezTo>
                    <a:pt x="213" y="979"/>
                    <a:pt x="211" y="966"/>
                    <a:pt x="207" y="971"/>
                  </a:cubicBezTo>
                  <a:cubicBezTo>
                    <a:pt x="204" y="974"/>
                    <a:pt x="210" y="992"/>
                    <a:pt x="193" y="997"/>
                  </a:cubicBezTo>
                  <a:cubicBezTo>
                    <a:pt x="192" y="998"/>
                    <a:pt x="184" y="979"/>
                    <a:pt x="179" y="984"/>
                  </a:cubicBezTo>
                  <a:cubicBezTo>
                    <a:pt x="174" y="989"/>
                    <a:pt x="169" y="1019"/>
                    <a:pt x="163" y="1022"/>
                  </a:cubicBezTo>
                  <a:cubicBezTo>
                    <a:pt x="162" y="1022"/>
                    <a:pt x="154" y="1008"/>
                    <a:pt x="152" y="1011"/>
                  </a:cubicBezTo>
                  <a:cubicBezTo>
                    <a:pt x="147" y="1017"/>
                    <a:pt x="154" y="1020"/>
                    <a:pt x="157" y="1023"/>
                  </a:cubicBezTo>
                  <a:cubicBezTo>
                    <a:pt x="159" y="1025"/>
                    <a:pt x="164" y="1028"/>
                    <a:pt x="162" y="1027"/>
                  </a:cubicBezTo>
                  <a:cubicBezTo>
                    <a:pt x="160" y="1027"/>
                    <a:pt x="144" y="1019"/>
                    <a:pt x="143" y="1020"/>
                  </a:cubicBezTo>
                  <a:cubicBezTo>
                    <a:pt x="137" y="1029"/>
                    <a:pt x="168" y="1036"/>
                    <a:pt x="156" y="1048"/>
                  </a:cubicBezTo>
                  <a:cubicBezTo>
                    <a:pt x="154" y="1051"/>
                    <a:pt x="131" y="1053"/>
                    <a:pt x="129" y="1054"/>
                  </a:cubicBezTo>
                  <a:cubicBezTo>
                    <a:pt x="124" y="1056"/>
                    <a:pt x="129" y="1070"/>
                    <a:pt x="124" y="1068"/>
                  </a:cubicBezTo>
                  <a:cubicBezTo>
                    <a:pt x="112" y="1065"/>
                    <a:pt x="121" y="1050"/>
                    <a:pt x="110" y="1053"/>
                  </a:cubicBezTo>
                  <a:cubicBezTo>
                    <a:pt x="109" y="1053"/>
                    <a:pt x="98" y="1055"/>
                    <a:pt x="101" y="1057"/>
                  </a:cubicBezTo>
                  <a:cubicBezTo>
                    <a:pt x="101" y="1058"/>
                    <a:pt x="106" y="1059"/>
                    <a:pt x="105" y="1059"/>
                  </a:cubicBezTo>
                  <a:cubicBezTo>
                    <a:pt x="100" y="1066"/>
                    <a:pt x="85" y="1051"/>
                    <a:pt x="82" y="1058"/>
                  </a:cubicBezTo>
                  <a:cubicBezTo>
                    <a:pt x="78" y="1066"/>
                    <a:pt x="99" y="1083"/>
                    <a:pt x="98" y="1085"/>
                  </a:cubicBezTo>
                  <a:cubicBezTo>
                    <a:pt x="98" y="1088"/>
                    <a:pt x="79" y="1078"/>
                    <a:pt x="76" y="1083"/>
                  </a:cubicBezTo>
                  <a:cubicBezTo>
                    <a:pt x="72" y="1091"/>
                    <a:pt x="78" y="1099"/>
                    <a:pt x="71" y="1109"/>
                  </a:cubicBezTo>
                  <a:cubicBezTo>
                    <a:pt x="68" y="1114"/>
                    <a:pt x="62" y="1106"/>
                    <a:pt x="59" y="1108"/>
                  </a:cubicBezTo>
                  <a:cubicBezTo>
                    <a:pt x="54" y="1112"/>
                    <a:pt x="43" y="1139"/>
                    <a:pt x="43" y="1149"/>
                  </a:cubicBezTo>
                  <a:cubicBezTo>
                    <a:pt x="43" y="1153"/>
                    <a:pt x="55" y="1146"/>
                    <a:pt x="56" y="1150"/>
                  </a:cubicBezTo>
                  <a:cubicBezTo>
                    <a:pt x="56" y="1151"/>
                    <a:pt x="49" y="1153"/>
                    <a:pt x="48" y="1156"/>
                  </a:cubicBezTo>
                  <a:cubicBezTo>
                    <a:pt x="48" y="1161"/>
                    <a:pt x="52" y="1166"/>
                    <a:pt x="51" y="1170"/>
                  </a:cubicBezTo>
                  <a:cubicBezTo>
                    <a:pt x="50" y="1171"/>
                    <a:pt x="48" y="1177"/>
                    <a:pt x="49" y="1177"/>
                  </a:cubicBezTo>
                  <a:cubicBezTo>
                    <a:pt x="52" y="1178"/>
                    <a:pt x="58" y="1174"/>
                    <a:pt x="55" y="1182"/>
                  </a:cubicBezTo>
                  <a:cubicBezTo>
                    <a:pt x="54" y="1184"/>
                    <a:pt x="57" y="1190"/>
                    <a:pt x="56" y="1188"/>
                  </a:cubicBezTo>
                  <a:cubicBezTo>
                    <a:pt x="56" y="1186"/>
                    <a:pt x="58" y="1176"/>
                    <a:pt x="61" y="1177"/>
                  </a:cubicBezTo>
                  <a:cubicBezTo>
                    <a:pt x="63" y="1177"/>
                    <a:pt x="60" y="1182"/>
                    <a:pt x="60" y="1183"/>
                  </a:cubicBezTo>
                  <a:cubicBezTo>
                    <a:pt x="64" y="1188"/>
                    <a:pt x="69" y="1183"/>
                    <a:pt x="67" y="1193"/>
                  </a:cubicBezTo>
                  <a:cubicBezTo>
                    <a:pt x="67" y="1195"/>
                    <a:pt x="65" y="1203"/>
                    <a:pt x="66" y="1202"/>
                  </a:cubicBezTo>
                  <a:cubicBezTo>
                    <a:pt x="68" y="1201"/>
                    <a:pt x="70" y="1196"/>
                    <a:pt x="70" y="1198"/>
                  </a:cubicBezTo>
                  <a:cubicBezTo>
                    <a:pt x="71" y="1214"/>
                    <a:pt x="54" y="1221"/>
                    <a:pt x="59" y="1239"/>
                  </a:cubicBezTo>
                  <a:cubicBezTo>
                    <a:pt x="59" y="1243"/>
                    <a:pt x="66" y="1244"/>
                    <a:pt x="71" y="1246"/>
                  </a:cubicBezTo>
                  <a:cubicBezTo>
                    <a:pt x="77" y="1248"/>
                    <a:pt x="77" y="1269"/>
                    <a:pt x="79" y="1273"/>
                  </a:cubicBezTo>
                  <a:cubicBezTo>
                    <a:pt x="80" y="1274"/>
                    <a:pt x="81" y="1275"/>
                    <a:pt x="83" y="1276"/>
                  </a:cubicBezTo>
                  <a:cubicBezTo>
                    <a:pt x="89" y="1280"/>
                    <a:pt x="81" y="1290"/>
                    <a:pt x="97" y="1303"/>
                  </a:cubicBezTo>
                  <a:cubicBezTo>
                    <a:pt x="98" y="1304"/>
                    <a:pt x="101" y="1305"/>
                    <a:pt x="101" y="1306"/>
                  </a:cubicBezTo>
                  <a:cubicBezTo>
                    <a:pt x="102" y="1314"/>
                    <a:pt x="82" y="1294"/>
                    <a:pt x="78" y="1301"/>
                  </a:cubicBezTo>
                  <a:cubicBezTo>
                    <a:pt x="75" y="1304"/>
                    <a:pt x="90" y="1308"/>
                    <a:pt x="90" y="1312"/>
                  </a:cubicBezTo>
                  <a:cubicBezTo>
                    <a:pt x="89" y="1315"/>
                    <a:pt x="74" y="1311"/>
                    <a:pt x="75" y="1312"/>
                  </a:cubicBezTo>
                  <a:cubicBezTo>
                    <a:pt x="75" y="1313"/>
                    <a:pt x="92" y="1319"/>
                    <a:pt x="87" y="1323"/>
                  </a:cubicBezTo>
                  <a:cubicBezTo>
                    <a:pt x="86" y="1324"/>
                    <a:pt x="76" y="1322"/>
                    <a:pt x="77" y="1324"/>
                  </a:cubicBezTo>
                  <a:cubicBezTo>
                    <a:pt x="78" y="1328"/>
                    <a:pt x="87" y="1330"/>
                    <a:pt x="87" y="1337"/>
                  </a:cubicBezTo>
                  <a:cubicBezTo>
                    <a:pt x="87" y="1342"/>
                    <a:pt x="76" y="1347"/>
                    <a:pt x="84" y="1348"/>
                  </a:cubicBezTo>
                  <a:cubicBezTo>
                    <a:pt x="84" y="1349"/>
                    <a:pt x="88" y="1353"/>
                    <a:pt x="87" y="1353"/>
                  </a:cubicBezTo>
                  <a:cubicBezTo>
                    <a:pt x="65" y="1366"/>
                    <a:pt x="86" y="1366"/>
                    <a:pt x="80" y="1374"/>
                  </a:cubicBezTo>
                  <a:cubicBezTo>
                    <a:pt x="78" y="1377"/>
                    <a:pt x="74" y="1377"/>
                    <a:pt x="70" y="1376"/>
                  </a:cubicBezTo>
                  <a:cubicBezTo>
                    <a:pt x="69" y="1376"/>
                    <a:pt x="64" y="1373"/>
                    <a:pt x="64" y="1374"/>
                  </a:cubicBezTo>
                  <a:cubicBezTo>
                    <a:pt x="63" y="1376"/>
                    <a:pt x="70" y="1390"/>
                    <a:pt x="74" y="1392"/>
                  </a:cubicBezTo>
                  <a:cubicBezTo>
                    <a:pt x="81" y="1396"/>
                    <a:pt x="66" y="1394"/>
                    <a:pt x="70" y="1399"/>
                  </a:cubicBezTo>
                  <a:cubicBezTo>
                    <a:pt x="71" y="1400"/>
                    <a:pt x="76" y="1399"/>
                    <a:pt x="75" y="1401"/>
                  </a:cubicBezTo>
                  <a:cubicBezTo>
                    <a:pt x="74" y="1404"/>
                    <a:pt x="67" y="1400"/>
                    <a:pt x="66" y="1402"/>
                  </a:cubicBezTo>
                  <a:cubicBezTo>
                    <a:pt x="62" y="1407"/>
                    <a:pt x="77" y="1419"/>
                    <a:pt x="79" y="1421"/>
                  </a:cubicBezTo>
                  <a:cubicBezTo>
                    <a:pt x="81" y="1424"/>
                    <a:pt x="68" y="1429"/>
                    <a:pt x="69" y="1432"/>
                  </a:cubicBezTo>
                  <a:cubicBezTo>
                    <a:pt x="70" y="1434"/>
                    <a:pt x="80" y="1439"/>
                    <a:pt x="78" y="1440"/>
                  </a:cubicBezTo>
                  <a:cubicBezTo>
                    <a:pt x="78" y="1440"/>
                    <a:pt x="71" y="1440"/>
                    <a:pt x="74" y="1443"/>
                  </a:cubicBezTo>
                  <a:cubicBezTo>
                    <a:pt x="75" y="1444"/>
                    <a:pt x="76" y="1444"/>
                    <a:pt x="77" y="1445"/>
                  </a:cubicBezTo>
                  <a:cubicBezTo>
                    <a:pt x="77" y="1444"/>
                    <a:pt x="78" y="1444"/>
                    <a:pt x="78" y="1444"/>
                  </a:cubicBezTo>
                  <a:cubicBezTo>
                    <a:pt x="78" y="1444"/>
                    <a:pt x="78" y="1444"/>
                    <a:pt x="78" y="1444"/>
                  </a:cubicBezTo>
                  <a:cubicBezTo>
                    <a:pt x="78" y="1444"/>
                    <a:pt x="78" y="1445"/>
                    <a:pt x="78" y="1445"/>
                  </a:cubicBezTo>
                  <a:cubicBezTo>
                    <a:pt x="82" y="1444"/>
                    <a:pt x="85" y="1442"/>
                    <a:pt x="89" y="1445"/>
                  </a:cubicBezTo>
                  <a:cubicBezTo>
                    <a:pt x="89" y="1446"/>
                    <a:pt x="88" y="1448"/>
                    <a:pt x="90" y="1453"/>
                  </a:cubicBezTo>
                  <a:cubicBezTo>
                    <a:pt x="90" y="1454"/>
                    <a:pt x="84" y="1457"/>
                    <a:pt x="89" y="1457"/>
                  </a:cubicBezTo>
                  <a:cubicBezTo>
                    <a:pt x="99" y="1457"/>
                    <a:pt x="94" y="1445"/>
                    <a:pt x="102" y="1443"/>
                  </a:cubicBezTo>
                  <a:cubicBezTo>
                    <a:pt x="102" y="1443"/>
                    <a:pt x="112" y="1436"/>
                    <a:pt x="112" y="1436"/>
                  </a:cubicBezTo>
                  <a:cubicBezTo>
                    <a:pt x="114" y="1443"/>
                    <a:pt x="100" y="1456"/>
                    <a:pt x="107" y="1458"/>
                  </a:cubicBezTo>
                  <a:cubicBezTo>
                    <a:pt x="121" y="1461"/>
                    <a:pt x="106" y="1449"/>
                    <a:pt x="121" y="1451"/>
                  </a:cubicBezTo>
                  <a:cubicBezTo>
                    <a:pt x="127" y="1452"/>
                    <a:pt x="139" y="1471"/>
                    <a:pt x="152" y="1473"/>
                  </a:cubicBezTo>
                  <a:cubicBezTo>
                    <a:pt x="157" y="1474"/>
                    <a:pt x="181" y="1469"/>
                    <a:pt x="183" y="1470"/>
                  </a:cubicBezTo>
                  <a:cubicBezTo>
                    <a:pt x="184" y="1471"/>
                    <a:pt x="167" y="1489"/>
                    <a:pt x="166" y="1491"/>
                  </a:cubicBezTo>
                  <a:cubicBezTo>
                    <a:pt x="166" y="1495"/>
                    <a:pt x="183" y="1485"/>
                    <a:pt x="184" y="1486"/>
                  </a:cubicBezTo>
                  <a:cubicBezTo>
                    <a:pt x="188" y="1489"/>
                    <a:pt x="173" y="1492"/>
                    <a:pt x="173" y="1497"/>
                  </a:cubicBezTo>
                  <a:cubicBezTo>
                    <a:pt x="173" y="1501"/>
                    <a:pt x="181" y="1495"/>
                    <a:pt x="184" y="1495"/>
                  </a:cubicBezTo>
                  <a:cubicBezTo>
                    <a:pt x="191" y="1493"/>
                    <a:pt x="222" y="1474"/>
                    <a:pt x="223" y="1476"/>
                  </a:cubicBezTo>
                  <a:cubicBezTo>
                    <a:pt x="226" y="1481"/>
                    <a:pt x="201" y="1497"/>
                    <a:pt x="204" y="1505"/>
                  </a:cubicBezTo>
                  <a:cubicBezTo>
                    <a:pt x="206" y="1509"/>
                    <a:pt x="214" y="1513"/>
                    <a:pt x="216" y="1510"/>
                  </a:cubicBezTo>
                  <a:cubicBezTo>
                    <a:pt x="216" y="1510"/>
                    <a:pt x="217" y="1507"/>
                    <a:pt x="218" y="1508"/>
                  </a:cubicBezTo>
                  <a:cubicBezTo>
                    <a:pt x="223" y="1514"/>
                    <a:pt x="209" y="1520"/>
                    <a:pt x="229" y="1520"/>
                  </a:cubicBezTo>
                  <a:cubicBezTo>
                    <a:pt x="231" y="1520"/>
                    <a:pt x="239" y="1519"/>
                    <a:pt x="239" y="1521"/>
                  </a:cubicBezTo>
                  <a:cubicBezTo>
                    <a:pt x="239" y="1527"/>
                    <a:pt x="220" y="1530"/>
                    <a:pt x="224" y="1537"/>
                  </a:cubicBezTo>
                  <a:cubicBezTo>
                    <a:pt x="226" y="1539"/>
                    <a:pt x="226" y="1536"/>
                    <a:pt x="226" y="1535"/>
                  </a:cubicBezTo>
                  <a:cubicBezTo>
                    <a:pt x="227" y="1533"/>
                    <a:pt x="236" y="1537"/>
                    <a:pt x="236" y="1536"/>
                  </a:cubicBezTo>
                  <a:cubicBezTo>
                    <a:pt x="237" y="1535"/>
                    <a:pt x="246" y="1520"/>
                    <a:pt x="246" y="1523"/>
                  </a:cubicBezTo>
                  <a:cubicBezTo>
                    <a:pt x="243" y="1536"/>
                    <a:pt x="229" y="1544"/>
                    <a:pt x="220" y="1546"/>
                  </a:cubicBezTo>
                  <a:cubicBezTo>
                    <a:pt x="218" y="1546"/>
                    <a:pt x="204" y="1553"/>
                    <a:pt x="206" y="1554"/>
                  </a:cubicBezTo>
                  <a:cubicBezTo>
                    <a:pt x="232" y="1568"/>
                    <a:pt x="256" y="1516"/>
                    <a:pt x="263" y="1516"/>
                  </a:cubicBezTo>
                  <a:cubicBezTo>
                    <a:pt x="267" y="1516"/>
                    <a:pt x="254" y="1533"/>
                    <a:pt x="254" y="1533"/>
                  </a:cubicBezTo>
                  <a:cubicBezTo>
                    <a:pt x="282" y="1541"/>
                    <a:pt x="323" y="1513"/>
                    <a:pt x="336" y="1516"/>
                  </a:cubicBezTo>
                  <a:cubicBezTo>
                    <a:pt x="339" y="1517"/>
                    <a:pt x="332" y="1528"/>
                    <a:pt x="333" y="1527"/>
                  </a:cubicBezTo>
                  <a:cubicBezTo>
                    <a:pt x="338" y="1526"/>
                    <a:pt x="343" y="1515"/>
                    <a:pt x="346" y="1519"/>
                  </a:cubicBezTo>
                  <a:cubicBezTo>
                    <a:pt x="347" y="1521"/>
                    <a:pt x="340" y="1528"/>
                    <a:pt x="342" y="1528"/>
                  </a:cubicBezTo>
                  <a:cubicBezTo>
                    <a:pt x="348" y="1530"/>
                    <a:pt x="360" y="1515"/>
                    <a:pt x="359" y="1513"/>
                  </a:cubicBezTo>
                  <a:cubicBezTo>
                    <a:pt x="358" y="1511"/>
                    <a:pt x="354" y="1513"/>
                    <a:pt x="353" y="1505"/>
                  </a:cubicBezTo>
                  <a:cubicBezTo>
                    <a:pt x="353" y="1505"/>
                    <a:pt x="353" y="1504"/>
                    <a:pt x="354" y="1504"/>
                  </a:cubicBezTo>
                  <a:cubicBezTo>
                    <a:pt x="358" y="1504"/>
                    <a:pt x="363" y="1512"/>
                    <a:pt x="364" y="1512"/>
                  </a:cubicBezTo>
                  <a:cubicBezTo>
                    <a:pt x="370" y="1511"/>
                    <a:pt x="377" y="1498"/>
                    <a:pt x="381" y="1500"/>
                  </a:cubicBezTo>
                  <a:cubicBezTo>
                    <a:pt x="387" y="1504"/>
                    <a:pt x="373" y="1503"/>
                    <a:pt x="386" y="1506"/>
                  </a:cubicBezTo>
                  <a:cubicBezTo>
                    <a:pt x="387" y="1506"/>
                    <a:pt x="389" y="1507"/>
                    <a:pt x="390" y="1507"/>
                  </a:cubicBezTo>
                  <a:cubicBezTo>
                    <a:pt x="394" y="1505"/>
                    <a:pt x="389" y="1498"/>
                    <a:pt x="394" y="1497"/>
                  </a:cubicBezTo>
                  <a:cubicBezTo>
                    <a:pt x="400" y="1496"/>
                    <a:pt x="389" y="1507"/>
                    <a:pt x="398" y="1505"/>
                  </a:cubicBezTo>
                  <a:cubicBezTo>
                    <a:pt x="400" y="1505"/>
                    <a:pt x="397" y="1501"/>
                    <a:pt x="402" y="1499"/>
                  </a:cubicBezTo>
                  <a:cubicBezTo>
                    <a:pt x="404" y="1499"/>
                    <a:pt x="402" y="1500"/>
                    <a:pt x="402" y="1501"/>
                  </a:cubicBezTo>
                  <a:cubicBezTo>
                    <a:pt x="401" y="1504"/>
                    <a:pt x="414" y="1497"/>
                    <a:pt x="411" y="1496"/>
                  </a:cubicBezTo>
                  <a:cubicBezTo>
                    <a:pt x="400" y="1491"/>
                    <a:pt x="436" y="1493"/>
                    <a:pt x="438" y="1492"/>
                  </a:cubicBezTo>
                  <a:cubicBezTo>
                    <a:pt x="445" y="1489"/>
                    <a:pt x="440" y="1472"/>
                    <a:pt x="454" y="1474"/>
                  </a:cubicBezTo>
                  <a:cubicBezTo>
                    <a:pt x="455" y="1474"/>
                    <a:pt x="450" y="1478"/>
                    <a:pt x="452" y="1479"/>
                  </a:cubicBezTo>
                  <a:cubicBezTo>
                    <a:pt x="452" y="1479"/>
                    <a:pt x="453" y="1479"/>
                    <a:pt x="453" y="1479"/>
                  </a:cubicBezTo>
                  <a:cubicBezTo>
                    <a:pt x="456" y="1480"/>
                    <a:pt x="451" y="1480"/>
                    <a:pt x="452" y="1483"/>
                  </a:cubicBezTo>
                  <a:cubicBezTo>
                    <a:pt x="452" y="1490"/>
                    <a:pt x="467" y="1496"/>
                    <a:pt x="469" y="1488"/>
                  </a:cubicBezTo>
                  <a:cubicBezTo>
                    <a:pt x="470" y="1486"/>
                    <a:pt x="464" y="1488"/>
                    <a:pt x="463" y="1486"/>
                  </a:cubicBezTo>
                  <a:cubicBezTo>
                    <a:pt x="462" y="1484"/>
                    <a:pt x="458" y="1482"/>
                    <a:pt x="460" y="1481"/>
                  </a:cubicBezTo>
                  <a:cubicBezTo>
                    <a:pt x="465" y="1479"/>
                    <a:pt x="474" y="1494"/>
                    <a:pt x="476" y="1491"/>
                  </a:cubicBezTo>
                  <a:cubicBezTo>
                    <a:pt x="478" y="1489"/>
                    <a:pt x="472" y="1483"/>
                    <a:pt x="472" y="1481"/>
                  </a:cubicBezTo>
                  <a:cubicBezTo>
                    <a:pt x="471" y="1480"/>
                    <a:pt x="479" y="1477"/>
                    <a:pt x="474" y="1474"/>
                  </a:cubicBezTo>
                  <a:cubicBezTo>
                    <a:pt x="472" y="1473"/>
                    <a:pt x="466" y="1470"/>
                    <a:pt x="468" y="1469"/>
                  </a:cubicBezTo>
                  <a:cubicBezTo>
                    <a:pt x="476" y="1464"/>
                    <a:pt x="488" y="1486"/>
                    <a:pt x="490" y="1484"/>
                  </a:cubicBezTo>
                  <a:cubicBezTo>
                    <a:pt x="496" y="1479"/>
                    <a:pt x="482" y="1462"/>
                    <a:pt x="476" y="1458"/>
                  </a:cubicBezTo>
                  <a:cubicBezTo>
                    <a:pt x="476" y="1458"/>
                    <a:pt x="475" y="1458"/>
                    <a:pt x="475" y="1457"/>
                  </a:cubicBezTo>
                  <a:cubicBezTo>
                    <a:pt x="477" y="1455"/>
                    <a:pt x="481" y="1459"/>
                    <a:pt x="482" y="1460"/>
                  </a:cubicBezTo>
                  <a:cubicBezTo>
                    <a:pt x="487" y="1463"/>
                    <a:pt x="501" y="1468"/>
                    <a:pt x="501" y="1468"/>
                  </a:cubicBezTo>
                  <a:cubicBezTo>
                    <a:pt x="508" y="1476"/>
                    <a:pt x="504" y="1461"/>
                    <a:pt x="505" y="1462"/>
                  </a:cubicBezTo>
                  <a:cubicBezTo>
                    <a:pt x="507" y="1463"/>
                    <a:pt x="511" y="1473"/>
                    <a:pt x="513" y="1473"/>
                  </a:cubicBezTo>
                  <a:cubicBezTo>
                    <a:pt x="523" y="1472"/>
                    <a:pt x="530" y="1429"/>
                    <a:pt x="544" y="1434"/>
                  </a:cubicBezTo>
                  <a:cubicBezTo>
                    <a:pt x="546" y="1434"/>
                    <a:pt x="551" y="1444"/>
                    <a:pt x="550" y="1444"/>
                  </a:cubicBezTo>
                  <a:cubicBezTo>
                    <a:pt x="549" y="1444"/>
                    <a:pt x="546" y="1442"/>
                    <a:pt x="546" y="1442"/>
                  </a:cubicBezTo>
                  <a:cubicBezTo>
                    <a:pt x="533" y="1432"/>
                    <a:pt x="536" y="1450"/>
                    <a:pt x="529" y="1453"/>
                  </a:cubicBezTo>
                  <a:cubicBezTo>
                    <a:pt x="525" y="1455"/>
                    <a:pt x="524" y="1460"/>
                    <a:pt x="528" y="1463"/>
                  </a:cubicBezTo>
                  <a:cubicBezTo>
                    <a:pt x="540" y="1470"/>
                    <a:pt x="547" y="1457"/>
                    <a:pt x="554" y="1457"/>
                  </a:cubicBezTo>
                  <a:cubicBezTo>
                    <a:pt x="559" y="1456"/>
                    <a:pt x="563" y="1463"/>
                    <a:pt x="569" y="1463"/>
                  </a:cubicBezTo>
                  <a:cubicBezTo>
                    <a:pt x="570" y="1463"/>
                    <a:pt x="563" y="1458"/>
                    <a:pt x="569" y="1457"/>
                  </a:cubicBezTo>
                  <a:cubicBezTo>
                    <a:pt x="576" y="1457"/>
                    <a:pt x="574" y="1450"/>
                    <a:pt x="587" y="1450"/>
                  </a:cubicBezTo>
                  <a:cubicBezTo>
                    <a:pt x="589" y="1451"/>
                    <a:pt x="587" y="1453"/>
                    <a:pt x="589" y="1452"/>
                  </a:cubicBezTo>
                  <a:cubicBezTo>
                    <a:pt x="592" y="1450"/>
                    <a:pt x="585" y="1443"/>
                    <a:pt x="591" y="1442"/>
                  </a:cubicBezTo>
                  <a:cubicBezTo>
                    <a:pt x="592" y="1442"/>
                    <a:pt x="591" y="1447"/>
                    <a:pt x="594" y="1448"/>
                  </a:cubicBezTo>
                  <a:cubicBezTo>
                    <a:pt x="605" y="1452"/>
                    <a:pt x="591" y="1453"/>
                    <a:pt x="593" y="1453"/>
                  </a:cubicBezTo>
                  <a:cubicBezTo>
                    <a:pt x="600" y="1455"/>
                    <a:pt x="610" y="1461"/>
                    <a:pt x="617" y="1461"/>
                  </a:cubicBezTo>
                  <a:cubicBezTo>
                    <a:pt x="619" y="1461"/>
                    <a:pt x="617" y="1455"/>
                    <a:pt x="615" y="1454"/>
                  </a:cubicBezTo>
                  <a:cubicBezTo>
                    <a:pt x="613" y="1453"/>
                    <a:pt x="620" y="1455"/>
                    <a:pt x="621" y="1456"/>
                  </a:cubicBezTo>
                  <a:cubicBezTo>
                    <a:pt x="625" y="1458"/>
                    <a:pt x="634" y="1452"/>
                    <a:pt x="634" y="1452"/>
                  </a:cubicBezTo>
                  <a:cubicBezTo>
                    <a:pt x="634" y="1453"/>
                    <a:pt x="633" y="1454"/>
                    <a:pt x="633" y="1454"/>
                  </a:cubicBezTo>
                  <a:cubicBezTo>
                    <a:pt x="627" y="1455"/>
                    <a:pt x="634" y="1457"/>
                    <a:pt x="635" y="1457"/>
                  </a:cubicBezTo>
                  <a:cubicBezTo>
                    <a:pt x="642" y="1458"/>
                    <a:pt x="635" y="1444"/>
                    <a:pt x="639" y="1444"/>
                  </a:cubicBezTo>
                  <a:cubicBezTo>
                    <a:pt x="642" y="1443"/>
                    <a:pt x="643" y="1445"/>
                    <a:pt x="643" y="1447"/>
                  </a:cubicBezTo>
                  <a:cubicBezTo>
                    <a:pt x="662" y="1423"/>
                    <a:pt x="694" y="1405"/>
                    <a:pt x="718" y="1387"/>
                  </a:cubicBezTo>
                  <a:close/>
                  <a:moveTo>
                    <a:pt x="887" y="1118"/>
                  </a:moveTo>
                  <a:cubicBezTo>
                    <a:pt x="885" y="1117"/>
                    <a:pt x="885" y="1117"/>
                    <a:pt x="885" y="1117"/>
                  </a:cubicBezTo>
                  <a:cubicBezTo>
                    <a:pt x="887" y="1115"/>
                    <a:pt x="893" y="1111"/>
                    <a:pt x="896" y="1109"/>
                  </a:cubicBezTo>
                  <a:cubicBezTo>
                    <a:pt x="902" y="1106"/>
                    <a:pt x="886" y="1102"/>
                    <a:pt x="886" y="1097"/>
                  </a:cubicBezTo>
                  <a:cubicBezTo>
                    <a:pt x="885" y="1092"/>
                    <a:pt x="901" y="1096"/>
                    <a:pt x="901" y="1095"/>
                  </a:cubicBezTo>
                  <a:cubicBezTo>
                    <a:pt x="904" y="1093"/>
                    <a:pt x="901" y="1071"/>
                    <a:pt x="917" y="1081"/>
                  </a:cubicBezTo>
                  <a:cubicBezTo>
                    <a:pt x="927" y="1088"/>
                    <a:pt x="907" y="1110"/>
                    <a:pt x="901" y="1112"/>
                  </a:cubicBezTo>
                  <a:cubicBezTo>
                    <a:pt x="899" y="1112"/>
                    <a:pt x="897" y="1112"/>
                    <a:pt x="896" y="1114"/>
                  </a:cubicBezTo>
                  <a:cubicBezTo>
                    <a:pt x="895" y="1115"/>
                    <a:pt x="895" y="1115"/>
                    <a:pt x="896" y="1115"/>
                  </a:cubicBezTo>
                  <a:cubicBezTo>
                    <a:pt x="897" y="1116"/>
                    <a:pt x="897" y="1119"/>
                    <a:pt x="898" y="1120"/>
                  </a:cubicBezTo>
                  <a:cubicBezTo>
                    <a:pt x="898" y="1121"/>
                    <a:pt x="899" y="1122"/>
                    <a:pt x="898" y="1122"/>
                  </a:cubicBezTo>
                  <a:cubicBezTo>
                    <a:pt x="898" y="1121"/>
                    <a:pt x="898" y="1121"/>
                    <a:pt x="898" y="1120"/>
                  </a:cubicBezTo>
                  <a:cubicBezTo>
                    <a:pt x="897" y="1119"/>
                    <a:pt x="896" y="1119"/>
                    <a:pt x="895" y="1118"/>
                  </a:cubicBezTo>
                  <a:cubicBezTo>
                    <a:pt x="890" y="1116"/>
                    <a:pt x="871" y="1133"/>
                    <a:pt x="887" y="1118"/>
                  </a:cubicBezTo>
                  <a:close/>
                  <a:moveTo>
                    <a:pt x="316" y="369"/>
                  </a:moveTo>
                  <a:cubicBezTo>
                    <a:pt x="315" y="369"/>
                    <a:pt x="314" y="371"/>
                    <a:pt x="313" y="371"/>
                  </a:cubicBezTo>
                  <a:cubicBezTo>
                    <a:pt x="313" y="371"/>
                    <a:pt x="313" y="367"/>
                    <a:pt x="313" y="367"/>
                  </a:cubicBezTo>
                  <a:cubicBezTo>
                    <a:pt x="313" y="367"/>
                    <a:pt x="313" y="367"/>
                    <a:pt x="313" y="367"/>
                  </a:cubicBezTo>
                  <a:cubicBezTo>
                    <a:pt x="311" y="346"/>
                    <a:pt x="325" y="353"/>
                    <a:pt x="316" y="369"/>
                  </a:cubicBezTo>
                  <a:close/>
                  <a:moveTo>
                    <a:pt x="323" y="347"/>
                  </a:moveTo>
                  <a:cubicBezTo>
                    <a:pt x="322" y="349"/>
                    <a:pt x="313" y="349"/>
                    <a:pt x="312" y="348"/>
                  </a:cubicBezTo>
                  <a:cubicBezTo>
                    <a:pt x="311" y="347"/>
                    <a:pt x="311" y="347"/>
                    <a:pt x="311" y="347"/>
                  </a:cubicBezTo>
                  <a:cubicBezTo>
                    <a:pt x="310" y="344"/>
                    <a:pt x="303" y="342"/>
                    <a:pt x="303" y="340"/>
                  </a:cubicBezTo>
                  <a:cubicBezTo>
                    <a:pt x="303" y="336"/>
                    <a:pt x="319" y="343"/>
                    <a:pt x="321" y="345"/>
                  </a:cubicBezTo>
                  <a:cubicBezTo>
                    <a:pt x="321" y="346"/>
                    <a:pt x="324" y="346"/>
                    <a:pt x="323" y="347"/>
                  </a:cubicBezTo>
                  <a:close/>
                  <a:moveTo>
                    <a:pt x="367" y="537"/>
                  </a:moveTo>
                  <a:cubicBezTo>
                    <a:pt x="365" y="540"/>
                    <a:pt x="369" y="542"/>
                    <a:pt x="368" y="545"/>
                  </a:cubicBezTo>
                  <a:cubicBezTo>
                    <a:pt x="365" y="552"/>
                    <a:pt x="353" y="543"/>
                    <a:pt x="348" y="542"/>
                  </a:cubicBezTo>
                  <a:cubicBezTo>
                    <a:pt x="347" y="542"/>
                    <a:pt x="344" y="540"/>
                    <a:pt x="343" y="541"/>
                  </a:cubicBezTo>
                  <a:cubicBezTo>
                    <a:pt x="343" y="542"/>
                    <a:pt x="347" y="567"/>
                    <a:pt x="337" y="559"/>
                  </a:cubicBezTo>
                  <a:cubicBezTo>
                    <a:pt x="337" y="559"/>
                    <a:pt x="337" y="559"/>
                    <a:pt x="337" y="559"/>
                  </a:cubicBezTo>
                  <a:cubicBezTo>
                    <a:pt x="336" y="555"/>
                    <a:pt x="330" y="545"/>
                    <a:pt x="335" y="538"/>
                  </a:cubicBezTo>
                  <a:cubicBezTo>
                    <a:pt x="336" y="536"/>
                    <a:pt x="334" y="533"/>
                    <a:pt x="337" y="534"/>
                  </a:cubicBezTo>
                  <a:cubicBezTo>
                    <a:pt x="342" y="535"/>
                    <a:pt x="335" y="524"/>
                    <a:pt x="339" y="523"/>
                  </a:cubicBezTo>
                  <a:cubicBezTo>
                    <a:pt x="345" y="523"/>
                    <a:pt x="341" y="535"/>
                    <a:pt x="344" y="538"/>
                  </a:cubicBezTo>
                  <a:cubicBezTo>
                    <a:pt x="348" y="542"/>
                    <a:pt x="358" y="539"/>
                    <a:pt x="359" y="539"/>
                  </a:cubicBezTo>
                  <a:cubicBezTo>
                    <a:pt x="360" y="540"/>
                    <a:pt x="362" y="541"/>
                    <a:pt x="364" y="540"/>
                  </a:cubicBezTo>
                  <a:cubicBezTo>
                    <a:pt x="365" y="540"/>
                    <a:pt x="366" y="538"/>
                    <a:pt x="366" y="537"/>
                  </a:cubicBezTo>
                  <a:cubicBezTo>
                    <a:pt x="367" y="533"/>
                    <a:pt x="360" y="530"/>
                    <a:pt x="360" y="528"/>
                  </a:cubicBezTo>
                  <a:cubicBezTo>
                    <a:pt x="360" y="526"/>
                    <a:pt x="365" y="530"/>
                    <a:pt x="366" y="528"/>
                  </a:cubicBezTo>
                  <a:cubicBezTo>
                    <a:pt x="366" y="525"/>
                    <a:pt x="374" y="532"/>
                    <a:pt x="376" y="535"/>
                  </a:cubicBezTo>
                  <a:cubicBezTo>
                    <a:pt x="380" y="540"/>
                    <a:pt x="368" y="536"/>
                    <a:pt x="367" y="537"/>
                  </a:cubicBezTo>
                  <a:close/>
                  <a:moveTo>
                    <a:pt x="102" y="1277"/>
                  </a:moveTo>
                  <a:cubicBezTo>
                    <a:pt x="98" y="1271"/>
                    <a:pt x="101" y="1264"/>
                    <a:pt x="103" y="1267"/>
                  </a:cubicBezTo>
                  <a:cubicBezTo>
                    <a:pt x="103" y="1267"/>
                    <a:pt x="103" y="1267"/>
                    <a:pt x="103" y="1267"/>
                  </a:cubicBezTo>
                  <a:cubicBezTo>
                    <a:pt x="104" y="1269"/>
                    <a:pt x="105" y="1273"/>
                    <a:pt x="107" y="1274"/>
                  </a:cubicBezTo>
                  <a:cubicBezTo>
                    <a:pt x="129" y="1294"/>
                    <a:pt x="103" y="1278"/>
                    <a:pt x="102" y="1277"/>
                  </a:cubicBezTo>
                  <a:close/>
                  <a:moveTo>
                    <a:pt x="148" y="1374"/>
                  </a:moveTo>
                  <a:cubicBezTo>
                    <a:pt x="152" y="1376"/>
                    <a:pt x="155" y="1378"/>
                    <a:pt x="157" y="1382"/>
                  </a:cubicBezTo>
                  <a:cubicBezTo>
                    <a:pt x="157" y="1382"/>
                    <a:pt x="157" y="1382"/>
                    <a:pt x="157" y="1382"/>
                  </a:cubicBezTo>
                  <a:cubicBezTo>
                    <a:pt x="163" y="1428"/>
                    <a:pt x="123" y="1360"/>
                    <a:pt x="148" y="1374"/>
                  </a:cubicBezTo>
                  <a:close/>
                  <a:moveTo>
                    <a:pt x="830" y="1046"/>
                  </a:moveTo>
                  <a:cubicBezTo>
                    <a:pt x="833" y="1044"/>
                    <a:pt x="824" y="1039"/>
                    <a:pt x="836" y="1043"/>
                  </a:cubicBezTo>
                  <a:cubicBezTo>
                    <a:pt x="838" y="1044"/>
                    <a:pt x="841" y="1046"/>
                    <a:pt x="842" y="1048"/>
                  </a:cubicBezTo>
                  <a:cubicBezTo>
                    <a:pt x="851" y="1058"/>
                    <a:pt x="838" y="1052"/>
                    <a:pt x="836" y="1048"/>
                  </a:cubicBezTo>
                  <a:cubicBezTo>
                    <a:pt x="835" y="1046"/>
                    <a:pt x="836" y="1061"/>
                    <a:pt x="836" y="1065"/>
                  </a:cubicBezTo>
                  <a:cubicBezTo>
                    <a:pt x="838" y="1078"/>
                    <a:pt x="863" y="1113"/>
                    <a:pt x="868" y="1114"/>
                  </a:cubicBezTo>
                  <a:cubicBezTo>
                    <a:pt x="869" y="1114"/>
                    <a:pt x="877" y="1119"/>
                    <a:pt x="876" y="1121"/>
                  </a:cubicBezTo>
                  <a:cubicBezTo>
                    <a:pt x="873" y="1127"/>
                    <a:pt x="863" y="1112"/>
                    <a:pt x="861" y="1114"/>
                  </a:cubicBezTo>
                  <a:cubicBezTo>
                    <a:pt x="860" y="1114"/>
                    <a:pt x="848" y="1137"/>
                    <a:pt x="844" y="1132"/>
                  </a:cubicBezTo>
                  <a:cubicBezTo>
                    <a:pt x="844" y="1132"/>
                    <a:pt x="864" y="1106"/>
                    <a:pt x="855" y="1106"/>
                  </a:cubicBezTo>
                  <a:cubicBezTo>
                    <a:pt x="853" y="1105"/>
                    <a:pt x="853" y="1105"/>
                    <a:pt x="853" y="1105"/>
                  </a:cubicBezTo>
                  <a:cubicBezTo>
                    <a:pt x="847" y="1103"/>
                    <a:pt x="823" y="1078"/>
                    <a:pt x="821" y="1074"/>
                  </a:cubicBezTo>
                  <a:cubicBezTo>
                    <a:pt x="820" y="1072"/>
                    <a:pt x="826" y="1068"/>
                    <a:pt x="821" y="1063"/>
                  </a:cubicBezTo>
                  <a:cubicBezTo>
                    <a:pt x="821" y="1062"/>
                    <a:pt x="812" y="1069"/>
                    <a:pt x="811" y="1071"/>
                  </a:cubicBezTo>
                  <a:cubicBezTo>
                    <a:pt x="803" y="1080"/>
                    <a:pt x="803" y="1060"/>
                    <a:pt x="803" y="1060"/>
                  </a:cubicBezTo>
                  <a:cubicBezTo>
                    <a:pt x="798" y="1058"/>
                    <a:pt x="776" y="1071"/>
                    <a:pt x="779" y="1051"/>
                  </a:cubicBezTo>
                  <a:cubicBezTo>
                    <a:pt x="780" y="1049"/>
                    <a:pt x="758" y="1023"/>
                    <a:pt x="750" y="1018"/>
                  </a:cubicBezTo>
                  <a:cubicBezTo>
                    <a:pt x="750" y="1017"/>
                    <a:pt x="745" y="1013"/>
                    <a:pt x="745" y="1012"/>
                  </a:cubicBezTo>
                  <a:cubicBezTo>
                    <a:pt x="747" y="1010"/>
                    <a:pt x="762" y="1025"/>
                    <a:pt x="765" y="1022"/>
                  </a:cubicBezTo>
                  <a:cubicBezTo>
                    <a:pt x="770" y="1015"/>
                    <a:pt x="747" y="1000"/>
                    <a:pt x="755" y="1000"/>
                  </a:cubicBezTo>
                  <a:cubicBezTo>
                    <a:pt x="756" y="1000"/>
                    <a:pt x="756" y="1001"/>
                    <a:pt x="757" y="1001"/>
                  </a:cubicBezTo>
                  <a:cubicBezTo>
                    <a:pt x="761" y="1005"/>
                    <a:pt x="803" y="1042"/>
                    <a:pt x="806" y="1042"/>
                  </a:cubicBezTo>
                  <a:cubicBezTo>
                    <a:pt x="821" y="1042"/>
                    <a:pt x="824" y="1050"/>
                    <a:pt x="830" y="1046"/>
                  </a:cubicBezTo>
                  <a:close/>
                  <a:moveTo>
                    <a:pt x="805" y="1128"/>
                  </a:moveTo>
                  <a:cubicBezTo>
                    <a:pt x="803" y="1119"/>
                    <a:pt x="776" y="1111"/>
                    <a:pt x="789" y="1103"/>
                  </a:cubicBezTo>
                  <a:cubicBezTo>
                    <a:pt x="791" y="1102"/>
                    <a:pt x="792" y="1110"/>
                    <a:pt x="793" y="1110"/>
                  </a:cubicBezTo>
                  <a:cubicBezTo>
                    <a:pt x="794" y="1112"/>
                    <a:pt x="804" y="1122"/>
                    <a:pt x="801" y="1114"/>
                  </a:cubicBezTo>
                  <a:cubicBezTo>
                    <a:pt x="801" y="1113"/>
                    <a:pt x="798" y="1113"/>
                    <a:pt x="797" y="1112"/>
                  </a:cubicBezTo>
                  <a:cubicBezTo>
                    <a:pt x="797" y="1111"/>
                    <a:pt x="806" y="1116"/>
                    <a:pt x="807" y="1114"/>
                  </a:cubicBezTo>
                  <a:cubicBezTo>
                    <a:pt x="807" y="1112"/>
                    <a:pt x="803" y="1098"/>
                    <a:pt x="801" y="1096"/>
                  </a:cubicBezTo>
                  <a:cubicBezTo>
                    <a:pt x="799" y="1095"/>
                    <a:pt x="788" y="1081"/>
                    <a:pt x="796" y="1082"/>
                  </a:cubicBezTo>
                  <a:cubicBezTo>
                    <a:pt x="804" y="1084"/>
                    <a:pt x="837" y="1128"/>
                    <a:pt x="820" y="1134"/>
                  </a:cubicBezTo>
                  <a:cubicBezTo>
                    <a:pt x="817" y="1134"/>
                    <a:pt x="810" y="1140"/>
                    <a:pt x="809" y="1136"/>
                  </a:cubicBezTo>
                  <a:cubicBezTo>
                    <a:pt x="809" y="1135"/>
                    <a:pt x="809" y="1135"/>
                    <a:pt x="809" y="1135"/>
                  </a:cubicBezTo>
                  <a:cubicBezTo>
                    <a:pt x="808" y="1133"/>
                    <a:pt x="806" y="1130"/>
                    <a:pt x="805" y="1128"/>
                  </a:cubicBezTo>
                  <a:close/>
                  <a:moveTo>
                    <a:pt x="793" y="1137"/>
                  </a:moveTo>
                  <a:cubicBezTo>
                    <a:pt x="794" y="1146"/>
                    <a:pt x="781" y="1140"/>
                    <a:pt x="776" y="1141"/>
                  </a:cubicBezTo>
                  <a:cubicBezTo>
                    <a:pt x="771" y="1142"/>
                    <a:pt x="766" y="1140"/>
                    <a:pt x="764" y="1136"/>
                  </a:cubicBezTo>
                  <a:cubicBezTo>
                    <a:pt x="762" y="1132"/>
                    <a:pt x="774" y="1136"/>
                    <a:pt x="773" y="1135"/>
                  </a:cubicBezTo>
                  <a:cubicBezTo>
                    <a:pt x="769" y="1129"/>
                    <a:pt x="765" y="1125"/>
                    <a:pt x="774" y="1120"/>
                  </a:cubicBezTo>
                  <a:cubicBezTo>
                    <a:pt x="779" y="1117"/>
                    <a:pt x="777" y="1119"/>
                    <a:pt x="779" y="1121"/>
                  </a:cubicBezTo>
                  <a:cubicBezTo>
                    <a:pt x="779" y="1121"/>
                    <a:pt x="779" y="1121"/>
                    <a:pt x="779" y="1121"/>
                  </a:cubicBezTo>
                  <a:cubicBezTo>
                    <a:pt x="781" y="1123"/>
                    <a:pt x="780" y="1136"/>
                    <a:pt x="784" y="1138"/>
                  </a:cubicBezTo>
                  <a:cubicBezTo>
                    <a:pt x="785" y="1139"/>
                    <a:pt x="787" y="1130"/>
                    <a:pt x="789" y="1129"/>
                  </a:cubicBezTo>
                  <a:cubicBezTo>
                    <a:pt x="795" y="1127"/>
                    <a:pt x="800" y="1134"/>
                    <a:pt x="801" y="1138"/>
                  </a:cubicBezTo>
                  <a:cubicBezTo>
                    <a:pt x="802" y="1142"/>
                    <a:pt x="792" y="1130"/>
                    <a:pt x="793" y="1137"/>
                  </a:cubicBezTo>
                  <a:close/>
                  <a:moveTo>
                    <a:pt x="708" y="1137"/>
                  </a:moveTo>
                  <a:cubicBezTo>
                    <a:pt x="705" y="1135"/>
                    <a:pt x="700" y="1131"/>
                    <a:pt x="701" y="1129"/>
                  </a:cubicBezTo>
                  <a:cubicBezTo>
                    <a:pt x="705" y="1125"/>
                    <a:pt x="694" y="1123"/>
                    <a:pt x="697" y="1121"/>
                  </a:cubicBezTo>
                  <a:cubicBezTo>
                    <a:pt x="705" y="1113"/>
                    <a:pt x="705" y="1125"/>
                    <a:pt x="718" y="1126"/>
                  </a:cubicBezTo>
                  <a:cubicBezTo>
                    <a:pt x="719" y="1126"/>
                    <a:pt x="726" y="1125"/>
                    <a:pt x="726" y="1123"/>
                  </a:cubicBezTo>
                  <a:cubicBezTo>
                    <a:pt x="726" y="1113"/>
                    <a:pt x="702" y="1103"/>
                    <a:pt x="700" y="1098"/>
                  </a:cubicBezTo>
                  <a:cubicBezTo>
                    <a:pt x="699" y="1093"/>
                    <a:pt x="708" y="1103"/>
                    <a:pt x="713" y="1103"/>
                  </a:cubicBezTo>
                  <a:cubicBezTo>
                    <a:pt x="719" y="1103"/>
                    <a:pt x="706" y="1092"/>
                    <a:pt x="721" y="1091"/>
                  </a:cubicBezTo>
                  <a:cubicBezTo>
                    <a:pt x="723" y="1091"/>
                    <a:pt x="727" y="1091"/>
                    <a:pt x="726" y="1093"/>
                  </a:cubicBezTo>
                  <a:cubicBezTo>
                    <a:pt x="726" y="1093"/>
                    <a:pt x="726" y="1093"/>
                    <a:pt x="726" y="1093"/>
                  </a:cubicBezTo>
                  <a:cubicBezTo>
                    <a:pt x="723" y="1098"/>
                    <a:pt x="720" y="1092"/>
                    <a:pt x="719" y="1094"/>
                  </a:cubicBezTo>
                  <a:cubicBezTo>
                    <a:pt x="714" y="1098"/>
                    <a:pt x="724" y="1098"/>
                    <a:pt x="720" y="1101"/>
                  </a:cubicBezTo>
                  <a:cubicBezTo>
                    <a:pt x="716" y="1105"/>
                    <a:pt x="726" y="1118"/>
                    <a:pt x="722" y="1105"/>
                  </a:cubicBezTo>
                  <a:cubicBezTo>
                    <a:pt x="721" y="1101"/>
                    <a:pt x="726" y="1105"/>
                    <a:pt x="728" y="1105"/>
                  </a:cubicBezTo>
                  <a:cubicBezTo>
                    <a:pt x="731" y="1107"/>
                    <a:pt x="743" y="1101"/>
                    <a:pt x="740" y="1110"/>
                  </a:cubicBezTo>
                  <a:cubicBezTo>
                    <a:pt x="739" y="1113"/>
                    <a:pt x="730" y="1107"/>
                    <a:pt x="730" y="1108"/>
                  </a:cubicBezTo>
                  <a:cubicBezTo>
                    <a:pt x="729" y="1116"/>
                    <a:pt x="738" y="1116"/>
                    <a:pt x="733" y="1122"/>
                  </a:cubicBezTo>
                  <a:cubicBezTo>
                    <a:pt x="732" y="1123"/>
                    <a:pt x="729" y="1124"/>
                    <a:pt x="728" y="1126"/>
                  </a:cubicBezTo>
                  <a:cubicBezTo>
                    <a:pt x="726" y="1129"/>
                    <a:pt x="724" y="1127"/>
                    <a:pt x="722" y="1129"/>
                  </a:cubicBezTo>
                  <a:cubicBezTo>
                    <a:pt x="722" y="1129"/>
                    <a:pt x="721" y="1131"/>
                    <a:pt x="721" y="1131"/>
                  </a:cubicBezTo>
                  <a:cubicBezTo>
                    <a:pt x="721" y="1132"/>
                    <a:pt x="725" y="1133"/>
                    <a:pt x="725" y="1135"/>
                  </a:cubicBezTo>
                  <a:cubicBezTo>
                    <a:pt x="725" y="1135"/>
                    <a:pt x="758" y="1158"/>
                    <a:pt x="754" y="1161"/>
                  </a:cubicBezTo>
                  <a:cubicBezTo>
                    <a:pt x="751" y="1162"/>
                    <a:pt x="711" y="1149"/>
                    <a:pt x="711" y="1141"/>
                  </a:cubicBezTo>
                  <a:cubicBezTo>
                    <a:pt x="711" y="1140"/>
                    <a:pt x="718" y="1141"/>
                    <a:pt x="718" y="1139"/>
                  </a:cubicBezTo>
                  <a:cubicBezTo>
                    <a:pt x="720" y="1134"/>
                    <a:pt x="710" y="1137"/>
                    <a:pt x="708" y="1137"/>
                  </a:cubicBezTo>
                  <a:close/>
                  <a:moveTo>
                    <a:pt x="688" y="1070"/>
                  </a:moveTo>
                  <a:cubicBezTo>
                    <a:pt x="685" y="1068"/>
                    <a:pt x="679" y="1059"/>
                    <a:pt x="674" y="1060"/>
                  </a:cubicBezTo>
                  <a:cubicBezTo>
                    <a:pt x="672" y="1060"/>
                    <a:pt x="664" y="1061"/>
                    <a:pt x="665" y="1058"/>
                  </a:cubicBezTo>
                  <a:cubicBezTo>
                    <a:pt x="664" y="1057"/>
                    <a:pt x="664" y="1057"/>
                    <a:pt x="664" y="1057"/>
                  </a:cubicBezTo>
                  <a:cubicBezTo>
                    <a:pt x="658" y="1050"/>
                    <a:pt x="659" y="1042"/>
                    <a:pt x="650" y="1035"/>
                  </a:cubicBezTo>
                  <a:cubicBezTo>
                    <a:pt x="649" y="1035"/>
                    <a:pt x="642" y="1028"/>
                    <a:pt x="643" y="1027"/>
                  </a:cubicBezTo>
                  <a:cubicBezTo>
                    <a:pt x="645" y="1025"/>
                    <a:pt x="668" y="1050"/>
                    <a:pt x="672" y="1052"/>
                  </a:cubicBezTo>
                  <a:cubicBezTo>
                    <a:pt x="678" y="1056"/>
                    <a:pt x="688" y="1067"/>
                    <a:pt x="690" y="1066"/>
                  </a:cubicBezTo>
                  <a:cubicBezTo>
                    <a:pt x="699" y="1064"/>
                    <a:pt x="679" y="1059"/>
                    <a:pt x="696" y="1061"/>
                  </a:cubicBezTo>
                  <a:cubicBezTo>
                    <a:pt x="699" y="1062"/>
                    <a:pt x="697" y="1063"/>
                    <a:pt x="695" y="1063"/>
                  </a:cubicBezTo>
                  <a:cubicBezTo>
                    <a:pt x="693" y="1065"/>
                    <a:pt x="700" y="1067"/>
                    <a:pt x="700" y="1067"/>
                  </a:cubicBezTo>
                  <a:cubicBezTo>
                    <a:pt x="700" y="1076"/>
                    <a:pt x="687" y="1082"/>
                    <a:pt x="679" y="1077"/>
                  </a:cubicBezTo>
                  <a:cubicBezTo>
                    <a:pt x="676" y="1075"/>
                    <a:pt x="690" y="1073"/>
                    <a:pt x="688" y="1070"/>
                  </a:cubicBezTo>
                  <a:close/>
                  <a:moveTo>
                    <a:pt x="643" y="910"/>
                  </a:moveTo>
                  <a:cubicBezTo>
                    <a:pt x="632" y="912"/>
                    <a:pt x="622" y="898"/>
                    <a:pt x="621" y="898"/>
                  </a:cubicBezTo>
                  <a:cubicBezTo>
                    <a:pt x="620" y="898"/>
                    <a:pt x="613" y="900"/>
                    <a:pt x="613" y="901"/>
                  </a:cubicBezTo>
                  <a:cubicBezTo>
                    <a:pt x="618" y="913"/>
                    <a:pt x="592" y="902"/>
                    <a:pt x="597" y="919"/>
                  </a:cubicBezTo>
                  <a:cubicBezTo>
                    <a:pt x="598" y="922"/>
                    <a:pt x="603" y="923"/>
                    <a:pt x="597" y="925"/>
                  </a:cubicBezTo>
                  <a:cubicBezTo>
                    <a:pt x="596" y="926"/>
                    <a:pt x="597" y="924"/>
                    <a:pt x="596" y="923"/>
                  </a:cubicBezTo>
                  <a:cubicBezTo>
                    <a:pt x="594" y="922"/>
                    <a:pt x="586" y="919"/>
                    <a:pt x="586" y="917"/>
                  </a:cubicBezTo>
                  <a:cubicBezTo>
                    <a:pt x="585" y="914"/>
                    <a:pt x="593" y="910"/>
                    <a:pt x="590" y="909"/>
                  </a:cubicBezTo>
                  <a:cubicBezTo>
                    <a:pt x="584" y="907"/>
                    <a:pt x="572" y="920"/>
                    <a:pt x="568" y="906"/>
                  </a:cubicBezTo>
                  <a:cubicBezTo>
                    <a:pt x="568" y="906"/>
                    <a:pt x="568" y="906"/>
                    <a:pt x="568" y="906"/>
                  </a:cubicBezTo>
                  <a:cubicBezTo>
                    <a:pt x="566" y="903"/>
                    <a:pt x="568" y="893"/>
                    <a:pt x="562" y="890"/>
                  </a:cubicBezTo>
                  <a:cubicBezTo>
                    <a:pt x="557" y="888"/>
                    <a:pt x="548" y="887"/>
                    <a:pt x="549" y="879"/>
                  </a:cubicBezTo>
                  <a:cubicBezTo>
                    <a:pt x="549" y="875"/>
                    <a:pt x="571" y="883"/>
                    <a:pt x="560" y="877"/>
                  </a:cubicBezTo>
                  <a:cubicBezTo>
                    <a:pt x="547" y="871"/>
                    <a:pt x="562" y="867"/>
                    <a:pt x="557" y="864"/>
                  </a:cubicBezTo>
                  <a:cubicBezTo>
                    <a:pt x="541" y="853"/>
                    <a:pt x="572" y="866"/>
                    <a:pt x="572" y="866"/>
                  </a:cubicBezTo>
                  <a:cubicBezTo>
                    <a:pt x="574" y="866"/>
                    <a:pt x="586" y="857"/>
                    <a:pt x="594" y="862"/>
                  </a:cubicBezTo>
                  <a:cubicBezTo>
                    <a:pt x="597" y="863"/>
                    <a:pt x="587" y="866"/>
                    <a:pt x="589" y="869"/>
                  </a:cubicBezTo>
                  <a:cubicBezTo>
                    <a:pt x="599" y="879"/>
                    <a:pt x="583" y="872"/>
                    <a:pt x="586" y="879"/>
                  </a:cubicBezTo>
                  <a:cubicBezTo>
                    <a:pt x="588" y="884"/>
                    <a:pt x="605" y="895"/>
                    <a:pt x="606" y="896"/>
                  </a:cubicBezTo>
                  <a:cubicBezTo>
                    <a:pt x="610" y="898"/>
                    <a:pt x="609" y="890"/>
                    <a:pt x="612" y="890"/>
                  </a:cubicBezTo>
                  <a:cubicBezTo>
                    <a:pt x="626" y="887"/>
                    <a:pt x="620" y="882"/>
                    <a:pt x="624" y="879"/>
                  </a:cubicBezTo>
                  <a:cubicBezTo>
                    <a:pt x="629" y="877"/>
                    <a:pt x="631" y="884"/>
                    <a:pt x="634" y="883"/>
                  </a:cubicBezTo>
                  <a:cubicBezTo>
                    <a:pt x="636" y="883"/>
                    <a:pt x="661" y="879"/>
                    <a:pt x="662" y="886"/>
                  </a:cubicBezTo>
                  <a:cubicBezTo>
                    <a:pt x="663" y="889"/>
                    <a:pt x="648" y="882"/>
                    <a:pt x="646" y="887"/>
                  </a:cubicBezTo>
                  <a:cubicBezTo>
                    <a:pt x="645" y="894"/>
                    <a:pt x="664" y="891"/>
                    <a:pt x="660" y="896"/>
                  </a:cubicBezTo>
                  <a:cubicBezTo>
                    <a:pt x="657" y="899"/>
                    <a:pt x="642" y="893"/>
                    <a:pt x="636" y="895"/>
                  </a:cubicBezTo>
                  <a:cubicBezTo>
                    <a:pt x="633" y="896"/>
                    <a:pt x="628" y="897"/>
                    <a:pt x="629" y="899"/>
                  </a:cubicBezTo>
                  <a:cubicBezTo>
                    <a:pt x="637" y="913"/>
                    <a:pt x="642" y="901"/>
                    <a:pt x="649" y="901"/>
                  </a:cubicBezTo>
                  <a:cubicBezTo>
                    <a:pt x="651" y="901"/>
                    <a:pt x="649" y="911"/>
                    <a:pt x="653" y="913"/>
                  </a:cubicBezTo>
                  <a:cubicBezTo>
                    <a:pt x="664" y="918"/>
                    <a:pt x="673" y="915"/>
                    <a:pt x="680" y="922"/>
                  </a:cubicBezTo>
                  <a:cubicBezTo>
                    <a:pt x="680" y="922"/>
                    <a:pt x="669" y="925"/>
                    <a:pt x="666" y="925"/>
                  </a:cubicBezTo>
                  <a:cubicBezTo>
                    <a:pt x="662" y="924"/>
                    <a:pt x="643" y="918"/>
                    <a:pt x="638" y="915"/>
                  </a:cubicBezTo>
                  <a:cubicBezTo>
                    <a:pt x="637" y="915"/>
                    <a:pt x="654" y="909"/>
                    <a:pt x="643" y="910"/>
                  </a:cubicBezTo>
                  <a:close/>
                  <a:moveTo>
                    <a:pt x="540" y="1075"/>
                  </a:moveTo>
                  <a:cubicBezTo>
                    <a:pt x="537" y="1078"/>
                    <a:pt x="532" y="1075"/>
                    <a:pt x="531" y="1077"/>
                  </a:cubicBezTo>
                  <a:cubicBezTo>
                    <a:pt x="529" y="1082"/>
                    <a:pt x="554" y="1100"/>
                    <a:pt x="536" y="1096"/>
                  </a:cubicBezTo>
                  <a:cubicBezTo>
                    <a:pt x="535" y="1095"/>
                    <a:pt x="535" y="1095"/>
                    <a:pt x="535" y="1095"/>
                  </a:cubicBezTo>
                  <a:cubicBezTo>
                    <a:pt x="517" y="1086"/>
                    <a:pt x="532" y="1082"/>
                    <a:pt x="521" y="1070"/>
                  </a:cubicBezTo>
                  <a:cubicBezTo>
                    <a:pt x="520" y="1068"/>
                    <a:pt x="497" y="1052"/>
                    <a:pt x="501" y="1049"/>
                  </a:cubicBezTo>
                  <a:cubicBezTo>
                    <a:pt x="507" y="1043"/>
                    <a:pt x="511" y="1059"/>
                    <a:pt x="513" y="1060"/>
                  </a:cubicBezTo>
                  <a:cubicBezTo>
                    <a:pt x="519" y="1065"/>
                    <a:pt x="537" y="1062"/>
                    <a:pt x="538" y="1062"/>
                  </a:cubicBezTo>
                  <a:cubicBezTo>
                    <a:pt x="540" y="1060"/>
                    <a:pt x="539" y="1058"/>
                    <a:pt x="537" y="1056"/>
                  </a:cubicBezTo>
                  <a:cubicBezTo>
                    <a:pt x="532" y="1050"/>
                    <a:pt x="507" y="1037"/>
                    <a:pt x="527" y="1033"/>
                  </a:cubicBezTo>
                  <a:cubicBezTo>
                    <a:pt x="531" y="1032"/>
                    <a:pt x="532" y="1042"/>
                    <a:pt x="537" y="1042"/>
                  </a:cubicBezTo>
                  <a:cubicBezTo>
                    <a:pt x="557" y="1042"/>
                    <a:pt x="535" y="1044"/>
                    <a:pt x="543" y="1050"/>
                  </a:cubicBezTo>
                  <a:cubicBezTo>
                    <a:pt x="544" y="1050"/>
                    <a:pt x="553" y="1049"/>
                    <a:pt x="549" y="1051"/>
                  </a:cubicBezTo>
                  <a:cubicBezTo>
                    <a:pt x="546" y="1052"/>
                    <a:pt x="552" y="1060"/>
                    <a:pt x="551" y="1061"/>
                  </a:cubicBezTo>
                  <a:cubicBezTo>
                    <a:pt x="550" y="1062"/>
                    <a:pt x="542" y="1060"/>
                    <a:pt x="540" y="1065"/>
                  </a:cubicBezTo>
                  <a:cubicBezTo>
                    <a:pt x="539" y="1067"/>
                    <a:pt x="540" y="1074"/>
                    <a:pt x="540" y="1075"/>
                  </a:cubicBezTo>
                  <a:close/>
                  <a:moveTo>
                    <a:pt x="591" y="623"/>
                  </a:moveTo>
                  <a:cubicBezTo>
                    <a:pt x="600" y="628"/>
                    <a:pt x="589" y="637"/>
                    <a:pt x="591" y="640"/>
                  </a:cubicBezTo>
                  <a:cubicBezTo>
                    <a:pt x="596" y="646"/>
                    <a:pt x="588" y="643"/>
                    <a:pt x="582" y="642"/>
                  </a:cubicBezTo>
                  <a:cubicBezTo>
                    <a:pt x="582" y="641"/>
                    <a:pt x="582" y="641"/>
                    <a:pt x="582" y="641"/>
                  </a:cubicBezTo>
                  <a:cubicBezTo>
                    <a:pt x="581" y="639"/>
                    <a:pt x="585" y="616"/>
                    <a:pt x="569" y="624"/>
                  </a:cubicBezTo>
                  <a:cubicBezTo>
                    <a:pt x="568" y="624"/>
                    <a:pt x="567" y="625"/>
                    <a:pt x="568" y="626"/>
                  </a:cubicBezTo>
                  <a:cubicBezTo>
                    <a:pt x="571" y="627"/>
                    <a:pt x="562" y="633"/>
                    <a:pt x="561" y="630"/>
                  </a:cubicBezTo>
                  <a:cubicBezTo>
                    <a:pt x="557" y="621"/>
                    <a:pt x="571" y="627"/>
                    <a:pt x="562" y="616"/>
                  </a:cubicBezTo>
                  <a:cubicBezTo>
                    <a:pt x="560" y="614"/>
                    <a:pt x="549" y="609"/>
                    <a:pt x="558" y="606"/>
                  </a:cubicBezTo>
                  <a:cubicBezTo>
                    <a:pt x="560" y="606"/>
                    <a:pt x="565" y="608"/>
                    <a:pt x="564" y="610"/>
                  </a:cubicBezTo>
                  <a:cubicBezTo>
                    <a:pt x="558" y="616"/>
                    <a:pt x="590" y="623"/>
                    <a:pt x="591" y="623"/>
                  </a:cubicBezTo>
                  <a:close/>
                  <a:moveTo>
                    <a:pt x="600" y="550"/>
                  </a:moveTo>
                  <a:cubicBezTo>
                    <a:pt x="602" y="543"/>
                    <a:pt x="613" y="536"/>
                    <a:pt x="613" y="538"/>
                  </a:cubicBezTo>
                  <a:cubicBezTo>
                    <a:pt x="613" y="540"/>
                    <a:pt x="614" y="545"/>
                    <a:pt x="617" y="543"/>
                  </a:cubicBezTo>
                  <a:cubicBezTo>
                    <a:pt x="620" y="542"/>
                    <a:pt x="620" y="536"/>
                    <a:pt x="619" y="535"/>
                  </a:cubicBezTo>
                  <a:cubicBezTo>
                    <a:pt x="618" y="533"/>
                    <a:pt x="600" y="525"/>
                    <a:pt x="606" y="520"/>
                  </a:cubicBezTo>
                  <a:cubicBezTo>
                    <a:pt x="608" y="518"/>
                    <a:pt x="611" y="528"/>
                    <a:pt x="614" y="526"/>
                  </a:cubicBezTo>
                  <a:cubicBezTo>
                    <a:pt x="614" y="526"/>
                    <a:pt x="631" y="532"/>
                    <a:pt x="634" y="536"/>
                  </a:cubicBezTo>
                  <a:cubicBezTo>
                    <a:pt x="635" y="539"/>
                    <a:pt x="624" y="542"/>
                    <a:pt x="626" y="544"/>
                  </a:cubicBezTo>
                  <a:cubicBezTo>
                    <a:pt x="638" y="552"/>
                    <a:pt x="642" y="548"/>
                    <a:pt x="651" y="547"/>
                  </a:cubicBezTo>
                  <a:cubicBezTo>
                    <a:pt x="652" y="547"/>
                    <a:pt x="658" y="536"/>
                    <a:pt x="658" y="540"/>
                  </a:cubicBezTo>
                  <a:cubicBezTo>
                    <a:pt x="660" y="544"/>
                    <a:pt x="658" y="548"/>
                    <a:pt x="652" y="549"/>
                  </a:cubicBezTo>
                  <a:cubicBezTo>
                    <a:pt x="644" y="549"/>
                    <a:pt x="648" y="557"/>
                    <a:pt x="646" y="557"/>
                  </a:cubicBezTo>
                  <a:cubicBezTo>
                    <a:pt x="638" y="556"/>
                    <a:pt x="626" y="542"/>
                    <a:pt x="618" y="546"/>
                  </a:cubicBezTo>
                  <a:cubicBezTo>
                    <a:pt x="601" y="552"/>
                    <a:pt x="616" y="570"/>
                    <a:pt x="596" y="560"/>
                  </a:cubicBezTo>
                  <a:cubicBezTo>
                    <a:pt x="596" y="560"/>
                    <a:pt x="596" y="560"/>
                    <a:pt x="596" y="560"/>
                  </a:cubicBezTo>
                  <a:cubicBezTo>
                    <a:pt x="594" y="559"/>
                    <a:pt x="593" y="559"/>
                    <a:pt x="592" y="558"/>
                  </a:cubicBezTo>
                  <a:cubicBezTo>
                    <a:pt x="583" y="553"/>
                    <a:pt x="601" y="558"/>
                    <a:pt x="601" y="558"/>
                  </a:cubicBezTo>
                  <a:cubicBezTo>
                    <a:pt x="603" y="558"/>
                    <a:pt x="600" y="553"/>
                    <a:pt x="600" y="550"/>
                  </a:cubicBezTo>
                  <a:close/>
                  <a:moveTo>
                    <a:pt x="659" y="581"/>
                  </a:moveTo>
                  <a:cubicBezTo>
                    <a:pt x="660" y="579"/>
                    <a:pt x="667" y="582"/>
                    <a:pt x="668" y="579"/>
                  </a:cubicBezTo>
                  <a:cubicBezTo>
                    <a:pt x="670" y="573"/>
                    <a:pt x="675" y="583"/>
                    <a:pt x="677" y="586"/>
                  </a:cubicBezTo>
                  <a:cubicBezTo>
                    <a:pt x="677" y="587"/>
                    <a:pt x="680" y="590"/>
                    <a:pt x="681" y="590"/>
                  </a:cubicBezTo>
                  <a:cubicBezTo>
                    <a:pt x="685" y="592"/>
                    <a:pt x="666" y="587"/>
                    <a:pt x="667" y="592"/>
                  </a:cubicBezTo>
                  <a:cubicBezTo>
                    <a:pt x="667" y="593"/>
                    <a:pt x="671" y="593"/>
                    <a:pt x="671" y="593"/>
                  </a:cubicBezTo>
                  <a:cubicBezTo>
                    <a:pt x="680" y="596"/>
                    <a:pt x="668" y="597"/>
                    <a:pt x="667" y="598"/>
                  </a:cubicBezTo>
                  <a:cubicBezTo>
                    <a:pt x="665" y="601"/>
                    <a:pt x="687" y="601"/>
                    <a:pt x="674" y="608"/>
                  </a:cubicBezTo>
                  <a:cubicBezTo>
                    <a:pt x="672" y="609"/>
                    <a:pt x="652" y="601"/>
                    <a:pt x="650" y="601"/>
                  </a:cubicBezTo>
                  <a:cubicBezTo>
                    <a:pt x="649" y="600"/>
                    <a:pt x="648" y="600"/>
                    <a:pt x="649" y="599"/>
                  </a:cubicBezTo>
                  <a:cubicBezTo>
                    <a:pt x="650" y="598"/>
                    <a:pt x="650" y="598"/>
                    <a:pt x="650" y="598"/>
                  </a:cubicBezTo>
                  <a:cubicBezTo>
                    <a:pt x="650" y="598"/>
                    <a:pt x="651" y="598"/>
                    <a:pt x="651" y="597"/>
                  </a:cubicBezTo>
                  <a:cubicBezTo>
                    <a:pt x="655" y="596"/>
                    <a:pt x="674" y="592"/>
                    <a:pt x="660" y="590"/>
                  </a:cubicBezTo>
                  <a:cubicBezTo>
                    <a:pt x="656" y="589"/>
                    <a:pt x="652" y="586"/>
                    <a:pt x="648" y="587"/>
                  </a:cubicBezTo>
                  <a:cubicBezTo>
                    <a:pt x="646" y="587"/>
                    <a:pt x="636" y="585"/>
                    <a:pt x="638" y="581"/>
                  </a:cubicBezTo>
                  <a:cubicBezTo>
                    <a:pt x="641" y="571"/>
                    <a:pt x="661" y="592"/>
                    <a:pt x="666" y="589"/>
                  </a:cubicBezTo>
                  <a:cubicBezTo>
                    <a:pt x="669" y="587"/>
                    <a:pt x="659" y="581"/>
                    <a:pt x="659" y="581"/>
                  </a:cubicBezTo>
                  <a:close/>
                  <a:moveTo>
                    <a:pt x="653" y="741"/>
                  </a:moveTo>
                  <a:cubicBezTo>
                    <a:pt x="653" y="741"/>
                    <a:pt x="660" y="741"/>
                    <a:pt x="660" y="742"/>
                  </a:cubicBezTo>
                  <a:cubicBezTo>
                    <a:pt x="660" y="745"/>
                    <a:pt x="643" y="756"/>
                    <a:pt x="642" y="755"/>
                  </a:cubicBezTo>
                  <a:cubicBezTo>
                    <a:pt x="645" y="748"/>
                    <a:pt x="645" y="746"/>
                    <a:pt x="653" y="741"/>
                  </a:cubicBezTo>
                  <a:close/>
                  <a:moveTo>
                    <a:pt x="597" y="756"/>
                  </a:moveTo>
                  <a:cubicBezTo>
                    <a:pt x="596" y="756"/>
                    <a:pt x="596" y="756"/>
                    <a:pt x="597" y="756"/>
                  </a:cubicBezTo>
                  <a:cubicBezTo>
                    <a:pt x="594" y="752"/>
                    <a:pt x="589" y="740"/>
                    <a:pt x="590" y="740"/>
                  </a:cubicBezTo>
                  <a:cubicBezTo>
                    <a:pt x="603" y="736"/>
                    <a:pt x="597" y="753"/>
                    <a:pt x="597" y="756"/>
                  </a:cubicBezTo>
                  <a:cubicBezTo>
                    <a:pt x="597" y="756"/>
                    <a:pt x="597" y="756"/>
                    <a:pt x="597" y="756"/>
                  </a:cubicBezTo>
                  <a:close/>
                  <a:moveTo>
                    <a:pt x="691" y="920"/>
                  </a:moveTo>
                  <a:cubicBezTo>
                    <a:pt x="681" y="912"/>
                    <a:pt x="722" y="919"/>
                    <a:pt x="711" y="921"/>
                  </a:cubicBezTo>
                  <a:cubicBezTo>
                    <a:pt x="709" y="922"/>
                    <a:pt x="716" y="924"/>
                    <a:pt x="718" y="926"/>
                  </a:cubicBezTo>
                  <a:cubicBezTo>
                    <a:pt x="731" y="938"/>
                    <a:pt x="756" y="915"/>
                    <a:pt x="762" y="914"/>
                  </a:cubicBezTo>
                  <a:cubicBezTo>
                    <a:pt x="766" y="914"/>
                    <a:pt x="788" y="924"/>
                    <a:pt x="789" y="929"/>
                  </a:cubicBezTo>
                  <a:cubicBezTo>
                    <a:pt x="789" y="930"/>
                    <a:pt x="782" y="925"/>
                    <a:pt x="781" y="925"/>
                  </a:cubicBezTo>
                  <a:cubicBezTo>
                    <a:pt x="776" y="924"/>
                    <a:pt x="767" y="927"/>
                    <a:pt x="761" y="930"/>
                  </a:cubicBezTo>
                  <a:cubicBezTo>
                    <a:pt x="758" y="932"/>
                    <a:pt x="769" y="934"/>
                    <a:pt x="766" y="936"/>
                  </a:cubicBezTo>
                  <a:cubicBezTo>
                    <a:pt x="766" y="936"/>
                    <a:pt x="765" y="936"/>
                    <a:pt x="765" y="936"/>
                  </a:cubicBezTo>
                  <a:cubicBezTo>
                    <a:pt x="756" y="936"/>
                    <a:pt x="757" y="927"/>
                    <a:pt x="753" y="928"/>
                  </a:cubicBezTo>
                  <a:cubicBezTo>
                    <a:pt x="744" y="929"/>
                    <a:pt x="714" y="938"/>
                    <a:pt x="706" y="928"/>
                  </a:cubicBezTo>
                  <a:cubicBezTo>
                    <a:pt x="705" y="927"/>
                    <a:pt x="711" y="928"/>
                    <a:pt x="709" y="925"/>
                  </a:cubicBezTo>
                  <a:cubicBezTo>
                    <a:pt x="709" y="923"/>
                    <a:pt x="705" y="923"/>
                    <a:pt x="704" y="922"/>
                  </a:cubicBezTo>
                  <a:cubicBezTo>
                    <a:pt x="702" y="921"/>
                    <a:pt x="698" y="916"/>
                    <a:pt x="696" y="917"/>
                  </a:cubicBezTo>
                  <a:cubicBezTo>
                    <a:pt x="696" y="918"/>
                    <a:pt x="697" y="919"/>
                    <a:pt x="696" y="920"/>
                  </a:cubicBezTo>
                  <a:cubicBezTo>
                    <a:pt x="695" y="922"/>
                    <a:pt x="692" y="925"/>
                    <a:pt x="696" y="926"/>
                  </a:cubicBezTo>
                  <a:cubicBezTo>
                    <a:pt x="705" y="927"/>
                    <a:pt x="709" y="938"/>
                    <a:pt x="699" y="930"/>
                  </a:cubicBezTo>
                  <a:cubicBezTo>
                    <a:pt x="698" y="929"/>
                    <a:pt x="698" y="928"/>
                    <a:pt x="696" y="929"/>
                  </a:cubicBezTo>
                  <a:cubicBezTo>
                    <a:pt x="693" y="931"/>
                    <a:pt x="696" y="945"/>
                    <a:pt x="694" y="942"/>
                  </a:cubicBezTo>
                  <a:cubicBezTo>
                    <a:pt x="694" y="941"/>
                    <a:pt x="694" y="941"/>
                    <a:pt x="694" y="941"/>
                  </a:cubicBezTo>
                  <a:cubicBezTo>
                    <a:pt x="693" y="939"/>
                    <a:pt x="686" y="922"/>
                    <a:pt x="684" y="921"/>
                  </a:cubicBezTo>
                  <a:cubicBezTo>
                    <a:pt x="683" y="919"/>
                    <a:pt x="695" y="923"/>
                    <a:pt x="691" y="920"/>
                  </a:cubicBezTo>
                  <a:close/>
                  <a:moveTo>
                    <a:pt x="695" y="673"/>
                  </a:moveTo>
                  <a:cubicBezTo>
                    <a:pt x="695" y="652"/>
                    <a:pt x="708" y="666"/>
                    <a:pt x="708" y="677"/>
                  </a:cubicBezTo>
                  <a:cubicBezTo>
                    <a:pt x="708" y="677"/>
                    <a:pt x="696" y="674"/>
                    <a:pt x="695" y="673"/>
                  </a:cubicBezTo>
                  <a:close/>
                  <a:moveTo>
                    <a:pt x="764" y="693"/>
                  </a:moveTo>
                  <a:cubicBezTo>
                    <a:pt x="765" y="694"/>
                    <a:pt x="772" y="698"/>
                    <a:pt x="772" y="699"/>
                  </a:cubicBezTo>
                  <a:cubicBezTo>
                    <a:pt x="771" y="705"/>
                    <a:pt x="725" y="707"/>
                    <a:pt x="750" y="703"/>
                  </a:cubicBezTo>
                  <a:cubicBezTo>
                    <a:pt x="751" y="703"/>
                    <a:pt x="751" y="703"/>
                    <a:pt x="751" y="703"/>
                  </a:cubicBezTo>
                  <a:cubicBezTo>
                    <a:pt x="758" y="699"/>
                    <a:pt x="764" y="676"/>
                    <a:pt x="774" y="685"/>
                  </a:cubicBezTo>
                  <a:cubicBezTo>
                    <a:pt x="778" y="689"/>
                    <a:pt x="762" y="688"/>
                    <a:pt x="764" y="693"/>
                  </a:cubicBezTo>
                  <a:close/>
                  <a:moveTo>
                    <a:pt x="755" y="800"/>
                  </a:moveTo>
                  <a:cubicBezTo>
                    <a:pt x="761" y="794"/>
                    <a:pt x="749" y="760"/>
                    <a:pt x="766" y="760"/>
                  </a:cubicBezTo>
                  <a:cubicBezTo>
                    <a:pt x="767" y="760"/>
                    <a:pt x="755" y="783"/>
                    <a:pt x="774" y="779"/>
                  </a:cubicBezTo>
                  <a:cubicBezTo>
                    <a:pt x="784" y="778"/>
                    <a:pt x="781" y="752"/>
                    <a:pt x="798" y="760"/>
                  </a:cubicBezTo>
                  <a:cubicBezTo>
                    <a:pt x="799" y="760"/>
                    <a:pt x="789" y="764"/>
                    <a:pt x="787" y="766"/>
                  </a:cubicBezTo>
                  <a:cubicBezTo>
                    <a:pt x="781" y="770"/>
                    <a:pt x="785" y="778"/>
                    <a:pt x="781" y="781"/>
                  </a:cubicBezTo>
                  <a:cubicBezTo>
                    <a:pt x="778" y="782"/>
                    <a:pt x="769" y="781"/>
                    <a:pt x="768" y="784"/>
                  </a:cubicBezTo>
                  <a:cubicBezTo>
                    <a:pt x="767" y="787"/>
                    <a:pt x="772" y="786"/>
                    <a:pt x="772" y="787"/>
                  </a:cubicBezTo>
                  <a:cubicBezTo>
                    <a:pt x="772" y="788"/>
                    <a:pt x="765" y="788"/>
                    <a:pt x="764" y="788"/>
                  </a:cubicBezTo>
                  <a:cubicBezTo>
                    <a:pt x="764" y="788"/>
                    <a:pt x="762" y="788"/>
                    <a:pt x="762" y="789"/>
                  </a:cubicBezTo>
                  <a:cubicBezTo>
                    <a:pt x="759" y="798"/>
                    <a:pt x="759" y="802"/>
                    <a:pt x="760" y="803"/>
                  </a:cubicBezTo>
                  <a:cubicBezTo>
                    <a:pt x="760" y="803"/>
                    <a:pt x="764" y="804"/>
                    <a:pt x="763" y="805"/>
                  </a:cubicBezTo>
                  <a:cubicBezTo>
                    <a:pt x="759" y="808"/>
                    <a:pt x="758" y="801"/>
                    <a:pt x="756" y="806"/>
                  </a:cubicBezTo>
                  <a:cubicBezTo>
                    <a:pt x="755" y="809"/>
                    <a:pt x="757" y="811"/>
                    <a:pt x="759" y="812"/>
                  </a:cubicBezTo>
                  <a:cubicBezTo>
                    <a:pt x="788" y="826"/>
                    <a:pt x="748" y="807"/>
                    <a:pt x="739" y="807"/>
                  </a:cubicBezTo>
                  <a:cubicBezTo>
                    <a:pt x="738" y="806"/>
                    <a:pt x="738" y="806"/>
                    <a:pt x="738" y="806"/>
                  </a:cubicBezTo>
                  <a:cubicBezTo>
                    <a:pt x="735" y="796"/>
                    <a:pt x="744" y="810"/>
                    <a:pt x="755" y="800"/>
                  </a:cubicBezTo>
                  <a:close/>
                  <a:moveTo>
                    <a:pt x="804" y="842"/>
                  </a:moveTo>
                  <a:cubicBezTo>
                    <a:pt x="804" y="842"/>
                    <a:pt x="804" y="842"/>
                    <a:pt x="804" y="842"/>
                  </a:cubicBezTo>
                  <a:cubicBezTo>
                    <a:pt x="799" y="839"/>
                    <a:pt x="767" y="826"/>
                    <a:pt x="766" y="824"/>
                  </a:cubicBezTo>
                  <a:cubicBezTo>
                    <a:pt x="765" y="821"/>
                    <a:pt x="778" y="824"/>
                    <a:pt x="778" y="824"/>
                  </a:cubicBezTo>
                  <a:cubicBezTo>
                    <a:pt x="789" y="826"/>
                    <a:pt x="817" y="840"/>
                    <a:pt x="804" y="842"/>
                  </a:cubicBezTo>
                  <a:close/>
                  <a:moveTo>
                    <a:pt x="790" y="653"/>
                  </a:moveTo>
                  <a:cubicBezTo>
                    <a:pt x="791" y="652"/>
                    <a:pt x="815" y="621"/>
                    <a:pt x="822" y="639"/>
                  </a:cubicBezTo>
                  <a:cubicBezTo>
                    <a:pt x="823" y="641"/>
                    <a:pt x="818" y="640"/>
                    <a:pt x="818" y="640"/>
                  </a:cubicBezTo>
                  <a:cubicBezTo>
                    <a:pt x="801" y="638"/>
                    <a:pt x="820" y="644"/>
                    <a:pt x="814" y="643"/>
                  </a:cubicBezTo>
                  <a:cubicBezTo>
                    <a:pt x="812" y="643"/>
                    <a:pt x="804" y="642"/>
                    <a:pt x="805" y="642"/>
                  </a:cubicBezTo>
                  <a:cubicBezTo>
                    <a:pt x="807" y="644"/>
                    <a:pt x="812" y="645"/>
                    <a:pt x="814" y="646"/>
                  </a:cubicBezTo>
                  <a:cubicBezTo>
                    <a:pt x="820" y="648"/>
                    <a:pt x="832" y="652"/>
                    <a:pt x="838" y="656"/>
                  </a:cubicBezTo>
                  <a:cubicBezTo>
                    <a:pt x="842" y="658"/>
                    <a:pt x="829" y="655"/>
                    <a:pt x="825" y="653"/>
                  </a:cubicBezTo>
                  <a:cubicBezTo>
                    <a:pt x="820" y="649"/>
                    <a:pt x="806" y="651"/>
                    <a:pt x="799" y="650"/>
                  </a:cubicBezTo>
                  <a:cubicBezTo>
                    <a:pt x="789" y="649"/>
                    <a:pt x="810" y="653"/>
                    <a:pt x="805" y="655"/>
                  </a:cubicBezTo>
                  <a:cubicBezTo>
                    <a:pt x="795" y="660"/>
                    <a:pt x="756" y="651"/>
                    <a:pt x="769" y="647"/>
                  </a:cubicBezTo>
                  <a:cubicBezTo>
                    <a:pt x="771" y="646"/>
                    <a:pt x="761" y="641"/>
                    <a:pt x="766" y="641"/>
                  </a:cubicBezTo>
                  <a:cubicBezTo>
                    <a:pt x="768" y="642"/>
                    <a:pt x="768" y="642"/>
                    <a:pt x="768" y="642"/>
                  </a:cubicBezTo>
                  <a:cubicBezTo>
                    <a:pt x="777" y="645"/>
                    <a:pt x="784" y="654"/>
                    <a:pt x="790" y="653"/>
                  </a:cubicBezTo>
                  <a:close/>
                  <a:moveTo>
                    <a:pt x="716" y="616"/>
                  </a:moveTo>
                  <a:cubicBezTo>
                    <a:pt x="717" y="613"/>
                    <a:pt x="712" y="612"/>
                    <a:pt x="710" y="612"/>
                  </a:cubicBezTo>
                  <a:cubicBezTo>
                    <a:pt x="705" y="610"/>
                    <a:pt x="720" y="605"/>
                    <a:pt x="725" y="606"/>
                  </a:cubicBezTo>
                  <a:cubicBezTo>
                    <a:pt x="729" y="607"/>
                    <a:pt x="737" y="605"/>
                    <a:pt x="736" y="601"/>
                  </a:cubicBezTo>
                  <a:cubicBezTo>
                    <a:pt x="735" y="596"/>
                    <a:pt x="736" y="596"/>
                    <a:pt x="730" y="592"/>
                  </a:cubicBezTo>
                  <a:cubicBezTo>
                    <a:pt x="728" y="591"/>
                    <a:pt x="723" y="588"/>
                    <a:pt x="725" y="587"/>
                  </a:cubicBezTo>
                  <a:cubicBezTo>
                    <a:pt x="727" y="585"/>
                    <a:pt x="730" y="587"/>
                    <a:pt x="731" y="586"/>
                  </a:cubicBezTo>
                  <a:cubicBezTo>
                    <a:pt x="736" y="583"/>
                    <a:pt x="741" y="594"/>
                    <a:pt x="745" y="595"/>
                  </a:cubicBezTo>
                  <a:cubicBezTo>
                    <a:pt x="752" y="596"/>
                    <a:pt x="743" y="589"/>
                    <a:pt x="745" y="589"/>
                  </a:cubicBezTo>
                  <a:cubicBezTo>
                    <a:pt x="747" y="588"/>
                    <a:pt x="764" y="591"/>
                    <a:pt x="766" y="592"/>
                  </a:cubicBezTo>
                  <a:cubicBezTo>
                    <a:pt x="768" y="594"/>
                    <a:pt x="761" y="594"/>
                    <a:pt x="758" y="593"/>
                  </a:cubicBezTo>
                  <a:cubicBezTo>
                    <a:pt x="758" y="593"/>
                    <a:pt x="750" y="594"/>
                    <a:pt x="748" y="595"/>
                  </a:cubicBezTo>
                  <a:cubicBezTo>
                    <a:pt x="743" y="599"/>
                    <a:pt x="760" y="600"/>
                    <a:pt x="758" y="601"/>
                  </a:cubicBezTo>
                  <a:cubicBezTo>
                    <a:pt x="755" y="605"/>
                    <a:pt x="748" y="599"/>
                    <a:pt x="745" y="602"/>
                  </a:cubicBezTo>
                  <a:cubicBezTo>
                    <a:pt x="742" y="603"/>
                    <a:pt x="728" y="617"/>
                    <a:pt x="724" y="621"/>
                  </a:cubicBezTo>
                  <a:cubicBezTo>
                    <a:pt x="720" y="625"/>
                    <a:pt x="709" y="620"/>
                    <a:pt x="700" y="627"/>
                  </a:cubicBezTo>
                  <a:cubicBezTo>
                    <a:pt x="697" y="630"/>
                    <a:pt x="722" y="622"/>
                    <a:pt x="724" y="624"/>
                  </a:cubicBezTo>
                  <a:cubicBezTo>
                    <a:pt x="725" y="624"/>
                    <a:pt x="720" y="629"/>
                    <a:pt x="719" y="629"/>
                  </a:cubicBezTo>
                  <a:cubicBezTo>
                    <a:pt x="705" y="633"/>
                    <a:pt x="690" y="634"/>
                    <a:pt x="673" y="634"/>
                  </a:cubicBezTo>
                  <a:cubicBezTo>
                    <a:pt x="658" y="634"/>
                    <a:pt x="671" y="622"/>
                    <a:pt x="655" y="616"/>
                  </a:cubicBezTo>
                  <a:cubicBezTo>
                    <a:pt x="654" y="616"/>
                    <a:pt x="654" y="616"/>
                    <a:pt x="654" y="616"/>
                  </a:cubicBezTo>
                  <a:cubicBezTo>
                    <a:pt x="645" y="611"/>
                    <a:pt x="651" y="608"/>
                    <a:pt x="655" y="611"/>
                  </a:cubicBezTo>
                  <a:cubicBezTo>
                    <a:pt x="660" y="615"/>
                    <a:pt x="667" y="612"/>
                    <a:pt x="671" y="616"/>
                  </a:cubicBezTo>
                  <a:cubicBezTo>
                    <a:pt x="675" y="620"/>
                    <a:pt x="668" y="627"/>
                    <a:pt x="674" y="629"/>
                  </a:cubicBezTo>
                  <a:cubicBezTo>
                    <a:pt x="675" y="629"/>
                    <a:pt x="675" y="629"/>
                    <a:pt x="676" y="629"/>
                  </a:cubicBezTo>
                  <a:cubicBezTo>
                    <a:pt x="679" y="629"/>
                    <a:pt x="716" y="616"/>
                    <a:pt x="716" y="616"/>
                  </a:cubicBezTo>
                  <a:close/>
                  <a:moveTo>
                    <a:pt x="577" y="185"/>
                  </a:moveTo>
                  <a:cubicBezTo>
                    <a:pt x="578" y="185"/>
                    <a:pt x="578" y="185"/>
                    <a:pt x="578" y="185"/>
                  </a:cubicBezTo>
                  <a:cubicBezTo>
                    <a:pt x="615" y="181"/>
                    <a:pt x="620" y="158"/>
                    <a:pt x="649" y="143"/>
                  </a:cubicBezTo>
                  <a:cubicBezTo>
                    <a:pt x="651" y="142"/>
                    <a:pt x="654" y="141"/>
                    <a:pt x="657" y="142"/>
                  </a:cubicBezTo>
                  <a:cubicBezTo>
                    <a:pt x="672" y="147"/>
                    <a:pt x="685" y="147"/>
                    <a:pt x="687" y="139"/>
                  </a:cubicBezTo>
                  <a:cubicBezTo>
                    <a:pt x="687" y="136"/>
                    <a:pt x="680" y="135"/>
                    <a:pt x="677" y="138"/>
                  </a:cubicBezTo>
                  <a:cubicBezTo>
                    <a:pt x="667" y="148"/>
                    <a:pt x="658" y="135"/>
                    <a:pt x="659" y="128"/>
                  </a:cubicBezTo>
                  <a:cubicBezTo>
                    <a:pt x="660" y="126"/>
                    <a:pt x="663" y="126"/>
                    <a:pt x="665" y="125"/>
                  </a:cubicBezTo>
                  <a:cubicBezTo>
                    <a:pt x="670" y="124"/>
                    <a:pt x="678" y="117"/>
                    <a:pt x="671" y="125"/>
                  </a:cubicBezTo>
                  <a:cubicBezTo>
                    <a:pt x="670" y="127"/>
                    <a:pt x="671" y="127"/>
                    <a:pt x="672" y="128"/>
                  </a:cubicBezTo>
                  <a:cubicBezTo>
                    <a:pt x="672" y="130"/>
                    <a:pt x="667" y="135"/>
                    <a:pt x="669" y="137"/>
                  </a:cubicBezTo>
                  <a:cubicBezTo>
                    <a:pt x="673" y="140"/>
                    <a:pt x="674" y="132"/>
                    <a:pt x="676" y="134"/>
                  </a:cubicBezTo>
                  <a:cubicBezTo>
                    <a:pt x="680" y="138"/>
                    <a:pt x="692" y="126"/>
                    <a:pt x="691" y="122"/>
                  </a:cubicBezTo>
                  <a:cubicBezTo>
                    <a:pt x="690" y="121"/>
                    <a:pt x="688" y="121"/>
                    <a:pt x="687" y="122"/>
                  </a:cubicBezTo>
                  <a:cubicBezTo>
                    <a:pt x="678" y="130"/>
                    <a:pt x="687" y="117"/>
                    <a:pt x="680" y="124"/>
                  </a:cubicBezTo>
                  <a:cubicBezTo>
                    <a:pt x="679" y="124"/>
                    <a:pt x="674" y="131"/>
                    <a:pt x="675" y="130"/>
                  </a:cubicBezTo>
                  <a:cubicBezTo>
                    <a:pt x="677" y="110"/>
                    <a:pt x="683" y="123"/>
                    <a:pt x="699" y="117"/>
                  </a:cubicBezTo>
                  <a:cubicBezTo>
                    <a:pt x="703" y="116"/>
                    <a:pt x="710" y="109"/>
                    <a:pt x="714" y="112"/>
                  </a:cubicBezTo>
                  <a:cubicBezTo>
                    <a:pt x="721" y="117"/>
                    <a:pt x="684" y="131"/>
                    <a:pt x="693" y="129"/>
                  </a:cubicBezTo>
                  <a:cubicBezTo>
                    <a:pt x="718" y="124"/>
                    <a:pt x="727" y="89"/>
                    <a:pt x="735" y="102"/>
                  </a:cubicBezTo>
                  <a:cubicBezTo>
                    <a:pt x="737" y="103"/>
                    <a:pt x="733" y="103"/>
                    <a:pt x="733" y="104"/>
                  </a:cubicBezTo>
                  <a:cubicBezTo>
                    <a:pt x="731" y="105"/>
                    <a:pt x="696" y="137"/>
                    <a:pt x="697" y="134"/>
                  </a:cubicBezTo>
                  <a:cubicBezTo>
                    <a:pt x="696" y="139"/>
                    <a:pt x="716" y="133"/>
                    <a:pt x="719" y="133"/>
                  </a:cubicBezTo>
                  <a:cubicBezTo>
                    <a:pt x="722" y="133"/>
                    <a:pt x="715" y="137"/>
                    <a:pt x="713" y="140"/>
                  </a:cubicBezTo>
                  <a:cubicBezTo>
                    <a:pt x="709" y="143"/>
                    <a:pt x="690" y="146"/>
                    <a:pt x="696" y="155"/>
                  </a:cubicBezTo>
                  <a:cubicBezTo>
                    <a:pt x="698" y="158"/>
                    <a:pt x="702" y="152"/>
                    <a:pt x="704" y="152"/>
                  </a:cubicBezTo>
                  <a:cubicBezTo>
                    <a:pt x="708" y="150"/>
                    <a:pt x="706" y="162"/>
                    <a:pt x="703" y="164"/>
                  </a:cubicBezTo>
                  <a:cubicBezTo>
                    <a:pt x="700" y="166"/>
                    <a:pt x="689" y="155"/>
                    <a:pt x="685" y="155"/>
                  </a:cubicBezTo>
                  <a:cubicBezTo>
                    <a:pt x="682" y="155"/>
                    <a:pt x="684" y="166"/>
                    <a:pt x="683" y="166"/>
                  </a:cubicBezTo>
                  <a:cubicBezTo>
                    <a:pt x="674" y="168"/>
                    <a:pt x="671" y="159"/>
                    <a:pt x="668" y="173"/>
                  </a:cubicBezTo>
                  <a:cubicBezTo>
                    <a:pt x="667" y="177"/>
                    <a:pt x="683" y="181"/>
                    <a:pt x="687" y="181"/>
                  </a:cubicBezTo>
                  <a:cubicBezTo>
                    <a:pt x="691" y="181"/>
                    <a:pt x="692" y="184"/>
                    <a:pt x="689" y="186"/>
                  </a:cubicBezTo>
                  <a:cubicBezTo>
                    <a:pt x="678" y="195"/>
                    <a:pt x="700" y="187"/>
                    <a:pt x="697" y="189"/>
                  </a:cubicBezTo>
                  <a:cubicBezTo>
                    <a:pt x="696" y="190"/>
                    <a:pt x="685" y="192"/>
                    <a:pt x="692" y="192"/>
                  </a:cubicBezTo>
                  <a:cubicBezTo>
                    <a:pt x="692" y="192"/>
                    <a:pt x="697" y="192"/>
                    <a:pt x="696" y="193"/>
                  </a:cubicBezTo>
                  <a:cubicBezTo>
                    <a:pt x="688" y="205"/>
                    <a:pt x="659" y="182"/>
                    <a:pt x="650" y="189"/>
                  </a:cubicBezTo>
                  <a:cubicBezTo>
                    <a:pt x="648" y="190"/>
                    <a:pt x="653" y="198"/>
                    <a:pt x="658" y="201"/>
                  </a:cubicBezTo>
                  <a:cubicBezTo>
                    <a:pt x="662" y="204"/>
                    <a:pt x="669" y="201"/>
                    <a:pt x="664" y="197"/>
                  </a:cubicBezTo>
                  <a:cubicBezTo>
                    <a:pt x="663" y="197"/>
                    <a:pt x="661" y="196"/>
                    <a:pt x="662" y="195"/>
                  </a:cubicBezTo>
                  <a:cubicBezTo>
                    <a:pt x="664" y="194"/>
                    <a:pt x="672" y="198"/>
                    <a:pt x="671" y="200"/>
                  </a:cubicBezTo>
                  <a:cubicBezTo>
                    <a:pt x="670" y="204"/>
                    <a:pt x="639" y="216"/>
                    <a:pt x="639" y="215"/>
                  </a:cubicBezTo>
                  <a:cubicBezTo>
                    <a:pt x="638" y="213"/>
                    <a:pt x="655" y="207"/>
                    <a:pt x="653" y="204"/>
                  </a:cubicBezTo>
                  <a:cubicBezTo>
                    <a:pt x="646" y="193"/>
                    <a:pt x="631" y="202"/>
                    <a:pt x="635" y="212"/>
                  </a:cubicBezTo>
                  <a:cubicBezTo>
                    <a:pt x="635" y="215"/>
                    <a:pt x="630" y="221"/>
                    <a:pt x="628" y="219"/>
                  </a:cubicBezTo>
                  <a:cubicBezTo>
                    <a:pt x="628" y="217"/>
                    <a:pt x="633" y="214"/>
                    <a:pt x="632" y="212"/>
                  </a:cubicBezTo>
                  <a:cubicBezTo>
                    <a:pt x="631" y="210"/>
                    <a:pt x="612" y="209"/>
                    <a:pt x="611" y="211"/>
                  </a:cubicBezTo>
                  <a:cubicBezTo>
                    <a:pt x="610" y="212"/>
                    <a:pt x="603" y="210"/>
                    <a:pt x="601" y="211"/>
                  </a:cubicBezTo>
                  <a:cubicBezTo>
                    <a:pt x="595" y="212"/>
                    <a:pt x="608" y="220"/>
                    <a:pt x="596" y="216"/>
                  </a:cubicBezTo>
                  <a:cubicBezTo>
                    <a:pt x="596" y="216"/>
                    <a:pt x="590" y="216"/>
                    <a:pt x="591" y="214"/>
                  </a:cubicBezTo>
                  <a:cubicBezTo>
                    <a:pt x="595" y="205"/>
                    <a:pt x="622" y="206"/>
                    <a:pt x="622" y="204"/>
                  </a:cubicBezTo>
                  <a:cubicBezTo>
                    <a:pt x="623" y="200"/>
                    <a:pt x="618" y="196"/>
                    <a:pt x="615" y="193"/>
                  </a:cubicBezTo>
                  <a:cubicBezTo>
                    <a:pt x="614" y="192"/>
                    <a:pt x="611" y="194"/>
                    <a:pt x="610" y="195"/>
                  </a:cubicBezTo>
                  <a:cubicBezTo>
                    <a:pt x="610" y="195"/>
                    <a:pt x="610" y="195"/>
                    <a:pt x="610" y="195"/>
                  </a:cubicBezTo>
                  <a:cubicBezTo>
                    <a:pt x="613" y="198"/>
                    <a:pt x="617" y="202"/>
                    <a:pt x="614" y="201"/>
                  </a:cubicBezTo>
                  <a:cubicBezTo>
                    <a:pt x="612" y="200"/>
                    <a:pt x="609" y="197"/>
                    <a:pt x="610" y="195"/>
                  </a:cubicBezTo>
                  <a:cubicBezTo>
                    <a:pt x="608" y="194"/>
                    <a:pt x="606" y="192"/>
                    <a:pt x="605" y="192"/>
                  </a:cubicBezTo>
                  <a:cubicBezTo>
                    <a:pt x="589" y="179"/>
                    <a:pt x="598" y="187"/>
                    <a:pt x="597" y="192"/>
                  </a:cubicBezTo>
                  <a:cubicBezTo>
                    <a:pt x="596" y="199"/>
                    <a:pt x="571" y="187"/>
                    <a:pt x="577" y="185"/>
                  </a:cubicBezTo>
                  <a:close/>
                  <a:moveTo>
                    <a:pt x="509" y="309"/>
                  </a:moveTo>
                  <a:cubicBezTo>
                    <a:pt x="510" y="309"/>
                    <a:pt x="499" y="309"/>
                    <a:pt x="500" y="304"/>
                  </a:cubicBezTo>
                  <a:cubicBezTo>
                    <a:pt x="501" y="299"/>
                    <a:pt x="510" y="308"/>
                    <a:pt x="514" y="306"/>
                  </a:cubicBezTo>
                  <a:cubicBezTo>
                    <a:pt x="518" y="305"/>
                    <a:pt x="505" y="304"/>
                    <a:pt x="510" y="302"/>
                  </a:cubicBezTo>
                  <a:cubicBezTo>
                    <a:pt x="525" y="297"/>
                    <a:pt x="533" y="308"/>
                    <a:pt x="542" y="310"/>
                  </a:cubicBezTo>
                  <a:cubicBezTo>
                    <a:pt x="543" y="310"/>
                    <a:pt x="549" y="306"/>
                    <a:pt x="550" y="307"/>
                  </a:cubicBezTo>
                  <a:cubicBezTo>
                    <a:pt x="552" y="309"/>
                    <a:pt x="553" y="316"/>
                    <a:pt x="557" y="316"/>
                  </a:cubicBezTo>
                  <a:cubicBezTo>
                    <a:pt x="560" y="317"/>
                    <a:pt x="578" y="311"/>
                    <a:pt x="573" y="307"/>
                  </a:cubicBezTo>
                  <a:cubicBezTo>
                    <a:pt x="572" y="306"/>
                    <a:pt x="570" y="302"/>
                    <a:pt x="573" y="303"/>
                  </a:cubicBezTo>
                  <a:cubicBezTo>
                    <a:pt x="579" y="304"/>
                    <a:pt x="591" y="321"/>
                    <a:pt x="599" y="317"/>
                  </a:cubicBezTo>
                  <a:cubicBezTo>
                    <a:pt x="603" y="315"/>
                    <a:pt x="605" y="316"/>
                    <a:pt x="609" y="311"/>
                  </a:cubicBezTo>
                  <a:cubicBezTo>
                    <a:pt x="622" y="290"/>
                    <a:pt x="604" y="333"/>
                    <a:pt x="617" y="329"/>
                  </a:cubicBezTo>
                  <a:cubicBezTo>
                    <a:pt x="624" y="327"/>
                    <a:pt x="638" y="334"/>
                    <a:pt x="638" y="327"/>
                  </a:cubicBezTo>
                  <a:cubicBezTo>
                    <a:pt x="638" y="326"/>
                    <a:pt x="621" y="319"/>
                    <a:pt x="626" y="317"/>
                  </a:cubicBezTo>
                  <a:cubicBezTo>
                    <a:pt x="634" y="314"/>
                    <a:pt x="634" y="320"/>
                    <a:pt x="640" y="319"/>
                  </a:cubicBezTo>
                  <a:cubicBezTo>
                    <a:pt x="641" y="319"/>
                    <a:pt x="646" y="307"/>
                    <a:pt x="648" y="315"/>
                  </a:cubicBezTo>
                  <a:cubicBezTo>
                    <a:pt x="648" y="319"/>
                    <a:pt x="641" y="321"/>
                    <a:pt x="641" y="327"/>
                  </a:cubicBezTo>
                  <a:cubicBezTo>
                    <a:pt x="642" y="331"/>
                    <a:pt x="666" y="327"/>
                    <a:pt x="668" y="323"/>
                  </a:cubicBezTo>
                  <a:cubicBezTo>
                    <a:pt x="670" y="320"/>
                    <a:pt x="658" y="317"/>
                    <a:pt x="660" y="316"/>
                  </a:cubicBezTo>
                  <a:cubicBezTo>
                    <a:pt x="664" y="313"/>
                    <a:pt x="677" y="321"/>
                    <a:pt x="666" y="328"/>
                  </a:cubicBezTo>
                  <a:cubicBezTo>
                    <a:pt x="667" y="329"/>
                    <a:pt x="667" y="329"/>
                    <a:pt x="667" y="329"/>
                  </a:cubicBezTo>
                  <a:cubicBezTo>
                    <a:pt x="689" y="335"/>
                    <a:pt x="653" y="329"/>
                    <a:pt x="652" y="331"/>
                  </a:cubicBezTo>
                  <a:cubicBezTo>
                    <a:pt x="649" y="334"/>
                    <a:pt x="639" y="344"/>
                    <a:pt x="638" y="349"/>
                  </a:cubicBezTo>
                  <a:cubicBezTo>
                    <a:pt x="637" y="352"/>
                    <a:pt x="644" y="354"/>
                    <a:pt x="643" y="354"/>
                  </a:cubicBezTo>
                  <a:cubicBezTo>
                    <a:pt x="634" y="363"/>
                    <a:pt x="601" y="349"/>
                    <a:pt x="591" y="345"/>
                  </a:cubicBezTo>
                  <a:cubicBezTo>
                    <a:pt x="590" y="344"/>
                    <a:pt x="605" y="341"/>
                    <a:pt x="603" y="338"/>
                  </a:cubicBezTo>
                  <a:cubicBezTo>
                    <a:pt x="600" y="334"/>
                    <a:pt x="604" y="331"/>
                    <a:pt x="603" y="327"/>
                  </a:cubicBezTo>
                  <a:cubicBezTo>
                    <a:pt x="600" y="317"/>
                    <a:pt x="568" y="311"/>
                    <a:pt x="558" y="319"/>
                  </a:cubicBezTo>
                  <a:cubicBezTo>
                    <a:pt x="553" y="323"/>
                    <a:pt x="575" y="330"/>
                    <a:pt x="569" y="333"/>
                  </a:cubicBezTo>
                  <a:cubicBezTo>
                    <a:pt x="550" y="343"/>
                    <a:pt x="540" y="314"/>
                    <a:pt x="521" y="311"/>
                  </a:cubicBezTo>
                  <a:cubicBezTo>
                    <a:pt x="516" y="311"/>
                    <a:pt x="512" y="314"/>
                    <a:pt x="503" y="316"/>
                  </a:cubicBezTo>
                  <a:cubicBezTo>
                    <a:pt x="502" y="316"/>
                    <a:pt x="494" y="321"/>
                    <a:pt x="494" y="317"/>
                  </a:cubicBezTo>
                  <a:cubicBezTo>
                    <a:pt x="493" y="304"/>
                    <a:pt x="507" y="317"/>
                    <a:pt x="509" y="309"/>
                  </a:cubicBezTo>
                  <a:close/>
                  <a:moveTo>
                    <a:pt x="468" y="1008"/>
                  </a:moveTo>
                  <a:cubicBezTo>
                    <a:pt x="470" y="1011"/>
                    <a:pt x="461" y="1000"/>
                    <a:pt x="463" y="997"/>
                  </a:cubicBezTo>
                  <a:cubicBezTo>
                    <a:pt x="470" y="986"/>
                    <a:pt x="474" y="1008"/>
                    <a:pt x="478" y="990"/>
                  </a:cubicBezTo>
                  <a:cubicBezTo>
                    <a:pt x="478" y="988"/>
                    <a:pt x="477" y="987"/>
                    <a:pt x="477" y="985"/>
                  </a:cubicBezTo>
                  <a:cubicBezTo>
                    <a:pt x="477" y="983"/>
                    <a:pt x="481" y="989"/>
                    <a:pt x="483" y="991"/>
                  </a:cubicBezTo>
                  <a:cubicBezTo>
                    <a:pt x="483" y="992"/>
                    <a:pt x="483" y="992"/>
                    <a:pt x="483" y="992"/>
                  </a:cubicBezTo>
                  <a:cubicBezTo>
                    <a:pt x="484" y="1008"/>
                    <a:pt x="480" y="996"/>
                    <a:pt x="483" y="1010"/>
                  </a:cubicBezTo>
                  <a:cubicBezTo>
                    <a:pt x="484" y="1016"/>
                    <a:pt x="464" y="1015"/>
                    <a:pt x="462" y="1010"/>
                  </a:cubicBezTo>
                  <a:cubicBezTo>
                    <a:pt x="460" y="1006"/>
                    <a:pt x="465" y="1006"/>
                    <a:pt x="468" y="1008"/>
                  </a:cubicBezTo>
                  <a:close/>
                  <a:moveTo>
                    <a:pt x="452" y="1038"/>
                  </a:moveTo>
                  <a:cubicBezTo>
                    <a:pt x="453" y="1038"/>
                    <a:pt x="457" y="1034"/>
                    <a:pt x="458" y="1036"/>
                  </a:cubicBezTo>
                  <a:cubicBezTo>
                    <a:pt x="463" y="1043"/>
                    <a:pt x="473" y="1051"/>
                    <a:pt x="482" y="1058"/>
                  </a:cubicBezTo>
                  <a:cubicBezTo>
                    <a:pt x="483" y="1058"/>
                    <a:pt x="483" y="1058"/>
                    <a:pt x="483" y="1058"/>
                  </a:cubicBezTo>
                  <a:cubicBezTo>
                    <a:pt x="488" y="1073"/>
                    <a:pt x="466" y="1046"/>
                    <a:pt x="463" y="1049"/>
                  </a:cubicBezTo>
                  <a:cubicBezTo>
                    <a:pt x="459" y="1051"/>
                    <a:pt x="475" y="1056"/>
                    <a:pt x="471" y="1059"/>
                  </a:cubicBezTo>
                  <a:cubicBezTo>
                    <a:pt x="470" y="1060"/>
                    <a:pt x="461" y="1051"/>
                    <a:pt x="458" y="1051"/>
                  </a:cubicBezTo>
                  <a:cubicBezTo>
                    <a:pt x="448" y="1050"/>
                    <a:pt x="440" y="1040"/>
                    <a:pt x="452" y="1038"/>
                  </a:cubicBezTo>
                  <a:close/>
                  <a:moveTo>
                    <a:pt x="424" y="1019"/>
                  </a:moveTo>
                  <a:cubicBezTo>
                    <a:pt x="423" y="1022"/>
                    <a:pt x="454" y="1049"/>
                    <a:pt x="436" y="1042"/>
                  </a:cubicBezTo>
                  <a:cubicBezTo>
                    <a:pt x="435" y="1041"/>
                    <a:pt x="435" y="1041"/>
                    <a:pt x="435" y="1041"/>
                  </a:cubicBezTo>
                  <a:cubicBezTo>
                    <a:pt x="431" y="1035"/>
                    <a:pt x="422" y="1030"/>
                    <a:pt x="422" y="1023"/>
                  </a:cubicBezTo>
                  <a:cubicBezTo>
                    <a:pt x="422" y="1021"/>
                    <a:pt x="421" y="1020"/>
                    <a:pt x="420" y="1019"/>
                  </a:cubicBezTo>
                  <a:cubicBezTo>
                    <a:pt x="419" y="1015"/>
                    <a:pt x="420" y="1014"/>
                    <a:pt x="416" y="1011"/>
                  </a:cubicBezTo>
                  <a:cubicBezTo>
                    <a:pt x="412" y="1008"/>
                    <a:pt x="426" y="1010"/>
                    <a:pt x="424" y="1019"/>
                  </a:cubicBezTo>
                  <a:close/>
                  <a:moveTo>
                    <a:pt x="396" y="1035"/>
                  </a:moveTo>
                  <a:cubicBezTo>
                    <a:pt x="408" y="1035"/>
                    <a:pt x="413" y="1068"/>
                    <a:pt x="413" y="1069"/>
                  </a:cubicBezTo>
                  <a:cubicBezTo>
                    <a:pt x="414" y="1071"/>
                    <a:pt x="415" y="1072"/>
                    <a:pt x="416" y="1073"/>
                  </a:cubicBezTo>
                  <a:cubicBezTo>
                    <a:pt x="416" y="1074"/>
                    <a:pt x="412" y="1073"/>
                    <a:pt x="412" y="1073"/>
                  </a:cubicBezTo>
                  <a:cubicBezTo>
                    <a:pt x="406" y="1077"/>
                    <a:pt x="433" y="1079"/>
                    <a:pt x="411" y="1081"/>
                  </a:cubicBezTo>
                  <a:cubicBezTo>
                    <a:pt x="408" y="1081"/>
                    <a:pt x="415" y="1086"/>
                    <a:pt x="412" y="1087"/>
                  </a:cubicBezTo>
                  <a:cubicBezTo>
                    <a:pt x="408" y="1089"/>
                    <a:pt x="411" y="1089"/>
                    <a:pt x="413" y="1090"/>
                  </a:cubicBezTo>
                  <a:cubicBezTo>
                    <a:pt x="419" y="1095"/>
                    <a:pt x="420" y="1091"/>
                    <a:pt x="425" y="1095"/>
                  </a:cubicBezTo>
                  <a:cubicBezTo>
                    <a:pt x="426" y="1095"/>
                    <a:pt x="414" y="1100"/>
                    <a:pt x="414" y="1103"/>
                  </a:cubicBezTo>
                  <a:cubicBezTo>
                    <a:pt x="416" y="1111"/>
                    <a:pt x="408" y="1108"/>
                    <a:pt x="407" y="1108"/>
                  </a:cubicBezTo>
                  <a:cubicBezTo>
                    <a:pt x="407" y="1107"/>
                    <a:pt x="407" y="1107"/>
                    <a:pt x="407" y="1107"/>
                  </a:cubicBezTo>
                  <a:cubicBezTo>
                    <a:pt x="394" y="1093"/>
                    <a:pt x="415" y="1106"/>
                    <a:pt x="413" y="1098"/>
                  </a:cubicBezTo>
                  <a:cubicBezTo>
                    <a:pt x="411" y="1090"/>
                    <a:pt x="393" y="1071"/>
                    <a:pt x="395" y="1067"/>
                  </a:cubicBezTo>
                  <a:cubicBezTo>
                    <a:pt x="396" y="1065"/>
                    <a:pt x="402" y="1078"/>
                    <a:pt x="405" y="1073"/>
                  </a:cubicBezTo>
                  <a:cubicBezTo>
                    <a:pt x="406" y="1070"/>
                    <a:pt x="402" y="1047"/>
                    <a:pt x="401" y="1044"/>
                  </a:cubicBezTo>
                  <a:cubicBezTo>
                    <a:pt x="400" y="1044"/>
                    <a:pt x="392" y="1035"/>
                    <a:pt x="396" y="1035"/>
                  </a:cubicBezTo>
                  <a:close/>
                  <a:moveTo>
                    <a:pt x="442" y="1149"/>
                  </a:moveTo>
                  <a:cubicBezTo>
                    <a:pt x="441" y="1149"/>
                    <a:pt x="414" y="1145"/>
                    <a:pt x="418" y="1138"/>
                  </a:cubicBezTo>
                  <a:cubicBezTo>
                    <a:pt x="421" y="1134"/>
                    <a:pt x="444" y="1153"/>
                    <a:pt x="437" y="1138"/>
                  </a:cubicBezTo>
                  <a:cubicBezTo>
                    <a:pt x="430" y="1122"/>
                    <a:pt x="398" y="1149"/>
                    <a:pt x="396" y="1136"/>
                  </a:cubicBezTo>
                  <a:cubicBezTo>
                    <a:pt x="394" y="1130"/>
                    <a:pt x="399" y="1138"/>
                    <a:pt x="401" y="1136"/>
                  </a:cubicBezTo>
                  <a:cubicBezTo>
                    <a:pt x="413" y="1125"/>
                    <a:pt x="427" y="1140"/>
                    <a:pt x="428" y="1121"/>
                  </a:cubicBezTo>
                  <a:cubicBezTo>
                    <a:pt x="428" y="1121"/>
                    <a:pt x="428" y="1120"/>
                    <a:pt x="429" y="1120"/>
                  </a:cubicBezTo>
                  <a:cubicBezTo>
                    <a:pt x="430" y="1119"/>
                    <a:pt x="441" y="1126"/>
                    <a:pt x="439" y="1127"/>
                  </a:cubicBezTo>
                  <a:cubicBezTo>
                    <a:pt x="439" y="1127"/>
                    <a:pt x="439" y="1127"/>
                    <a:pt x="439" y="1127"/>
                  </a:cubicBezTo>
                  <a:cubicBezTo>
                    <a:pt x="439" y="1128"/>
                    <a:pt x="444" y="1149"/>
                    <a:pt x="442" y="1149"/>
                  </a:cubicBezTo>
                  <a:close/>
                  <a:moveTo>
                    <a:pt x="392" y="1230"/>
                  </a:moveTo>
                  <a:cubicBezTo>
                    <a:pt x="392" y="1223"/>
                    <a:pt x="405" y="1225"/>
                    <a:pt x="407" y="1220"/>
                  </a:cubicBezTo>
                  <a:cubicBezTo>
                    <a:pt x="408" y="1214"/>
                    <a:pt x="408" y="1207"/>
                    <a:pt x="407" y="1205"/>
                  </a:cubicBezTo>
                  <a:cubicBezTo>
                    <a:pt x="406" y="1205"/>
                    <a:pt x="403" y="1198"/>
                    <a:pt x="404" y="1197"/>
                  </a:cubicBezTo>
                  <a:cubicBezTo>
                    <a:pt x="408" y="1196"/>
                    <a:pt x="408" y="1203"/>
                    <a:pt x="411" y="1204"/>
                  </a:cubicBezTo>
                  <a:cubicBezTo>
                    <a:pt x="411" y="1204"/>
                    <a:pt x="413" y="1203"/>
                    <a:pt x="413" y="1204"/>
                  </a:cubicBezTo>
                  <a:cubicBezTo>
                    <a:pt x="414" y="1204"/>
                    <a:pt x="414" y="1205"/>
                    <a:pt x="414" y="1206"/>
                  </a:cubicBezTo>
                  <a:cubicBezTo>
                    <a:pt x="416" y="1207"/>
                    <a:pt x="411" y="1210"/>
                    <a:pt x="411" y="1211"/>
                  </a:cubicBezTo>
                  <a:cubicBezTo>
                    <a:pt x="409" y="1216"/>
                    <a:pt x="411" y="1227"/>
                    <a:pt x="407" y="1229"/>
                  </a:cubicBezTo>
                  <a:cubicBezTo>
                    <a:pt x="404" y="1231"/>
                    <a:pt x="406" y="1227"/>
                    <a:pt x="406" y="1227"/>
                  </a:cubicBezTo>
                  <a:cubicBezTo>
                    <a:pt x="404" y="1224"/>
                    <a:pt x="388" y="1231"/>
                    <a:pt x="400" y="1236"/>
                  </a:cubicBezTo>
                  <a:cubicBezTo>
                    <a:pt x="402" y="1237"/>
                    <a:pt x="402" y="1237"/>
                    <a:pt x="402" y="1237"/>
                  </a:cubicBezTo>
                  <a:cubicBezTo>
                    <a:pt x="404" y="1238"/>
                    <a:pt x="411" y="1240"/>
                    <a:pt x="407" y="1244"/>
                  </a:cubicBezTo>
                  <a:cubicBezTo>
                    <a:pt x="406" y="1244"/>
                    <a:pt x="406" y="1250"/>
                    <a:pt x="406" y="1250"/>
                  </a:cubicBezTo>
                  <a:cubicBezTo>
                    <a:pt x="402" y="1251"/>
                    <a:pt x="403" y="1241"/>
                    <a:pt x="402" y="1240"/>
                  </a:cubicBezTo>
                  <a:cubicBezTo>
                    <a:pt x="396" y="1233"/>
                    <a:pt x="390" y="1240"/>
                    <a:pt x="386" y="1236"/>
                  </a:cubicBezTo>
                  <a:cubicBezTo>
                    <a:pt x="386" y="1236"/>
                    <a:pt x="392" y="1231"/>
                    <a:pt x="392" y="1230"/>
                  </a:cubicBezTo>
                  <a:close/>
                  <a:moveTo>
                    <a:pt x="360" y="1107"/>
                  </a:moveTo>
                  <a:cubicBezTo>
                    <a:pt x="364" y="1103"/>
                    <a:pt x="368" y="1106"/>
                    <a:pt x="372" y="1109"/>
                  </a:cubicBezTo>
                  <a:cubicBezTo>
                    <a:pt x="372" y="1109"/>
                    <a:pt x="372" y="1109"/>
                    <a:pt x="372" y="1109"/>
                  </a:cubicBezTo>
                  <a:cubicBezTo>
                    <a:pt x="373" y="1114"/>
                    <a:pt x="386" y="1134"/>
                    <a:pt x="376" y="1138"/>
                  </a:cubicBezTo>
                  <a:cubicBezTo>
                    <a:pt x="367" y="1141"/>
                    <a:pt x="378" y="1124"/>
                    <a:pt x="375" y="1120"/>
                  </a:cubicBezTo>
                  <a:cubicBezTo>
                    <a:pt x="375" y="1118"/>
                    <a:pt x="357" y="1109"/>
                    <a:pt x="360" y="1107"/>
                  </a:cubicBezTo>
                  <a:close/>
                  <a:moveTo>
                    <a:pt x="299" y="1170"/>
                  </a:moveTo>
                  <a:cubicBezTo>
                    <a:pt x="298" y="1167"/>
                    <a:pt x="292" y="1167"/>
                    <a:pt x="292" y="1165"/>
                  </a:cubicBezTo>
                  <a:cubicBezTo>
                    <a:pt x="292" y="1160"/>
                    <a:pt x="298" y="1168"/>
                    <a:pt x="300" y="1166"/>
                  </a:cubicBezTo>
                  <a:cubicBezTo>
                    <a:pt x="302" y="1165"/>
                    <a:pt x="302" y="1163"/>
                    <a:pt x="305" y="1161"/>
                  </a:cubicBezTo>
                  <a:cubicBezTo>
                    <a:pt x="306" y="1160"/>
                    <a:pt x="303" y="1155"/>
                    <a:pt x="307" y="1158"/>
                  </a:cubicBezTo>
                  <a:cubicBezTo>
                    <a:pt x="308" y="1158"/>
                    <a:pt x="313" y="1163"/>
                    <a:pt x="315" y="1159"/>
                  </a:cubicBezTo>
                  <a:cubicBezTo>
                    <a:pt x="318" y="1151"/>
                    <a:pt x="299" y="1138"/>
                    <a:pt x="302" y="1120"/>
                  </a:cubicBezTo>
                  <a:cubicBezTo>
                    <a:pt x="303" y="1116"/>
                    <a:pt x="306" y="1117"/>
                    <a:pt x="305" y="1121"/>
                  </a:cubicBezTo>
                  <a:cubicBezTo>
                    <a:pt x="305" y="1122"/>
                    <a:pt x="305" y="1122"/>
                    <a:pt x="305" y="1122"/>
                  </a:cubicBezTo>
                  <a:cubicBezTo>
                    <a:pt x="303" y="1132"/>
                    <a:pt x="324" y="1162"/>
                    <a:pt x="323" y="1163"/>
                  </a:cubicBezTo>
                  <a:cubicBezTo>
                    <a:pt x="320" y="1168"/>
                    <a:pt x="308" y="1160"/>
                    <a:pt x="305" y="1163"/>
                  </a:cubicBezTo>
                  <a:cubicBezTo>
                    <a:pt x="302" y="1167"/>
                    <a:pt x="303" y="1183"/>
                    <a:pt x="292" y="1179"/>
                  </a:cubicBezTo>
                  <a:cubicBezTo>
                    <a:pt x="291" y="1179"/>
                    <a:pt x="300" y="1173"/>
                    <a:pt x="299" y="1170"/>
                  </a:cubicBezTo>
                  <a:close/>
                  <a:moveTo>
                    <a:pt x="272" y="1054"/>
                  </a:moveTo>
                  <a:cubicBezTo>
                    <a:pt x="272" y="1054"/>
                    <a:pt x="272" y="1054"/>
                    <a:pt x="272" y="1054"/>
                  </a:cubicBezTo>
                  <a:cubicBezTo>
                    <a:pt x="275" y="1058"/>
                    <a:pt x="282" y="1058"/>
                    <a:pt x="282" y="1064"/>
                  </a:cubicBezTo>
                  <a:cubicBezTo>
                    <a:pt x="284" y="1076"/>
                    <a:pt x="275" y="1074"/>
                    <a:pt x="275" y="1083"/>
                  </a:cubicBezTo>
                  <a:cubicBezTo>
                    <a:pt x="274" y="1086"/>
                    <a:pt x="271" y="1086"/>
                    <a:pt x="269" y="1084"/>
                  </a:cubicBezTo>
                  <a:cubicBezTo>
                    <a:pt x="261" y="1071"/>
                    <a:pt x="271" y="1053"/>
                    <a:pt x="272" y="1054"/>
                  </a:cubicBezTo>
                  <a:close/>
                  <a:moveTo>
                    <a:pt x="215" y="1264"/>
                  </a:moveTo>
                  <a:cubicBezTo>
                    <a:pt x="216" y="1264"/>
                    <a:pt x="216" y="1264"/>
                    <a:pt x="216" y="1264"/>
                  </a:cubicBezTo>
                  <a:cubicBezTo>
                    <a:pt x="228" y="1270"/>
                    <a:pt x="234" y="1275"/>
                    <a:pt x="240" y="1278"/>
                  </a:cubicBezTo>
                  <a:cubicBezTo>
                    <a:pt x="243" y="1279"/>
                    <a:pt x="230" y="1285"/>
                    <a:pt x="230" y="1281"/>
                  </a:cubicBezTo>
                  <a:cubicBezTo>
                    <a:pt x="231" y="1273"/>
                    <a:pt x="199" y="1259"/>
                    <a:pt x="215" y="1264"/>
                  </a:cubicBezTo>
                  <a:close/>
                  <a:moveTo>
                    <a:pt x="239" y="1324"/>
                  </a:moveTo>
                  <a:cubicBezTo>
                    <a:pt x="239" y="1325"/>
                    <a:pt x="238" y="1324"/>
                    <a:pt x="238" y="1324"/>
                  </a:cubicBezTo>
                  <a:cubicBezTo>
                    <a:pt x="218" y="1319"/>
                    <a:pt x="221" y="1330"/>
                    <a:pt x="202" y="1335"/>
                  </a:cubicBezTo>
                  <a:cubicBezTo>
                    <a:pt x="194" y="1337"/>
                    <a:pt x="189" y="1342"/>
                    <a:pt x="184" y="1347"/>
                  </a:cubicBezTo>
                  <a:cubicBezTo>
                    <a:pt x="182" y="1349"/>
                    <a:pt x="187" y="1356"/>
                    <a:pt x="181" y="1354"/>
                  </a:cubicBezTo>
                  <a:cubicBezTo>
                    <a:pt x="181" y="1354"/>
                    <a:pt x="178" y="1352"/>
                    <a:pt x="178" y="1352"/>
                  </a:cubicBezTo>
                  <a:cubicBezTo>
                    <a:pt x="179" y="1347"/>
                    <a:pt x="183" y="1343"/>
                    <a:pt x="187" y="1341"/>
                  </a:cubicBezTo>
                  <a:cubicBezTo>
                    <a:pt x="212" y="1326"/>
                    <a:pt x="220" y="1319"/>
                    <a:pt x="247" y="1315"/>
                  </a:cubicBezTo>
                  <a:cubicBezTo>
                    <a:pt x="248" y="1315"/>
                    <a:pt x="250" y="1314"/>
                    <a:pt x="250" y="1316"/>
                  </a:cubicBezTo>
                  <a:cubicBezTo>
                    <a:pt x="250" y="1317"/>
                    <a:pt x="246" y="1317"/>
                    <a:pt x="245" y="1317"/>
                  </a:cubicBezTo>
                  <a:cubicBezTo>
                    <a:pt x="244" y="1317"/>
                    <a:pt x="244" y="1317"/>
                    <a:pt x="244" y="1317"/>
                  </a:cubicBezTo>
                  <a:cubicBezTo>
                    <a:pt x="231" y="1317"/>
                    <a:pt x="242" y="1323"/>
                    <a:pt x="239" y="1324"/>
                  </a:cubicBezTo>
                  <a:close/>
                  <a:moveTo>
                    <a:pt x="277" y="1345"/>
                  </a:moveTo>
                  <a:cubicBezTo>
                    <a:pt x="284" y="1333"/>
                    <a:pt x="265" y="1343"/>
                    <a:pt x="261" y="1340"/>
                  </a:cubicBezTo>
                  <a:cubicBezTo>
                    <a:pt x="258" y="1339"/>
                    <a:pt x="259" y="1330"/>
                    <a:pt x="258" y="1329"/>
                  </a:cubicBezTo>
                  <a:cubicBezTo>
                    <a:pt x="255" y="1326"/>
                    <a:pt x="245" y="1331"/>
                    <a:pt x="244" y="1328"/>
                  </a:cubicBezTo>
                  <a:cubicBezTo>
                    <a:pt x="243" y="1322"/>
                    <a:pt x="279" y="1311"/>
                    <a:pt x="279" y="1308"/>
                  </a:cubicBezTo>
                  <a:cubicBezTo>
                    <a:pt x="279" y="1303"/>
                    <a:pt x="264" y="1292"/>
                    <a:pt x="265" y="1288"/>
                  </a:cubicBezTo>
                  <a:cubicBezTo>
                    <a:pt x="265" y="1285"/>
                    <a:pt x="272" y="1292"/>
                    <a:pt x="274" y="1289"/>
                  </a:cubicBezTo>
                  <a:cubicBezTo>
                    <a:pt x="275" y="1288"/>
                    <a:pt x="271" y="1283"/>
                    <a:pt x="267" y="1281"/>
                  </a:cubicBezTo>
                  <a:cubicBezTo>
                    <a:pt x="261" y="1280"/>
                    <a:pt x="265" y="1278"/>
                    <a:pt x="268" y="1279"/>
                  </a:cubicBezTo>
                  <a:cubicBezTo>
                    <a:pt x="272" y="1281"/>
                    <a:pt x="278" y="1281"/>
                    <a:pt x="277" y="1276"/>
                  </a:cubicBezTo>
                  <a:cubicBezTo>
                    <a:pt x="276" y="1267"/>
                    <a:pt x="275" y="1266"/>
                    <a:pt x="283" y="1261"/>
                  </a:cubicBezTo>
                  <a:cubicBezTo>
                    <a:pt x="286" y="1259"/>
                    <a:pt x="270" y="1252"/>
                    <a:pt x="272" y="1251"/>
                  </a:cubicBezTo>
                  <a:cubicBezTo>
                    <a:pt x="277" y="1248"/>
                    <a:pt x="285" y="1261"/>
                    <a:pt x="290" y="1258"/>
                  </a:cubicBezTo>
                  <a:cubicBezTo>
                    <a:pt x="294" y="1256"/>
                    <a:pt x="290" y="1244"/>
                    <a:pt x="307" y="1242"/>
                  </a:cubicBezTo>
                  <a:cubicBezTo>
                    <a:pt x="307" y="1242"/>
                    <a:pt x="311" y="1242"/>
                    <a:pt x="311" y="1241"/>
                  </a:cubicBezTo>
                  <a:cubicBezTo>
                    <a:pt x="311" y="1239"/>
                    <a:pt x="305" y="1240"/>
                    <a:pt x="305" y="1238"/>
                  </a:cubicBezTo>
                  <a:cubicBezTo>
                    <a:pt x="298" y="1203"/>
                    <a:pt x="273" y="1238"/>
                    <a:pt x="275" y="1213"/>
                  </a:cubicBezTo>
                  <a:cubicBezTo>
                    <a:pt x="275" y="1211"/>
                    <a:pt x="270" y="1208"/>
                    <a:pt x="271" y="1206"/>
                  </a:cubicBezTo>
                  <a:cubicBezTo>
                    <a:pt x="275" y="1196"/>
                    <a:pt x="280" y="1221"/>
                    <a:pt x="295" y="1217"/>
                  </a:cubicBezTo>
                  <a:cubicBezTo>
                    <a:pt x="301" y="1216"/>
                    <a:pt x="293" y="1199"/>
                    <a:pt x="302" y="1201"/>
                  </a:cubicBezTo>
                  <a:cubicBezTo>
                    <a:pt x="313" y="1204"/>
                    <a:pt x="295" y="1209"/>
                    <a:pt x="302" y="1215"/>
                  </a:cubicBezTo>
                  <a:cubicBezTo>
                    <a:pt x="303" y="1216"/>
                    <a:pt x="322" y="1210"/>
                    <a:pt x="322" y="1211"/>
                  </a:cubicBezTo>
                  <a:cubicBezTo>
                    <a:pt x="326" y="1213"/>
                    <a:pt x="317" y="1217"/>
                    <a:pt x="316" y="1217"/>
                  </a:cubicBezTo>
                  <a:cubicBezTo>
                    <a:pt x="307" y="1219"/>
                    <a:pt x="316" y="1218"/>
                    <a:pt x="318" y="1219"/>
                  </a:cubicBezTo>
                  <a:cubicBezTo>
                    <a:pt x="321" y="1219"/>
                    <a:pt x="312" y="1226"/>
                    <a:pt x="313" y="1227"/>
                  </a:cubicBezTo>
                  <a:cubicBezTo>
                    <a:pt x="320" y="1239"/>
                    <a:pt x="325" y="1222"/>
                    <a:pt x="329" y="1218"/>
                  </a:cubicBezTo>
                  <a:cubicBezTo>
                    <a:pt x="330" y="1217"/>
                    <a:pt x="334" y="1221"/>
                    <a:pt x="335" y="1221"/>
                  </a:cubicBezTo>
                  <a:cubicBezTo>
                    <a:pt x="339" y="1222"/>
                    <a:pt x="333" y="1223"/>
                    <a:pt x="332" y="1226"/>
                  </a:cubicBezTo>
                  <a:cubicBezTo>
                    <a:pt x="331" y="1236"/>
                    <a:pt x="341" y="1232"/>
                    <a:pt x="354" y="1234"/>
                  </a:cubicBezTo>
                  <a:cubicBezTo>
                    <a:pt x="355" y="1234"/>
                    <a:pt x="357" y="1234"/>
                    <a:pt x="357" y="1234"/>
                  </a:cubicBezTo>
                  <a:cubicBezTo>
                    <a:pt x="358" y="1233"/>
                    <a:pt x="354" y="1229"/>
                    <a:pt x="353" y="1228"/>
                  </a:cubicBezTo>
                  <a:cubicBezTo>
                    <a:pt x="347" y="1216"/>
                    <a:pt x="331" y="1224"/>
                    <a:pt x="330" y="1211"/>
                  </a:cubicBezTo>
                  <a:cubicBezTo>
                    <a:pt x="329" y="1209"/>
                    <a:pt x="336" y="1212"/>
                    <a:pt x="336" y="1213"/>
                  </a:cubicBezTo>
                  <a:cubicBezTo>
                    <a:pt x="340" y="1215"/>
                    <a:pt x="348" y="1215"/>
                    <a:pt x="350" y="1218"/>
                  </a:cubicBezTo>
                  <a:cubicBezTo>
                    <a:pt x="351" y="1220"/>
                    <a:pt x="357" y="1228"/>
                    <a:pt x="358" y="1227"/>
                  </a:cubicBezTo>
                  <a:cubicBezTo>
                    <a:pt x="366" y="1222"/>
                    <a:pt x="348" y="1193"/>
                    <a:pt x="366" y="1195"/>
                  </a:cubicBezTo>
                  <a:cubicBezTo>
                    <a:pt x="370" y="1196"/>
                    <a:pt x="360" y="1208"/>
                    <a:pt x="365" y="1210"/>
                  </a:cubicBezTo>
                  <a:cubicBezTo>
                    <a:pt x="368" y="1211"/>
                    <a:pt x="368" y="1205"/>
                    <a:pt x="371" y="1205"/>
                  </a:cubicBezTo>
                  <a:cubicBezTo>
                    <a:pt x="378" y="1203"/>
                    <a:pt x="366" y="1213"/>
                    <a:pt x="366" y="1214"/>
                  </a:cubicBezTo>
                  <a:cubicBezTo>
                    <a:pt x="366" y="1221"/>
                    <a:pt x="366" y="1228"/>
                    <a:pt x="357" y="1236"/>
                  </a:cubicBezTo>
                  <a:cubicBezTo>
                    <a:pt x="357" y="1237"/>
                    <a:pt x="357" y="1237"/>
                    <a:pt x="357" y="1237"/>
                  </a:cubicBezTo>
                  <a:cubicBezTo>
                    <a:pt x="363" y="1238"/>
                    <a:pt x="371" y="1253"/>
                    <a:pt x="370" y="1253"/>
                  </a:cubicBezTo>
                  <a:cubicBezTo>
                    <a:pt x="369" y="1253"/>
                    <a:pt x="365" y="1248"/>
                    <a:pt x="364" y="1247"/>
                  </a:cubicBezTo>
                  <a:cubicBezTo>
                    <a:pt x="349" y="1231"/>
                    <a:pt x="347" y="1240"/>
                    <a:pt x="329" y="1239"/>
                  </a:cubicBezTo>
                  <a:cubicBezTo>
                    <a:pt x="329" y="1238"/>
                    <a:pt x="311" y="1230"/>
                    <a:pt x="310" y="1232"/>
                  </a:cubicBezTo>
                  <a:cubicBezTo>
                    <a:pt x="309" y="1237"/>
                    <a:pt x="323" y="1243"/>
                    <a:pt x="322" y="1244"/>
                  </a:cubicBezTo>
                  <a:cubicBezTo>
                    <a:pt x="303" y="1255"/>
                    <a:pt x="317" y="1240"/>
                    <a:pt x="301" y="1256"/>
                  </a:cubicBezTo>
                  <a:cubicBezTo>
                    <a:pt x="301" y="1257"/>
                    <a:pt x="279" y="1267"/>
                    <a:pt x="281" y="1270"/>
                  </a:cubicBezTo>
                  <a:cubicBezTo>
                    <a:pt x="283" y="1273"/>
                    <a:pt x="290" y="1274"/>
                    <a:pt x="289" y="1277"/>
                  </a:cubicBezTo>
                  <a:cubicBezTo>
                    <a:pt x="288" y="1281"/>
                    <a:pt x="277" y="1283"/>
                    <a:pt x="280" y="1287"/>
                  </a:cubicBezTo>
                  <a:cubicBezTo>
                    <a:pt x="283" y="1292"/>
                    <a:pt x="297" y="1284"/>
                    <a:pt x="299" y="1288"/>
                  </a:cubicBezTo>
                  <a:cubicBezTo>
                    <a:pt x="300" y="1289"/>
                    <a:pt x="283" y="1291"/>
                    <a:pt x="283" y="1292"/>
                  </a:cubicBezTo>
                  <a:cubicBezTo>
                    <a:pt x="283" y="1299"/>
                    <a:pt x="289" y="1292"/>
                    <a:pt x="289" y="1294"/>
                  </a:cubicBezTo>
                  <a:cubicBezTo>
                    <a:pt x="293" y="1316"/>
                    <a:pt x="262" y="1314"/>
                    <a:pt x="260" y="1322"/>
                  </a:cubicBezTo>
                  <a:cubicBezTo>
                    <a:pt x="254" y="1338"/>
                    <a:pt x="289" y="1330"/>
                    <a:pt x="281" y="1345"/>
                  </a:cubicBezTo>
                  <a:cubicBezTo>
                    <a:pt x="279" y="1349"/>
                    <a:pt x="276" y="1346"/>
                    <a:pt x="277" y="1345"/>
                  </a:cubicBezTo>
                  <a:close/>
                  <a:moveTo>
                    <a:pt x="305" y="1494"/>
                  </a:moveTo>
                  <a:cubicBezTo>
                    <a:pt x="305" y="1495"/>
                    <a:pt x="305" y="1495"/>
                    <a:pt x="305" y="1495"/>
                  </a:cubicBezTo>
                  <a:cubicBezTo>
                    <a:pt x="299" y="1497"/>
                    <a:pt x="294" y="1500"/>
                    <a:pt x="295" y="1501"/>
                  </a:cubicBezTo>
                  <a:cubicBezTo>
                    <a:pt x="298" y="1506"/>
                    <a:pt x="280" y="1499"/>
                    <a:pt x="280" y="1494"/>
                  </a:cubicBezTo>
                  <a:cubicBezTo>
                    <a:pt x="281" y="1491"/>
                    <a:pt x="288" y="1487"/>
                    <a:pt x="291" y="1487"/>
                  </a:cubicBezTo>
                  <a:cubicBezTo>
                    <a:pt x="297" y="1485"/>
                    <a:pt x="313" y="1489"/>
                    <a:pt x="302" y="1484"/>
                  </a:cubicBezTo>
                  <a:cubicBezTo>
                    <a:pt x="300" y="1483"/>
                    <a:pt x="305" y="1481"/>
                    <a:pt x="306" y="1481"/>
                  </a:cubicBezTo>
                  <a:cubicBezTo>
                    <a:pt x="315" y="1478"/>
                    <a:pt x="308" y="1492"/>
                    <a:pt x="305" y="1494"/>
                  </a:cubicBezTo>
                  <a:close/>
                  <a:moveTo>
                    <a:pt x="347" y="1380"/>
                  </a:moveTo>
                  <a:cubicBezTo>
                    <a:pt x="337" y="1384"/>
                    <a:pt x="334" y="1367"/>
                    <a:pt x="332" y="1365"/>
                  </a:cubicBezTo>
                  <a:cubicBezTo>
                    <a:pt x="327" y="1362"/>
                    <a:pt x="331" y="1375"/>
                    <a:pt x="327" y="1373"/>
                  </a:cubicBezTo>
                  <a:cubicBezTo>
                    <a:pt x="314" y="1364"/>
                    <a:pt x="276" y="1354"/>
                    <a:pt x="284" y="1334"/>
                  </a:cubicBezTo>
                  <a:cubicBezTo>
                    <a:pt x="285" y="1333"/>
                    <a:pt x="287" y="1340"/>
                    <a:pt x="287" y="1342"/>
                  </a:cubicBezTo>
                  <a:cubicBezTo>
                    <a:pt x="288" y="1348"/>
                    <a:pt x="296" y="1359"/>
                    <a:pt x="302" y="1355"/>
                  </a:cubicBezTo>
                  <a:cubicBezTo>
                    <a:pt x="303" y="1354"/>
                    <a:pt x="297" y="1348"/>
                    <a:pt x="299" y="1347"/>
                  </a:cubicBezTo>
                  <a:cubicBezTo>
                    <a:pt x="305" y="1341"/>
                    <a:pt x="312" y="1341"/>
                    <a:pt x="308" y="1330"/>
                  </a:cubicBezTo>
                  <a:cubicBezTo>
                    <a:pt x="307" y="1327"/>
                    <a:pt x="299" y="1326"/>
                    <a:pt x="302" y="1320"/>
                  </a:cubicBezTo>
                  <a:cubicBezTo>
                    <a:pt x="303" y="1320"/>
                    <a:pt x="303" y="1320"/>
                    <a:pt x="303" y="1320"/>
                  </a:cubicBezTo>
                  <a:cubicBezTo>
                    <a:pt x="307" y="1316"/>
                    <a:pt x="308" y="1323"/>
                    <a:pt x="311" y="1322"/>
                  </a:cubicBezTo>
                  <a:cubicBezTo>
                    <a:pt x="315" y="1320"/>
                    <a:pt x="334" y="1303"/>
                    <a:pt x="337" y="1299"/>
                  </a:cubicBezTo>
                  <a:cubicBezTo>
                    <a:pt x="341" y="1294"/>
                    <a:pt x="328" y="1296"/>
                    <a:pt x="331" y="1292"/>
                  </a:cubicBezTo>
                  <a:cubicBezTo>
                    <a:pt x="337" y="1284"/>
                    <a:pt x="338" y="1296"/>
                    <a:pt x="348" y="1291"/>
                  </a:cubicBezTo>
                  <a:cubicBezTo>
                    <a:pt x="350" y="1290"/>
                    <a:pt x="346" y="1287"/>
                    <a:pt x="349" y="1286"/>
                  </a:cubicBezTo>
                  <a:cubicBezTo>
                    <a:pt x="355" y="1283"/>
                    <a:pt x="359" y="1278"/>
                    <a:pt x="365" y="1277"/>
                  </a:cubicBezTo>
                  <a:cubicBezTo>
                    <a:pt x="367" y="1276"/>
                    <a:pt x="370" y="1275"/>
                    <a:pt x="372" y="1275"/>
                  </a:cubicBezTo>
                  <a:cubicBezTo>
                    <a:pt x="373" y="1275"/>
                    <a:pt x="373" y="1275"/>
                    <a:pt x="373" y="1275"/>
                  </a:cubicBezTo>
                  <a:cubicBezTo>
                    <a:pt x="376" y="1278"/>
                    <a:pt x="367" y="1278"/>
                    <a:pt x="365" y="1280"/>
                  </a:cubicBezTo>
                  <a:cubicBezTo>
                    <a:pt x="363" y="1282"/>
                    <a:pt x="369" y="1287"/>
                    <a:pt x="367" y="1289"/>
                  </a:cubicBezTo>
                  <a:cubicBezTo>
                    <a:pt x="367" y="1289"/>
                    <a:pt x="351" y="1286"/>
                    <a:pt x="345" y="1295"/>
                  </a:cubicBezTo>
                  <a:cubicBezTo>
                    <a:pt x="344" y="1296"/>
                    <a:pt x="343" y="1297"/>
                    <a:pt x="343" y="1298"/>
                  </a:cubicBezTo>
                  <a:cubicBezTo>
                    <a:pt x="343" y="1301"/>
                    <a:pt x="361" y="1304"/>
                    <a:pt x="358" y="1308"/>
                  </a:cubicBezTo>
                  <a:cubicBezTo>
                    <a:pt x="358" y="1308"/>
                    <a:pt x="352" y="1307"/>
                    <a:pt x="351" y="1307"/>
                  </a:cubicBezTo>
                  <a:cubicBezTo>
                    <a:pt x="328" y="1295"/>
                    <a:pt x="321" y="1330"/>
                    <a:pt x="318" y="1333"/>
                  </a:cubicBezTo>
                  <a:cubicBezTo>
                    <a:pt x="317" y="1334"/>
                    <a:pt x="313" y="1332"/>
                    <a:pt x="313" y="1334"/>
                  </a:cubicBezTo>
                  <a:cubicBezTo>
                    <a:pt x="313" y="1334"/>
                    <a:pt x="327" y="1337"/>
                    <a:pt x="332" y="1342"/>
                  </a:cubicBezTo>
                  <a:cubicBezTo>
                    <a:pt x="333" y="1342"/>
                    <a:pt x="334" y="1343"/>
                    <a:pt x="334" y="1344"/>
                  </a:cubicBezTo>
                  <a:cubicBezTo>
                    <a:pt x="332" y="1346"/>
                    <a:pt x="329" y="1343"/>
                    <a:pt x="329" y="1342"/>
                  </a:cubicBezTo>
                  <a:cubicBezTo>
                    <a:pt x="326" y="1339"/>
                    <a:pt x="304" y="1345"/>
                    <a:pt x="304" y="1350"/>
                  </a:cubicBezTo>
                  <a:cubicBezTo>
                    <a:pt x="304" y="1351"/>
                    <a:pt x="305" y="1351"/>
                    <a:pt x="306" y="1352"/>
                  </a:cubicBezTo>
                  <a:cubicBezTo>
                    <a:pt x="307" y="1353"/>
                    <a:pt x="308" y="1353"/>
                    <a:pt x="309" y="1354"/>
                  </a:cubicBezTo>
                  <a:cubicBezTo>
                    <a:pt x="323" y="1362"/>
                    <a:pt x="322" y="1351"/>
                    <a:pt x="336" y="1358"/>
                  </a:cubicBezTo>
                  <a:cubicBezTo>
                    <a:pt x="336" y="1358"/>
                    <a:pt x="341" y="1363"/>
                    <a:pt x="339" y="1364"/>
                  </a:cubicBezTo>
                  <a:cubicBezTo>
                    <a:pt x="338" y="1365"/>
                    <a:pt x="335" y="1359"/>
                    <a:pt x="334" y="1362"/>
                  </a:cubicBezTo>
                  <a:cubicBezTo>
                    <a:pt x="334" y="1365"/>
                    <a:pt x="340" y="1373"/>
                    <a:pt x="343" y="1376"/>
                  </a:cubicBezTo>
                  <a:cubicBezTo>
                    <a:pt x="345" y="1378"/>
                    <a:pt x="349" y="1379"/>
                    <a:pt x="347" y="1380"/>
                  </a:cubicBezTo>
                  <a:close/>
                  <a:moveTo>
                    <a:pt x="386" y="1358"/>
                  </a:moveTo>
                  <a:cubicBezTo>
                    <a:pt x="378" y="1363"/>
                    <a:pt x="377" y="1341"/>
                    <a:pt x="370" y="1336"/>
                  </a:cubicBezTo>
                  <a:cubicBezTo>
                    <a:pt x="369" y="1335"/>
                    <a:pt x="367" y="1341"/>
                    <a:pt x="367" y="1342"/>
                  </a:cubicBezTo>
                  <a:cubicBezTo>
                    <a:pt x="367" y="1345"/>
                    <a:pt x="361" y="1345"/>
                    <a:pt x="360" y="1345"/>
                  </a:cubicBezTo>
                  <a:cubicBezTo>
                    <a:pt x="349" y="1351"/>
                    <a:pt x="367" y="1356"/>
                    <a:pt x="367" y="1356"/>
                  </a:cubicBezTo>
                  <a:cubicBezTo>
                    <a:pt x="368" y="1357"/>
                    <a:pt x="371" y="1358"/>
                    <a:pt x="371" y="1360"/>
                  </a:cubicBezTo>
                  <a:cubicBezTo>
                    <a:pt x="370" y="1362"/>
                    <a:pt x="355" y="1356"/>
                    <a:pt x="355" y="1356"/>
                  </a:cubicBezTo>
                  <a:cubicBezTo>
                    <a:pt x="355" y="1357"/>
                    <a:pt x="352" y="1365"/>
                    <a:pt x="351" y="1365"/>
                  </a:cubicBezTo>
                  <a:cubicBezTo>
                    <a:pt x="347" y="1364"/>
                    <a:pt x="335" y="1346"/>
                    <a:pt x="336" y="1345"/>
                  </a:cubicBezTo>
                  <a:cubicBezTo>
                    <a:pt x="339" y="1341"/>
                    <a:pt x="343" y="1352"/>
                    <a:pt x="346" y="1353"/>
                  </a:cubicBezTo>
                  <a:cubicBezTo>
                    <a:pt x="358" y="1355"/>
                    <a:pt x="351" y="1335"/>
                    <a:pt x="357" y="1342"/>
                  </a:cubicBezTo>
                  <a:cubicBezTo>
                    <a:pt x="359" y="1345"/>
                    <a:pt x="362" y="1342"/>
                    <a:pt x="364" y="1341"/>
                  </a:cubicBezTo>
                  <a:cubicBezTo>
                    <a:pt x="365" y="1340"/>
                    <a:pt x="363" y="1336"/>
                    <a:pt x="363" y="1336"/>
                  </a:cubicBezTo>
                  <a:cubicBezTo>
                    <a:pt x="346" y="1331"/>
                    <a:pt x="366" y="1331"/>
                    <a:pt x="367" y="1331"/>
                  </a:cubicBezTo>
                  <a:cubicBezTo>
                    <a:pt x="369" y="1330"/>
                    <a:pt x="365" y="1323"/>
                    <a:pt x="367" y="1323"/>
                  </a:cubicBezTo>
                  <a:cubicBezTo>
                    <a:pt x="367" y="1323"/>
                    <a:pt x="367" y="1323"/>
                    <a:pt x="367" y="1323"/>
                  </a:cubicBezTo>
                  <a:cubicBezTo>
                    <a:pt x="371" y="1323"/>
                    <a:pt x="379" y="1330"/>
                    <a:pt x="375" y="1332"/>
                  </a:cubicBezTo>
                  <a:cubicBezTo>
                    <a:pt x="374" y="1333"/>
                    <a:pt x="373" y="1335"/>
                    <a:pt x="374" y="1336"/>
                  </a:cubicBezTo>
                  <a:cubicBezTo>
                    <a:pt x="377" y="1340"/>
                    <a:pt x="393" y="1355"/>
                    <a:pt x="386" y="1358"/>
                  </a:cubicBezTo>
                  <a:close/>
                  <a:moveTo>
                    <a:pt x="409" y="1327"/>
                  </a:moveTo>
                  <a:cubicBezTo>
                    <a:pt x="395" y="1339"/>
                    <a:pt x="364" y="1307"/>
                    <a:pt x="383" y="1310"/>
                  </a:cubicBezTo>
                  <a:cubicBezTo>
                    <a:pt x="389" y="1311"/>
                    <a:pt x="393" y="1307"/>
                    <a:pt x="398" y="1309"/>
                  </a:cubicBezTo>
                  <a:cubicBezTo>
                    <a:pt x="399" y="1309"/>
                    <a:pt x="399" y="1309"/>
                    <a:pt x="399" y="1309"/>
                  </a:cubicBezTo>
                  <a:cubicBezTo>
                    <a:pt x="409" y="1320"/>
                    <a:pt x="386" y="1310"/>
                    <a:pt x="382" y="1314"/>
                  </a:cubicBezTo>
                  <a:cubicBezTo>
                    <a:pt x="381" y="1315"/>
                    <a:pt x="384" y="1318"/>
                    <a:pt x="385" y="1318"/>
                  </a:cubicBezTo>
                  <a:cubicBezTo>
                    <a:pt x="391" y="1327"/>
                    <a:pt x="400" y="1322"/>
                    <a:pt x="408" y="1326"/>
                  </a:cubicBezTo>
                  <a:cubicBezTo>
                    <a:pt x="408" y="1326"/>
                    <a:pt x="408" y="1326"/>
                    <a:pt x="409" y="1327"/>
                  </a:cubicBezTo>
                  <a:cubicBezTo>
                    <a:pt x="409" y="1327"/>
                    <a:pt x="409" y="1327"/>
                    <a:pt x="409" y="1327"/>
                  </a:cubicBezTo>
                  <a:close/>
                  <a:moveTo>
                    <a:pt x="499" y="1374"/>
                  </a:moveTo>
                  <a:cubicBezTo>
                    <a:pt x="498" y="1376"/>
                    <a:pt x="500" y="1375"/>
                    <a:pt x="496" y="1381"/>
                  </a:cubicBezTo>
                  <a:cubicBezTo>
                    <a:pt x="495" y="1382"/>
                    <a:pt x="492" y="1392"/>
                    <a:pt x="491" y="1392"/>
                  </a:cubicBezTo>
                  <a:cubicBezTo>
                    <a:pt x="489" y="1392"/>
                    <a:pt x="490" y="1389"/>
                    <a:pt x="490" y="1388"/>
                  </a:cubicBezTo>
                  <a:cubicBezTo>
                    <a:pt x="490" y="1378"/>
                    <a:pt x="484" y="1396"/>
                    <a:pt x="484" y="1389"/>
                  </a:cubicBezTo>
                  <a:cubicBezTo>
                    <a:pt x="485" y="1382"/>
                    <a:pt x="500" y="1379"/>
                    <a:pt x="497" y="1368"/>
                  </a:cubicBezTo>
                  <a:cubicBezTo>
                    <a:pt x="497" y="1368"/>
                    <a:pt x="494" y="1368"/>
                    <a:pt x="493" y="1367"/>
                  </a:cubicBezTo>
                  <a:cubicBezTo>
                    <a:pt x="489" y="1364"/>
                    <a:pt x="489" y="1356"/>
                    <a:pt x="483" y="1354"/>
                  </a:cubicBezTo>
                  <a:cubicBezTo>
                    <a:pt x="481" y="1353"/>
                    <a:pt x="481" y="1359"/>
                    <a:pt x="479" y="1358"/>
                  </a:cubicBezTo>
                  <a:cubicBezTo>
                    <a:pt x="478" y="1357"/>
                    <a:pt x="477" y="1350"/>
                    <a:pt x="475" y="1352"/>
                  </a:cubicBezTo>
                  <a:cubicBezTo>
                    <a:pt x="474" y="1354"/>
                    <a:pt x="472" y="1364"/>
                    <a:pt x="469" y="1363"/>
                  </a:cubicBezTo>
                  <a:cubicBezTo>
                    <a:pt x="467" y="1362"/>
                    <a:pt x="470" y="1358"/>
                    <a:pt x="471" y="1357"/>
                  </a:cubicBezTo>
                  <a:cubicBezTo>
                    <a:pt x="471" y="1356"/>
                    <a:pt x="461" y="1347"/>
                    <a:pt x="456" y="1343"/>
                  </a:cubicBezTo>
                  <a:cubicBezTo>
                    <a:pt x="455" y="1343"/>
                    <a:pt x="453" y="1342"/>
                    <a:pt x="452" y="1342"/>
                  </a:cubicBezTo>
                  <a:cubicBezTo>
                    <a:pt x="452" y="1342"/>
                    <a:pt x="450" y="1342"/>
                    <a:pt x="450" y="1342"/>
                  </a:cubicBezTo>
                  <a:cubicBezTo>
                    <a:pt x="445" y="1343"/>
                    <a:pt x="448" y="1348"/>
                    <a:pt x="451" y="1350"/>
                  </a:cubicBezTo>
                  <a:cubicBezTo>
                    <a:pt x="452" y="1351"/>
                    <a:pt x="458" y="1351"/>
                    <a:pt x="458" y="1351"/>
                  </a:cubicBezTo>
                  <a:cubicBezTo>
                    <a:pt x="458" y="1353"/>
                    <a:pt x="455" y="1355"/>
                    <a:pt x="454" y="1356"/>
                  </a:cubicBezTo>
                  <a:cubicBezTo>
                    <a:pt x="424" y="1366"/>
                    <a:pt x="446" y="1368"/>
                    <a:pt x="448" y="1369"/>
                  </a:cubicBezTo>
                  <a:cubicBezTo>
                    <a:pt x="452" y="1373"/>
                    <a:pt x="447" y="1389"/>
                    <a:pt x="445" y="1382"/>
                  </a:cubicBezTo>
                  <a:cubicBezTo>
                    <a:pt x="445" y="1381"/>
                    <a:pt x="445" y="1381"/>
                    <a:pt x="445" y="1381"/>
                  </a:cubicBezTo>
                  <a:cubicBezTo>
                    <a:pt x="437" y="1378"/>
                    <a:pt x="444" y="1376"/>
                    <a:pt x="439" y="1371"/>
                  </a:cubicBezTo>
                  <a:cubicBezTo>
                    <a:pt x="439" y="1370"/>
                    <a:pt x="423" y="1380"/>
                    <a:pt x="421" y="1372"/>
                  </a:cubicBezTo>
                  <a:cubicBezTo>
                    <a:pt x="420" y="1369"/>
                    <a:pt x="445" y="1355"/>
                    <a:pt x="440" y="1345"/>
                  </a:cubicBezTo>
                  <a:cubicBezTo>
                    <a:pt x="439" y="1343"/>
                    <a:pt x="431" y="1338"/>
                    <a:pt x="432" y="1343"/>
                  </a:cubicBezTo>
                  <a:cubicBezTo>
                    <a:pt x="435" y="1357"/>
                    <a:pt x="429" y="1329"/>
                    <a:pt x="424" y="1337"/>
                  </a:cubicBezTo>
                  <a:cubicBezTo>
                    <a:pt x="424" y="1338"/>
                    <a:pt x="423" y="1335"/>
                    <a:pt x="423" y="1334"/>
                  </a:cubicBezTo>
                  <a:cubicBezTo>
                    <a:pt x="422" y="1330"/>
                    <a:pt x="417" y="1333"/>
                    <a:pt x="415" y="1331"/>
                  </a:cubicBezTo>
                  <a:cubicBezTo>
                    <a:pt x="414" y="1328"/>
                    <a:pt x="423" y="1327"/>
                    <a:pt x="421" y="1324"/>
                  </a:cubicBezTo>
                  <a:cubicBezTo>
                    <a:pt x="420" y="1323"/>
                    <a:pt x="407" y="1316"/>
                    <a:pt x="407" y="1315"/>
                  </a:cubicBezTo>
                  <a:cubicBezTo>
                    <a:pt x="410" y="1312"/>
                    <a:pt x="418" y="1311"/>
                    <a:pt x="408" y="1306"/>
                  </a:cubicBezTo>
                  <a:cubicBezTo>
                    <a:pt x="407" y="1306"/>
                    <a:pt x="406" y="1305"/>
                    <a:pt x="407" y="1304"/>
                  </a:cubicBezTo>
                  <a:cubicBezTo>
                    <a:pt x="408" y="1301"/>
                    <a:pt x="413" y="1304"/>
                    <a:pt x="414" y="1305"/>
                  </a:cubicBezTo>
                  <a:cubicBezTo>
                    <a:pt x="415" y="1305"/>
                    <a:pt x="433" y="1295"/>
                    <a:pt x="435" y="1290"/>
                  </a:cubicBezTo>
                  <a:cubicBezTo>
                    <a:pt x="439" y="1279"/>
                    <a:pt x="414" y="1284"/>
                    <a:pt x="409" y="1266"/>
                  </a:cubicBezTo>
                  <a:cubicBezTo>
                    <a:pt x="409" y="1265"/>
                    <a:pt x="416" y="1266"/>
                    <a:pt x="418" y="1267"/>
                  </a:cubicBezTo>
                  <a:cubicBezTo>
                    <a:pt x="423" y="1271"/>
                    <a:pt x="437" y="1271"/>
                    <a:pt x="435" y="1256"/>
                  </a:cubicBezTo>
                  <a:cubicBezTo>
                    <a:pt x="435" y="1252"/>
                    <a:pt x="413" y="1257"/>
                    <a:pt x="413" y="1257"/>
                  </a:cubicBezTo>
                  <a:cubicBezTo>
                    <a:pt x="417" y="1245"/>
                    <a:pt x="425" y="1250"/>
                    <a:pt x="436" y="1251"/>
                  </a:cubicBezTo>
                  <a:cubicBezTo>
                    <a:pt x="437" y="1251"/>
                    <a:pt x="437" y="1249"/>
                    <a:pt x="438" y="1248"/>
                  </a:cubicBezTo>
                  <a:cubicBezTo>
                    <a:pt x="442" y="1247"/>
                    <a:pt x="445" y="1239"/>
                    <a:pt x="442" y="1237"/>
                  </a:cubicBezTo>
                  <a:cubicBezTo>
                    <a:pt x="441" y="1236"/>
                    <a:pt x="438" y="1236"/>
                    <a:pt x="440" y="1235"/>
                  </a:cubicBezTo>
                  <a:cubicBezTo>
                    <a:pt x="445" y="1233"/>
                    <a:pt x="456" y="1241"/>
                    <a:pt x="459" y="1233"/>
                  </a:cubicBezTo>
                  <a:cubicBezTo>
                    <a:pt x="461" y="1229"/>
                    <a:pt x="450" y="1231"/>
                    <a:pt x="450" y="1228"/>
                  </a:cubicBezTo>
                  <a:cubicBezTo>
                    <a:pt x="449" y="1223"/>
                    <a:pt x="454" y="1225"/>
                    <a:pt x="454" y="1223"/>
                  </a:cubicBezTo>
                  <a:cubicBezTo>
                    <a:pt x="452" y="1218"/>
                    <a:pt x="428" y="1229"/>
                    <a:pt x="432" y="1212"/>
                  </a:cubicBezTo>
                  <a:cubicBezTo>
                    <a:pt x="433" y="1211"/>
                    <a:pt x="450" y="1224"/>
                    <a:pt x="458" y="1217"/>
                  </a:cubicBezTo>
                  <a:cubicBezTo>
                    <a:pt x="463" y="1213"/>
                    <a:pt x="453" y="1211"/>
                    <a:pt x="455" y="1207"/>
                  </a:cubicBezTo>
                  <a:cubicBezTo>
                    <a:pt x="459" y="1200"/>
                    <a:pt x="462" y="1209"/>
                    <a:pt x="470" y="1200"/>
                  </a:cubicBezTo>
                  <a:cubicBezTo>
                    <a:pt x="476" y="1194"/>
                    <a:pt x="467" y="1186"/>
                    <a:pt x="474" y="1189"/>
                  </a:cubicBezTo>
                  <a:cubicBezTo>
                    <a:pt x="474" y="1189"/>
                    <a:pt x="477" y="1190"/>
                    <a:pt x="477" y="1189"/>
                  </a:cubicBezTo>
                  <a:cubicBezTo>
                    <a:pt x="478" y="1189"/>
                    <a:pt x="476" y="1173"/>
                    <a:pt x="474" y="1171"/>
                  </a:cubicBezTo>
                  <a:cubicBezTo>
                    <a:pt x="470" y="1167"/>
                    <a:pt x="474" y="1178"/>
                    <a:pt x="465" y="1172"/>
                  </a:cubicBezTo>
                  <a:cubicBezTo>
                    <a:pt x="464" y="1172"/>
                    <a:pt x="470" y="1166"/>
                    <a:pt x="462" y="1162"/>
                  </a:cubicBezTo>
                  <a:cubicBezTo>
                    <a:pt x="458" y="1160"/>
                    <a:pt x="443" y="1153"/>
                    <a:pt x="446" y="1144"/>
                  </a:cubicBezTo>
                  <a:cubicBezTo>
                    <a:pt x="446" y="1143"/>
                    <a:pt x="454" y="1143"/>
                    <a:pt x="454" y="1143"/>
                  </a:cubicBezTo>
                  <a:cubicBezTo>
                    <a:pt x="470" y="1152"/>
                    <a:pt x="462" y="1127"/>
                    <a:pt x="464" y="1126"/>
                  </a:cubicBezTo>
                  <a:cubicBezTo>
                    <a:pt x="468" y="1125"/>
                    <a:pt x="472" y="1137"/>
                    <a:pt x="474" y="1134"/>
                  </a:cubicBezTo>
                  <a:cubicBezTo>
                    <a:pt x="482" y="1122"/>
                    <a:pt x="463" y="1121"/>
                    <a:pt x="465" y="1120"/>
                  </a:cubicBezTo>
                  <a:cubicBezTo>
                    <a:pt x="467" y="1119"/>
                    <a:pt x="475" y="1113"/>
                    <a:pt x="475" y="1111"/>
                  </a:cubicBezTo>
                  <a:cubicBezTo>
                    <a:pt x="476" y="1110"/>
                    <a:pt x="468" y="1105"/>
                    <a:pt x="466" y="1104"/>
                  </a:cubicBezTo>
                  <a:cubicBezTo>
                    <a:pt x="463" y="1102"/>
                    <a:pt x="474" y="1105"/>
                    <a:pt x="477" y="1103"/>
                  </a:cubicBezTo>
                  <a:cubicBezTo>
                    <a:pt x="479" y="1102"/>
                    <a:pt x="482" y="1106"/>
                    <a:pt x="482" y="1105"/>
                  </a:cubicBezTo>
                  <a:cubicBezTo>
                    <a:pt x="485" y="1103"/>
                    <a:pt x="478" y="1100"/>
                    <a:pt x="476" y="1098"/>
                  </a:cubicBezTo>
                  <a:cubicBezTo>
                    <a:pt x="469" y="1087"/>
                    <a:pt x="443" y="1074"/>
                    <a:pt x="442" y="1075"/>
                  </a:cubicBezTo>
                  <a:cubicBezTo>
                    <a:pt x="441" y="1075"/>
                    <a:pt x="444" y="1080"/>
                    <a:pt x="444" y="1081"/>
                  </a:cubicBezTo>
                  <a:cubicBezTo>
                    <a:pt x="442" y="1094"/>
                    <a:pt x="437" y="1102"/>
                    <a:pt x="424" y="1090"/>
                  </a:cubicBezTo>
                  <a:cubicBezTo>
                    <a:pt x="422" y="1088"/>
                    <a:pt x="425" y="1087"/>
                    <a:pt x="425" y="1086"/>
                  </a:cubicBezTo>
                  <a:cubicBezTo>
                    <a:pt x="423" y="1077"/>
                    <a:pt x="436" y="1092"/>
                    <a:pt x="439" y="1086"/>
                  </a:cubicBezTo>
                  <a:cubicBezTo>
                    <a:pt x="441" y="1080"/>
                    <a:pt x="425" y="1064"/>
                    <a:pt x="435" y="1067"/>
                  </a:cubicBezTo>
                  <a:cubicBezTo>
                    <a:pt x="438" y="1068"/>
                    <a:pt x="435" y="1071"/>
                    <a:pt x="438" y="1072"/>
                  </a:cubicBezTo>
                  <a:cubicBezTo>
                    <a:pt x="443" y="1073"/>
                    <a:pt x="441" y="1061"/>
                    <a:pt x="441" y="1061"/>
                  </a:cubicBezTo>
                  <a:cubicBezTo>
                    <a:pt x="445" y="1060"/>
                    <a:pt x="446" y="1051"/>
                    <a:pt x="450" y="1052"/>
                  </a:cubicBezTo>
                  <a:cubicBezTo>
                    <a:pt x="451" y="1053"/>
                    <a:pt x="450" y="1059"/>
                    <a:pt x="450" y="1059"/>
                  </a:cubicBezTo>
                  <a:cubicBezTo>
                    <a:pt x="445" y="1065"/>
                    <a:pt x="463" y="1079"/>
                    <a:pt x="469" y="1079"/>
                  </a:cubicBezTo>
                  <a:cubicBezTo>
                    <a:pt x="471" y="1080"/>
                    <a:pt x="461" y="1070"/>
                    <a:pt x="467" y="1067"/>
                  </a:cubicBezTo>
                  <a:cubicBezTo>
                    <a:pt x="473" y="1065"/>
                    <a:pt x="477" y="1081"/>
                    <a:pt x="479" y="1082"/>
                  </a:cubicBezTo>
                  <a:cubicBezTo>
                    <a:pt x="481" y="1084"/>
                    <a:pt x="497" y="1093"/>
                    <a:pt x="496" y="1094"/>
                  </a:cubicBezTo>
                  <a:cubicBezTo>
                    <a:pt x="493" y="1099"/>
                    <a:pt x="479" y="1081"/>
                    <a:pt x="480" y="1090"/>
                  </a:cubicBezTo>
                  <a:cubicBezTo>
                    <a:pt x="482" y="1105"/>
                    <a:pt x="519" y="1113"/>
                    <a:pt x="519" y="1132"/>
                  </a:cubicBezTo>
                  <a:cubicBezTo>
                    <a:pt x="520" y="1134"/>
                    <a:pt x="513" y="1125"/>
                    <a:pt x="513" y="1130"/>
                  </a:cubicBezTo>
                  <a:cubicBezTo>
                    <a:pt x="512" y="1142"/>
                    <a:pt x="494" y="1105"/>
                    <a:pt x="487" y="1110"/>
                  </a:cubicBezTo>
                  <a:cubicBezTo>
                    <a:pt x="485" y="1112"/>
                    <a:pt x="491" y="1117"/>
                    <a:pt x="491" y="1119"/>
                  </a:cubicBezTo>
                  <a:cubicBezTo>
                    <a:pt x="492" y="1122"/>
                    <a:pt x="486" y="1117"/>
                    <a:pt x="486" y="1117"/>
                  </a:cubicBezTo>
                  <a:cubicBezTo>
                    <a:pt x="481" y="1115"/>
                    <a:pt x="485" y="1128"/>
                    <a:pt x="485" y="1134"/>
                  </a:cubicBezTo>
                  <a:cubicBezTo>
                    <a:pt x="485" y="1136"/>
                    <a:pt x="479" y="1128"/>
                    <a:pt x="479" y="1131"/>
                  </a:cubicBezTo>
                  <a:cubicBezTo>
                    <a:pt x="480" y="1137"/>
                    <a:pt x="497" y="1141"/>
                    <a:pt x="492" y="1146"/>
                  </a:cubicBezTo>
                  <a:cubicBezTo>
                    <a:pt x="488" y="1150"/>
                    <a:pt x="478" y="1136"/>
                    <a:pt x="474" y="1138"/>
                  </a:cubicBezTo>
                  <a:cubicBezTo>
                    <a:pt x="471" y="1140"/>
                    <a:pt x="463" y="1144"/>
                    <a:pt x="466" y="1149"/>
                  </a:cubicBezTo>
                  <a:cubicBezTo>
                    <a:pt x="475" y="1163"/>
                    <a:pt x="459" y="1148"/>
                    <a:pt x="460" y="1151"/>
                  </a:cubicBezTo>
                  <a:cubicBezTo>
                    <a:pt x="460" y="1160"/>
                    <a:pt x="481" y="1170"/>
                    <a:pt x="484" y="1179"/>
                  </a:cubicBezTo>
                  <a:cubicBezTo>
                    <a:pt x="485" y="1182"/>
                    <a:pt x="482" y="1169"/>
                    <a:pt x="485" y="1168"/>
                  </a:cubicBezTo>
                  <a:cubicBezTo>
                    <a:pt x="489" y="1166"/>
                    <a:pt x="487" y="1157"/>
                    <a:pt x="491" y="1156"/>
                  </a:cubicBezTo>
                  <a:cubicBezTo>
                    <a:pt x="493" y="1156"/>
                    <a:pt x="493" y="1162"/>
                    <a:pt x="494" y="1163"/>
                  </a:cubicBezTo>
                  <a:cubicBezTo>
                    <a:pt x="494" y="1166"/>
                    <a:pt x="481" y="1175"/>
                    <a:pt x="500" y="1181"/>
                  </a:cubicBezTo>
                  <a:cubicBezTo>
                    <a:pt x="500" y="1181"/>
                    <a:pt x="497" y="1154"/>
                    <a:pt x="500" y="1152"/>
                  </a:cubicBezTo>
                  <a:cubicBezTo>
                    <a:pt x="503" y="1147"/>
                    <a:pt x="504" y="1150"/>
                    <a:pt x="515" y="1146"/>
                  </a:cubicBezTo>
                  <a:cubicBezTo>
                    <a:pt x="515" y="1146"/>
                    <a:pt x="510" y="1139"/>
                    <a:pt x="517" y="1140"/>
                  </a:cubicBezTo>
                  <a:cubicBezTo>
                    <a:pt x="520" y="1140"/>
                    <a:pt x="530" y="1150"/>
                    <a:pt x="533" y="1147"/>
                  </a:cubicBezTo>
                  <a:cubicBezTo>
                    <a:pt x="537" y="1141"/>
                    <a:pt x="504" y="1109"/>
                    <a:pt x="511" y="1106"/>
                  </a:cubicBezTo>
                  <a:cubicBezTo>
                    <a:pt x="512" y="1105"/>
                    <a:pt x="516" y="1109"/>
                    <a:pt x="517" y="1110"/>
                  </a:cubicBezTo>
                  <a:cubicBezTo>
                    <a:pt x="519" y="1116"/>
                    <a:pt x="548" y="1155"/>
                    <a:pt x="556" y="1148"/>
                  </a:cubicBezTo>
                  <a:cubicBezTo>
                    <a:pt x="570" y="1136"/>
                    <a:pt x="523" y="1102"/>
                    <a:pt x="523" y="1096"/>
                  </a:cubicBezTo>
                  <a:cubicBezTo>
                    <a:pt x="523" y="1093"/>
                    <a:pt x="531" y="1098"/>
                    <a:pt x="532" y="1100"/>
                  </a:cubicBezTo>
                  <a:cubicBezTo>
                    <a:pt x="533" y="1102"/>
                    <a:pt x="552" y="1122"/>
                    <a:pt x="552" y="1121"/>
                  </a:cubicBezTo>
                  <a:cubicBezTo>
                    <a:pt x="559" y="1117"/>
                    <a:pt x="546" y="1106"/>
                    <a:pt x="548" y="1099"/>
                  </a:cubicBezTo>
                  <a:cubicBezTo>
                    <a:pt x="548" y="1098"/>
                    <a:pt x="542" y="1092"/>
                    <a:pt x="543" y="1091"/>
                  </a:cubicBezTo>
                  <a:cubicBezTo>
                    <a:pt x="544" y="1091"/>
                    <a:pt x="557" y="1105"/>
                    <a:pt x="558" y="1101"/>
                  </a:cubicBezTo>
                  <a:cubicBezTo>
                    <a:pt x="559" y="1095"/>
                    <a:pt x="543" y="1093"/>
                    <a:pt x="544" y="1088"/>
                  </a:cubicBezTo>
                  <a:cubicBezTo>
                    <a:pt x="546" y="1082"/>
                    <a:pt x="557" y="1094"/>
                    <a:pt x="562" y="1091"/>
                  </a:cubicBezTo>
                  <a:cubicBezTo>
                    <a:pt x="566" y="1090"/>
                    <a:pt x="566" y="1079"/>
                    <a:pt x="575" y="1085"/>
                  </a:cubicBezTo>
                  <a:cubicBezTo>
                    <a:pt x="580" y="1088"/>
                    <a:pt x="562" y="1087"/>
                    <a:pt x="570" y="1093"/>
                  </a:cubicBezTo>
                  <a:cubicBezTo>
                    <a:pt x="580" y="1099"/>
                    <a:pt x="578" y="1101"/>
                    <a:pt x="568" y="1094"/>
                  </a:cubicBezTo>
                  <a:cubicBezTo>
                    <a:pt x="563" y="1091"/>
                    <a:pt x="566" y="1094"/>
                    <a:pt x="565" y="1095"/>
                  </a:cubicBezTo>
                  <a:cubicBezTo>
                    <a:pt x="563" y="1098"/>
                    <a:pt x="572" y="1102"/>
                    <a:pt x="569" y="1104"/>
                  </a:cubicBezTo>
                  <a:cubicBezTo>
                    <a:pt x="565" y="1106"/>
                    <a:pt x="562" y="1099"/>
                    <a:pt x="562" y="1099"/>
                  </a:cubicBezTo>
                  <a:cubicBezTo>
                    <a:pt x="561" y="1100"/>
                    <a:pt x="559" y="1103"/>
                    <a:pt x="559" y="1104"/>
                  </a:cubicBezTo>
                  <a:cubicBezTo>
                    <a:pt x="564" y="1119"/>
                    <a:pt x="565" y="1105"/>
                    <a:pt x="575" y="1109"/>
                  </a:cubicBezTo>
                  <a:cubicBezTo>
                    <a:pt x="576" y="1110"/>
                    <a:pt x="589" y="1116"/>
                    <a:pt x="588" y="1116"/>
                  </a:cubicBezTo>
                  <a:cubicBezTo>
                    <a:pt x="581" y="1120"/>
                    <a:pt x="575" y="1109"/>
                    <a:pt x="572" y="1111"/>
                  </a:cubicBezTo>
                  <a:cubicBezTo>
                    <a:pt x="568" y="1113"/>
                    <a:pt x="576" y="1123"/>
                    <a:pt x="572" y="1123"/>
                  </a:cubicBezTo>
                  <a:cubicBezTo>
                    <a:pt x="568" y="1123"/>
                    <a:pt x="560" y="1114"/>
                    <a:pt x="558" y="1115"/>
                  </a:cubicBezTo>
                  <a:cubicBezTo>
                    <a:pt x="557" y="1116"/>
                    <a:pt x="560" y="1120"/>
                    <a:pt x="560" y="1121"/>
                  </a:cubicBezTo>
                  <a:cubicBezTo>
                    <a:pt x="563" y="1128"/>
                    <a:pt x="566" y="1131"/>
                    <a:pt x="572" y="1136"/>
                  </a:cubicBezTo>
                  <a:cubicBezTo>
                    <a:pt x="572" y="1137"/>
                    <a:pt x="577" y="1139"/>
                    <a:pt x="577" y="1140"/>
                  </a:cubicBezTo>
                  <a:cubicBezTo>
                    <a:pt x="571" y="1148"/>
                    <a:pt x="570" y="1132"/>
                    <a:pt x="568" y="1143"/>
                  </a:cubicBezTo>
                  <a:cubicBezTo>
                    <a:pt x="567" y="1145"/>
                    <a:pt x="580" y="1149"/>
                    <a:pt x="576" y="1151"/>
                  </a:cubicBezTo>
                  <a:cubicBezTo>
                    <a:pt x="573" y="1153"/>
                    <a:pt x="563" y="1140"/>
                    <a:pt x="561" y="1144"/>
                  </a:cubicBezTo>
                  <a:cubicBezTo>
                    <a:pt x="559" y="1147"/>
                    <a:pt x="562" y="1148"/>
                    <a:pt x="562" y="1148"/>
                  </a:cubicBezTo>
                  <a:cubicBezTo>
                    <a:pt x="560" y="1152"/>
                    <a:pt x="555" y="1150"/>
                    <a:pt x="554" y="1156"/>
                  </a:cubicBezTo>
                  <a:cubicBezTo>
                    <a:pt x="554" y="1157"/>
                    <a:pt x="553" y="1161"/>
                    <a:pt x="555" y="1161"/>
                  </a:cubicBezTo>
                  <a:cubicBezTo>
                    <a:pt x="557" y="1161"/>
                    <a:pt x="564" y="1159"/>
                    <a:pt x="559" y="1162"/>
                  </a:cubicBezTo>
                  <a:cubicBezTo>
                    <a:pt x="558" y="1163"/>
                    <a:pt x="556" y="1166"/>
                    <a:pt x="559" y="1166"/>
                  </a:cubicBezTo>
                  <a:cubicBezTo>
                    <a:pt x="560" y="1167"/>
                    <a:pt x="567" y="1157"/>
                    <a:pt x="566" y="1165"/>
                  </a:cubicBezTo>
                  <a:cubicBezTo>
                    <a:pt x="566" y="1165"/>
                    <a:pt x="569" y="1173"/>
                    <a:pt x="567" y="1173"/>
                  </a:cubicBezTo>
                  <a:cubicBezTo>
                    <a:pt x="567" y="1174"/>
                    <a:pt x="554" y="1167"/>
                    <a:pt x="554" y="1166"/>
                  </a:cubicBezTo>
                  <a:cubicBezTo>
                    <a:pt x="554" y="1157"/>
                    <a:pt x="547" y="1173"/>
                    <a:pt x="544" y="1171"/>
                  </a:cubicBezTo>
                  <a:cubicBezTo>
                    <a:pt x="541" y="1168"/>
                    <a:pt x="559" y="1160"/>
                    <a:pt x="544" y="1148"/>
                  </a:cubicBezTo>
                  <a:cubicBezTo>
                    <a:pt x="543" y="1148"/>
                    <a:pt x="543" y="1147"/>
                    <a:pt x="543" y="1147"/>
                  </a:cubicBezTo>
                  <a:cubicBezTo>
                    <a:pt x="541" y="1148"/>
                    <a:pt x="541" y="1170"/>
                    <a:pt x="538" y="1173"/>
                  </a:cubicBezTo>
                  <a:cubicBezTo>
                    <a:pt x="531" y="1182"/>
                    <a:pt x="522" y="1175"/>
                    <a:pt x="520" y="1187"/>
                  </a:cubicBezTo>
                  <a:cubicBezTo>
                    <a:pt x="520" y="1189"/>
                    <a:pt x="525" y="1193"/>
                    <a:pt x="523" y="1193"/>
                  </a:cubicBezTo>
                  <a:cubicBezTo>
                    <a:pt x="515" y="1193"/>
                    <a:pt x="513" y="1178"/>
                    <a:pt x="518" y="1178"/>
                  </a:cubicBezTo>
                  <a:cubicBezTo>
                    <a:pt x="526" y="1179"/>
                    <a:pt x="514" y="1173"/>
                    <a:pt x="518" y="1172"/>
                  </a:cubicBezTo>
                  <a:cubicBezTo>
                    <a:pt x="523" y="1172"/>
                    <a:pt x="525" y="1175"/>
                    <a:pt x="528" y="1175"/>
                  </a:cubicBezTo>
                  <a:cubicBezTo>
                    <a:pt x="530" y="1174"/>
                    <a:pt x="527" y="1170"/>
                    <a:pt x="526" y="1168"/>
                  </a:cubicBezTo>
                  <a:cubicBezTo>
                    <a:pt x="526" y="1168"/>
                    <a:pt x="526" y="1168"/>
                    <a:pt x="526" y="1168"/>
                  </a:cubicBezTo>
                  <a:cubicBezTo>
                    <a:pt x="531" y="1175"/>
                    <a:pt x="542" y="1146"/>
                    <a:pt x="514" y="1149"/>
                  </a:cubicBezTo>
                  <a:cubicBezTo>
                    <a:pt x="491" y="1151"/>
                    <a:pt x="515" y="1189"/>
                    <a:pt x="510" y="1192"/>
                  </a:cubicBezTo>
                  <a:cubicBezTo>
                    <a:pt x="508" y="1193"/>
                    <a:pt x="493" y="1176"/>
                    <a:pt x="487" y="1179"/>
                  </a:cubicBezTo>
                  <a:cubicBezTo>
                    <a:pt x="480" y="1182"/>
                    <a:pt x="507" y="1192"/>
                    <a:pt x="501" y="1197"/>
                  </a:cubicBezTo>
                  <a:cubicBezTo>
                    <a:pt x="496" y="1201"/>
                    <a:pt x="482" y="1185"/>
                    <a:pt x="481" y="1179"/>
                  </a:cubicBezTo>
                  <a:cubicBezTo>
                    <a:pt x="481" y="1177"/>
                    <a:pt x="480" y="1183"/>
                    <a:pt x="479" y="1185"/>
                  </a:cubicBezTo>
                  <a:cubicBezTo>
                    <a:pt x="478" y="1190"/>
                    <a:pt x="493" y="1197"/>
                    <a:pt x="488" y="1199"/>
                  </a:cubicBezTo>
                  <a:cubicBezTo>
                    <a:pt x="487" y="1200"/>
                    <a:pt x="480" y="1195"/>
                    <a:pt x="478" y="1196"/>
                  </a:cubicBezTo>
                  <a:cubicBezTo>
                    <a:pt x="478" y="1196"/>
                    <a:pt x="477" y="1211"/>
                    <a:pt x="477" y="1214"/>
                  </a:cubicBezTo>
                  <a:cubicBezTo>
                    <a:pt x="476" y="1215"/>
                    <a:pt x="483" y="1224"/>
                    <a:pt x="483" y="1223"/>
                  </a:cubicBezTo>
                  <a:cubicBezTo>
                    <a:pt x="472" y="1221"/>
                    <a:pt x="475" y="1204"/>
                    <a:pt x="473" y="1204"/>
                  </a:cubicBezTo>
                  <a:cubicBezTo>
                    <a:pt x="471" y="1203"/>
                    <a:pt x="469" y="1210"/>
                    <a:pt x="469" y="1211"/>
                  </a:cubicBezTo>
                  <a:cubicBezTo>
                    <a:pt x="467" y="1215"/>
                    <a:pt x="462" y="1224"/>
                    <a:pt x="464" y="1229"/>
                  </a:cubicBezTo>
                  <a:cubicBezTo>
                    <a:pt x="464" y="1231"/>
                    <a:pt x="480" y="1234"/>
                    <a:pt x="477" y="1239"/>
                  </a:cubicBezTo>
                  <a:cubicBezTo>
                    <a:pt x="476" y="1240"/>
                    <a:pt x="468" y="1234"/>
                    <a:pt x="465" y="1234"/>
                  </a:cubicBezTo>
                  <a:cubicBezTo>
                    <a:pt x="463" y="1234"/>
                    <a:pt x="467" y="1242"/>
                    <a:pt x="463" y="1240"/>
                  </a:cubicBezTo>
                  <a:cubicBezTo>
                    <a:pt x="462" y="1240"/>
                    <a:pt x="460" y="1242"/>
                    <a:pt x="455" y="1244"/>
                  </a:cubicBezTo>
                  <a:cubicBezTo>
                    <a:pt x="454" y="1244"/>
                    <a:pt x="453" y="1236"/>
                    <a:pt x="449" y="1239"/>
                  </a:cubicBezTo>
                  <a:cubicBezTo>
                    <a:pt x="447" y="1241"/>
                    <a:pt x="452" y="1246"/>
                    <a:pt x="454" y="1247"/>
                  </a:cubicBezTo>
                  <a:cubicBezTo>
                    <a:pt x="456" y="1250"/>
                    <a:pt x="444" y="1246"/>
                    <a:pt x="449" y="1251"/>
                  </a:cubicBezTo>
                  <a:cubicBezTo>
                    <a:pt x="454" y="1256"/>
                    <a:pt x="456" y="1248"/>
                    <a:pt x="460" y="1252"/>
                  </a:cubicBezTo>
                  <a:cubicBezTo>
                    <a:pt x="462" y="1254"/>
                    <a:pt x="458" y="1257"/>
                    <a:pt x="455" y="1257"/>
                  </a:cubicBezTo>
                  <a:cubicBezTo>
                    <a:pt x="447" y="1258"/>
                    <a:pt x="445" y="1262"/>
                    <a:pt x="445" y="1272"/>
                  </a:cubicBezTo>
                  <a:cubicBezTo>
                    <a:pt x="445" y="1278"/>
                    <a:pt x="459" y="1261"/>
                    <a:pt x="460" y="1262"/>
                  </a:cubicBezTo>
                  <a:cubicBezTo>
                    <a:pt x="466" y="1267"/>
                    <a:pt x="449" y="1285"/>
                    <a:pt x="449" y="1285"/>
                  </a:cubicBezTo>
                  <a:cubicBezTo>
                    <a:pt x="450" y="1287"/>
                    <a:pt x="462" y="1293"/>
                    <a:pt x="464" y="1298"/>
                  </a:cubicBezTo>
                  <a:cubicBezTo>
                    <a:pt x="467" y="1305"/>
                    <a:pt x="447" y="1289"/>
                    <a:pt x="443" y="1295"/>
                  </a:cubicBezTo>
                  <a:cubicBezTo>
                    <a:pt x="442" y="1296"/>
                    <a:pt x="444" y="1299"/>
                    <a:pt x="445" y="1298"/>
                  </a:cubicBezTo>
                  <a:cubicBezTo>
                    <a:pt x="456" y="1294"/>
                    <a:pt x="441" y="1311"/>
                    <a:pt x="442" y="1311"/>
                  </a:cubicBezTo>
                  <a:cubicBezTo>
                    <a:pt x="451" y="1315"/>
                    <a:pt x="457" y="1308"/>
                    <a:pt x="458" y="1318"/>
                  </a:cubicBezTo>
                  <a:cubicBezTo>
                    <a:pt x="458" y="1320"/>
                    <a:pt x="451" y="1317"/>
                    <a:pt x="450" y="1317"/>
                  </a:cubicBezTo>
                  <a:cubicBezTo>
                    <a:pt x="447" y="1315"/>
                    <a:pt x="442" y="1315"/>
                    <a:pt x="439" y="1317"/>
                  </a:cubicBezTo>
                  <a:cubicBezTo>
                    <a:pt x="435" y="1318"/>
                    <a:pt x="448" y="1322"/>
                    <a:pt x="447" y="1326"/>
                  </a:cubicBezTo>
                  <a:cubicBezTo>
                    <a:pt x="446" y="1328"/>
                    <a:pt x="437" y="1334"/>
                    <a:pt x="440" y="1340"/>
                  </a:cubicBezTo>
                  <a:cubicBezTo>
                    <a:pt x="442" y="1342"/>
                    <a:pt x="443" y="1336"/>
                    <a:pt x="444" y="1335"/>
                  </a:cubicBezTo>
                  <a:cubicBezTo>
                    <a:pt x="445" y="1334"/>
                    <a:pt x="444" y="1339"/>
                    <a:pt x="445" y="1340"/>
                  </a:cubicBezTo>
                  <a:cubicBezTo>
                    <a:pt x="447" y="1342"/>
                    <a:pt x="449" y="1338"/>
                    <a:pt x="452" y="1339"/>
                  </a:cubicBezTo>
                  <a:cubicBezTo>
                    <a:pt x="457" y="1341"/>
                    <a:pt x="464" y="1347"/>
                    <a:pt x="469" y="1346"/>
                  </a:cubicBezTo>
                  <a:cubicBezTo>
                    <a:pt x="471" y="1346"/>
                    <a:pt x="467" y="1340"/>
                    <a:pt x="471" y="1341"/>
                  </a:cubicBezTo>
                  <a:cubicBezTo>
                    <a:pt x="479" y="1343"/>
                    <a:pt x="488" y="1358"/>
                    <a:pt x="492" y="1356"/>
                  </a:cubicBezTo>
                  <a:cubicBezTo>
                    <a:pt x="502" y="1351"/>
                    <a:pt x="487" y="1350"/>
                    <a:pt x="490" y="1344"/>
                  </a:cubicBezTo>
                  <a:cubicBezTo>
                    <a:pt x="493" y="1340"/>
                    <a:pt x="505" y="1330"/>
                    <a:pt x="506" y="1328"/>
                  </a:cubicBezTo>
                  <a:cubicBezTo>
                    <a:pt x="506" y="1326"/>
                    <a:pt x="512" y="1317"/>
                    <a:pt x="515" y="1320"/>
                  </a:cubicBezTo>
                  <a:cubicBezTo>
                    <a:pt x="517" y="1322"/>
                    <a:pt x="500" y="1336"/>
                    <a:pt x="500" y="1338"/>
                  </a:cubicBezTo>
                  <a:cubicBezTo>
                    <a:pt x="500" y="1339"/>
                    <a:pt x="507" y="1338"/>
                    <a:pt x="508" y="1339"/>
                  </a:cubicBezTo>
                  <a:cubicBezTo>
                    <a:pt x="509" y="1340"/>
                    <a:pt x="506" y="1343"/>
                    <a:pt x="507" y="1344"/>
                  </a:cubicBezTo>
                  <a:cubicBezTo>
                    <a:pt x="508" y="1346"/>
                    <a:pt x="507" y="1351"/>
                    <a:pt x="503" y="1349"/>
                  </a:cubicBezTo>
                  <a:cubicBezTo>
                    <a:pt x="502" y="1348"/>
                    <a:pt x="504" y="1339"/>
                    <a:pt x="501" y="1343"/>
                  </a:cubicBezTo>
                  <a:cubicBezTo>
                    <a:pt x="499" y="1346"/>
                    <a:pt x="493" y="1343"/>
                    <a:pt x="493" y="1346"/>
                  </a:cubicBezTo>
                  <a:cubicBezTo>
                    <a:pt x="492" y="1350"/>
                    <a:pt x="499" y="1351"/>
                    <a:pt x="500" y="1354"/>
                  </a:cubicBezTo>
                  <a:cubicBezTo>
                    <a:pt x="504" y="1364"/>
                    <a:pt x="493" y="1360"/>
                    <a:pt x="507" y="1370"/>
                  </a:cubicBezTo>
                  <a:cubicBezTo>
                    <a:pt x="512" y="1373"/>
                    <a:pt x="502" y="1372"/>
                    <a:pt x="499" y="1374"/>
                  </a:cubicBezTo>
                  <a:close/>
                  <a:moveTo>
                    <a:pt x="514" y="1276"/>
                  </a:moveTo>
                  <a:cubicBezTo>
                    <a:pt x="515" y="1272"/>
                    <a:pt x="524" y="1285"/>
                    <a:pt x="524" y="1280"/>
                  </a:cubicBezTo>
                  <a:cubicBezTo>
                    <a:pt x="524" y="1278"/>
                    <a:pt x="523" y="1272"/>
                    <a:pt x="525" y="1273"/>
                  </a:cubicBezTo>
                  <a:cubicBezTo>
                    <a:pt x="530" y="1277"/>
                    <a:pt x="530" y="1280"/>
                    <a:pt x="534" y="1285"/>
                  </a:cubicBezTo>
                  <a:cubicBezTo>
                    <a:pt x="536" y="1287"/>
                    <a:pt x="530" y="1290"/>
                    <a:pt x="532" y="1291"/>
                  </a:cubicBezTo>
                  <a:cubicBezTo>
                    <a:pt x="540" y="1295"/>
                    <a:pt x="522" y="1293"/>
                    <a:pt x="521" y="1293"/>
                  </a:cubicBezTo>
                  <a:cubicBezTo>
                    <a:pt x="513" y="1292"/>
                    <a:pt x="505" y="1274"/>
                    <a:pt x="503" y="1274"/>
                  </a:cubicBezTo>
                  <a:cubicBezTo>
                    <a:pt x="497" y="1274"/>
                    <a:pt x="504" y="1284"/>
                    <a:pt x="496" y="1278"/>
                  </a:cubicBezTo>
                  <a:cubicBezTo>
                    <a:pt x="496" y="1278"/>
                    <a:pt x="490" y="1276"/>
                    <a:pt x="490" y="1276"/>
                  </a:cubicBezTo>
                  <a:cubicBezTo>
                    <a:pt x="487" y="1277"/>
                    <a:pt x="491" y="1281"/>
                    <a:pt x="490" y="1282"/>
                  </a:cubicBezTo>
                  <a:cubicBezTo>
                    <a:pt x="483" y="1295"/>
                    <a:pt x="500" y="1276"/>
                    <a:pt x="498" y="1289"/>
                  </a:cubicBezTo>
                  <a:cubicBezTo>
                    <a:pt x="497" y="1290"/>
                    <a:pt x="501" y="1290"/>
                    <a:pt x="501" y="1292"/>
                  </a:cubicBezTo>
                  <a:cubicBezTo>
                    <a:pt x="499" y="1302"/>
                    <a:pt x="498" y="1305"/>
                    <a:pt x="489" y="1304"/>
                  </a:cubicBezTo>
                  <a:cubicBezTo>
                    <a:pt x="488" y="1304"/>
                    <a:pt x="484" y="1302"/>
                    <a:pt x="484" y="1300"/>
                  </a:cubicBezTo>
                  <a:cubicBezTo>
                    <a:pt x="484" y="1300"/>
                    <a:pt x="484" y="1300"/>
                    <a:pt x="484" y="1300"/>
                  </a:cubicBezTo>
                  <a:cubicBezTo>
                    <a:pt x="485" y="1291"/>
                    <a:pt x="478" y="1294"/>
                    <a:pt x="477" y="1293"/>
                  </a:cubicBezTo>
                  <a:cubicBezTo>
                    <a:pt x="468" y="1283"/>
                    <a:pt x="474" y="1287"/>
                    <a:pt x="481" y="1273"/>
                  </a:cubicBezTo>
                  <a:cubicBezTo>
                    <a:pt x="483" y="1270"/>
                    <a:pt x="474" y="1270"/>
                    <a:pt x="477" y="1265"/>
                  </a:cubicBezTo>
                  <a:cubicBezTo>
                    <a:pt x="478" y="1263"/>
                    <a:pt x="492" y="1277"/>
                    <a:pt x="497" y="1275"/>
                  </a:cubicBezTo>
                  <a:cubicBezTo>
                    <a:pt x="500" y="1273"/>
                    <a:pt x="497" y="1258"/>
                    <a:pt x="502" y="1258"/>
                  </a:cubicBezTo>
                  <a:cubicBezTo>
                    <a:pt x="509" y="1259"/>
                    <a:pt x="505" y="1279"/>
                    <a:pt x="515" y="1284"/>
                  </a:cubicBezTo>
                  <a:cubicBezTo>
                    <a:pt x="517" y="1285"/>
                    <a:pt x="513" y="1279"/>
                    <a:pt x="514" y="1276"/>
                  </a:cubicBezTo>
                  <a:close/>
                  <a:moveTo>
                    <a:pt x="536" y="1387"/>
                  </a:moveTo>
                  <a:cubicBezTo>
                    <a:pt x="535" y="1388"/>
                    <a:pt x="534" y="1385"/>
                    <a:pt x="533" y="1385"/>
                  </a:cubicBezTo>
                  <a:cubicBezTo>
                    <a:pt x="512" y="1383"/>
                    <a:pt x="534" y="1400"/>
                    <a:pt x="519" y="1398"/>
                  </a:cubicBezTo>
                  <a:cubicBezTo>
                    <a:pt x="519" y="1398"/>
                    <a:pt x="521" y="1392"/>
                    <a:pt x="515" y="1395"/>
                  </a:cubicBezTo>
                  <a:cubicBezTo>
                    <a:pt x="513" y="1396"/>
                    <a:pt x="508" y="1398"/>
                    <a:pt x="507" y="1394"/>
                  </a:cubicBezTo>
                  <a:cubicBezTo>
                    <a:pt x="506" y="1390"/>
                    <a:pt x="511" y="1391"/>
                    <a:pt x="512" y="1391"/>
                  </a:cubicBezTo>
                  <a:cubicBezTo>
                    <a:pt x="529" y="1395"/>
                    <a:pt x="511" y="1377"/>
                    <a:pt x="512" y="1377"/>
                  </a:cubicBezTo>
                  <a:cubicBezTo>
                    <a:pt x="512" y="1377"/>
                    <a:pt x="535" y="1377"/>
                    <a:pt x="535" y="1382"/>
                  </a:cubicBezTo>
                  <a:cubicBezTo>
                    <a:pt x="535" y="1383"/>
                    <a:pt x="535" y="1383"/>
                    <a:pt x="535" y="1383"/>
                  </a:cubicBezTo>
                  <a:cubicBezTo>
                    <a:pt x="535" y="1383"/>
                    <a:pt x="536" y="1387"/>
                    <a:pt x="536" y="1387"/>
                  </a:cubicBezTo>
                  <a:close/>
                  <a:moveTo>
                    <a:pt x="541" y="1325"/>
                  </a:moveTo>
                  <a:cubicBezTo>
                    <a:pt x="539" y="1328"/>
                    <a:pt x="555" y="1330"/>
                    <a:pt x="556" y="1338"/>
                  </a:cubicBezTo>
                  <a:cubicBezTo>
                    <a:pt x="557" y="1342"/>
                    <a:pt x="548" y="1349"/>
                    <a:pt x="552" y="1353"/>
                  </a:cubicBezTo>
                  <a:cubicBezTo>
                    <a:pt x="553" y="1354"/>
                    <a:pt x="554" y="1349"/>
                    <a:pt x="555" y="1349"/>
                  </a:cubicBezTo>
                  <a:cubicBezTo>
                    <a:pt x="558" y="1345"/>
                    <a:pt x="556" y="1355"/>
                    <a:pt x="556" y="1355"/>
                  </a:cubicBezTo>
                  <a:cubicBezTo>
                    <a:pt x="559" y="1362"/>
                    <a:pt x="565" y="1358"/>
                    <a:pt x="568" y="1363"/>
                  </a:cubicBezTo>
                  <a:cubicBezTo>
                    <a:pt x="568" y="1363"/>
                    <a:pt x="569" y="1363"/>
                    <a:pt x="569" y="1363"/>
                  </a:cubicBezTo>
                  <a:cubicBezTo>
                    <a:pt x="569" y="1365"/>
                    <a:pt x="565" y="1364"/>
                    <a:pt x="564" y="1364"/>
                  </a:cubicBezTo>
                  <a:cubicBezTo>
                    <a:pt x="559" y="1365"/>
                    <a:pt x="556" y="1353"/>
                    <a:pt x="552" y="1356"/>
                  </a:cubicBezTo>
                  <a:cubicBezTo>
                    <a:pt x="548" y="1360"/>
                    <a:pt x="561" y="1371"/>
                    <a:pt x="550" y="1369"/>
                  </a:cubicBezTo>
                  <a:cubicBezTo>
                    <a:pt x="549" y="1368"/>
                    <a:pt x="547" y="1372"/>
                    <a:pt x="546" y="1369"/>
                  </a:cubicBezTo>
                  <a:cubicBezTo>
                    <a:pt x="546" y="1368"/>
                    <a:pt x="546" y="1368"/>
                    <a:pt x="546" y="1368"/>
                  </a:cubicBezTo>
                  <a:cubicBezTo>
                    <a:pt x="549" y="1355"/>
                    <a:pt x="536" y="1359"/>
                    <a:pt x="534" y="1347"/>
                  </a:cubicBezTo>
                  <a:cubicBezTo>
                    <a:pt x="534" y="1344"/>
                    <a:pt x="540" y="1349"/>
                    <a:pt x="541" y="1348"/>
                  </a:cubicBezTo>
                  <a:cubicBezTo>
                    <a:pt x="543" y="1344"/>
                    <a:pt x="550" y="1350"/>
                    <a:pt x="553" y="1340"/>
                  </a:cubicBezTo>
                  <a:cubicBezTo>
                    <a:pt x="553" y="1339"/>
                    <a:pt x="553" y="1337"/>
                    <a:pt x="553" y="1337"/>
                  </a:cubicBezTo>
                  <a:cubicBezTo>
                    <a:pt x="551" y="1333"/>
                    <a:pt x="536" y="1332"/>
                    <a:pt x="536" y="1325"/>
                  </a:cubicBezTo>
                  <a:cubicBezTo>
                    <a:pt x="535" y="1320"/>
                    <a:pt x="540" y="1316"/>
                    <a:pt x="544" y="1312"/>
                  </a:cubicBezTo>
                  <a:cubicBezTo>
                    <a:pt x="548" y="1306"/>
                    <a:pt x="537" y="1282"/>
                    <a:pt x="538" y="1282"/>
                  </a:cubicBezTo>
                  <a:cubicBezTo>
                    <a:pt x="538" y="1281"/>
                    <a:pt x="542" y="1287"/>
                    <a:pt x="542" y="1288"/>
                  </a:cubicBezTo>
                  <a:cubicBezTo>
                    <a:pt x="544" y="1291"/>
                    <a:pt x="550" y="1298"/>
                    <a:pt x="548" y="1309"/>
                  </a:cubicBezTo>
                  <a:cubicBezTo>
                    <a:pt x="548" y="1310"/>
                    <a:pt x="541" y="1320"/>
                    <a:pt x="544" y="1320"/>
                  </a:cubicBezTo>
                  <a:cubicBezTo>
                    <a:pt x="550" y="1321"/>
                    <a:pt x="548" y="1316"/>
                    <a:pt x="554" y="1319"/>
                  </a:cubicBezTo>
                  <a:cubicBezTo>
                    <a:pt x="557" y="1321"/>
                    <a:pt x="560" y="1320"/>
                    <a:pt x="563" y="1322"/>
                  </a:cubicBezTo>
                  <a:cubicBezTo>
                    <a:pt x="586" y="1335"/>
                    <a:pt x="546" y="1317"/>
                    <a:pt x="541" y="1325"/>
                  </a:cubicBezTo>
                  <a:close/>
                  <a:moveTo>
                    <a:pt x="573" y="1281"/>
                  </a:moveTo>
                  <a:cubicBezTo>
                    <a:pt x="572" y="1279"/>
                    <a:pt x="572" y="1285"/>
                    <a:pt x="570" y="1286"/>
                  </a:cubicBezTo>
                  <a:cubicBezTo>
                    <a:pt x="568" y="1288"/>
                    <a:pt x="562" y="1283"/>
                    <a:pt x="560" y="1282"/>
                  </a:cubicBezTo>
                  <a:cubicBezTo>
                    <a:pt x="551" y="1276"/>
                    <a:pt x="559" y="1286"/>
                    <a:pt x="549" y="1280"/>
                  </a:cubicBezTo>
                  <a:cubicBezTo>
                    <a:pt x="547" y="1279"/>
                    <a:pt x="544" y="1277"/>
                    <a:pt x="543" y="1279"/>
                  </a:cubicBezTo>
                  <a:cubicBezTo>
                    <a:pt x="542" y="1283"/>
                    <a:pt x="555" y="1289"/>
                    <a:pt x="557" y="1291"/>
                  </a:cubicBezTo>
                  <a:cubicBezTo>
                    <a:pt x="558" y="1292"/>
                    <a:pt x="556" y="1281"/>
                    <a:pt x="560" y="1285"/>
                  </a:cubicBezTo>
                  <a:cubicBezTo>
                    <a:pt x="561" y="1287"/>
                    <a:pt x="562" y="1293"/>
                    <a:pt x="562" y="1294"/>
                  </a:cubicBezTo>
                  <a:cubicBezTo>
                    <a:pt x="560" y="1294"/>
                    <a:pt x="566" y="1302"/>
                    <a:pt x="560" y="1302"/>
                  </a:cubicBezTo>
                  <a:cubicBezTo>
                    <a:pt x="556" y="1302"/>
                    <a:pt x="557" y="1295"/>
                    <a:pt x="555" y="1296"/>
                  </a:cubicBezTo>
                  <a:cubicBezTo>
                    <a:pt x="553" y="1296"/>
                    <a:pt x="557" y="1301"/>
                    <a:pt x="556" y="1302"/>
                  </a:cubicBezTo>
                  <a:cubicBezTo>
                    <a:pt x="553" y="1304"/>
                    <a:pt x="551" y="1300"/>
                    <a:pt x="551" y="1298"/>
                  </a:cubicBezTo>
                  <a:cubicBezTo>
                    <a:pt x="553" y="1291"/>
                    <a:pt x="536" y="1273"/>
                    <a:pt x="533" y="1270"/>
                  </a:cubicBezTo>
                  <a:cubicBezTo>
                    <a:pt x="531" y="1266"/>
                    <a:pt x="511" y="1265"/>
                    <a:pt x="509" y="1260"/>
                  </a:cubicBezTo>
                  <a:cubicBezTo>
                    <a:pt x="509" y="1259"/>
                    <a:pt x="505" y="1257"/>
                    <a:pt x="507" y="1255"/>
                  </a:cubicBezTo>
                  <a:cubicBezTo>
                    <a:pt x="508" y="1254"/>
                    <a:pt x="512" y="1258"/>
                    <a:pt x="514" y="1252"/>
                  </a:cubicBezTo>
                  <a:cubicBezTo>
                    <a:pt x="514" y="1250"/>
                    <a:pt x="515" y="1232"/>
                    <a:pt x="522" y="1238"/>
                  </a:cubicBezTo>
                  <a:cubicBezTo>
                    <a:pt x="529" y="1243"/>
                    <a:pt x="516" y="1244"/>
                    <a:pt x="517" y="1251"/>
                  </a:cubicBezTo>
                  <a:cubicBezTo>
                    <a:pt x="518" y="1256"/>
                    <a:pt x="512" y="1257"/>
                    <a:pt x="520" y="1259"/>
                  </a:cubicBezTo>
                  <a:cubicBezTo>
                    <a:pt x="521" y="1260"/>
                    <a:pt x="539" y="1248"/>
                    <a:pt x="528" y="1247"/>
                  </a:cubicBezTo>
                  <a:cubicBezTo>
                    <a:pt x="526" y="1247"/>
                    <a:pt x="530" y="1242"/>
                    <a:pt x="532" y="1243"/>
                  </a:cubicBezTo>
                  <a:cubicBezTo>
                    <a:pt x="536" y="1243"/>
                    <a:pt x="547" y="1261"/>
                    <a:pt x="553" y="1259"/>
                  </a:cubicBezTo>
                  <a:cubicBezTo>
                    <a:pt x="567" y="1254"/>
                    <a:pt x="540" y="1247"/>
                    <a:pt x="534" y="1234"/>
                  </a:cubicBezTo>
                  <a:cubicBezTo>
                    <a:pt x="534" y="1233"/>
                    <a:pt x="533" y="1229"/>
                    <a:pt x="533" y="1229"/>
                  </a:cubicBezTo>
                  <a:cubicBezTo>
                    <a:pt x="535" y="1229"/>
                    <a:pt x="538" y="1231"/>
                    <a:pt x="539" y="1232"/>
                  </a:cubicBezTo>
                  <a:cubicBezTo>
                    <a:pt x="540" y="1243"/>
                    <a:pt x="555" y="1239"/>
                    <a:pt x="564" y="1256"/>
                  </a:cubicBezTo>
                  <a:cubicBezTo>
                    <a:pt x="566" y="1259"/>
                    <a:pt x="559" y="1252"/>
                    <a:pt x="559" y="1255"/>
                  </a:cubicBezTo>
                  <a:cubicBezTo>
                    <a:pt x="558" y="1257"/>
                    <a:pt x="563" y="1259"/>
                    <a:pt x="564" y="1261"/>
                  </a:cubicBezTo>
                  <a:cubicBezTo>
                    <a:pt x="564" y="1265"/>
                    <a:pt x="560" y="1269"/>
                    <a:pt x="561" y="1273"/>
                  </a:cubicBezTo>
                  <a:cubicBezTo>
                    <a:pt x="563" y="1279"/>
                    <a:pt x="568" y="1278"/>
                    <a:pt x="572" y="1278"/>
                  </a:cubicBezTo>
                  <a:cubicBezTo>
                    <a:pt x="573" y="1278"/>
                    <a:pt x="573" y="1278"/>
                    <a:pt x="573" y="1278"/>
                  </a:cubicBezTo>
                  <a:cubicBezTo>
                    <a:pt x="573" y="1278"/>
                    <a:pt x="583" y="1293"/>
                    <a:pt x="573" y="1281"/>
                  </a:cubicBezTo>
                  <a:close/>
                  <a:moveTo>
                    <a:pt x="582" y="1249"/>
                  </a:moveTo>
                  <a:cubicBezTo>
                    <a:pt x="580" y="1248"/>
                    <a:pt x="568" y="1250"/>
                    <a:pt x="566" y="1244"/>
                  </a:cubicBezTo>
                  <a:cubicBezTo>
                    <a:pt x="562" y="1235"/>
                    <a:pt x="574" y="1245"/>
                    <a:pt x="577" y="1239"/>
                  </a:cubicBezTo>
                  <a:cubicBezTo>
                    <a:pt x="578" y="1235"/>
                    <a:pt x="560" y="1224"/>
                    <a:pt x="561" y="1216"/>
                  </a:cubicBezTo>
                  <a:cubicBezTo>
                    <a:pt x="561" y="1212"/>
                    <a:pt x="566" y="1221"/>
                    <a:pt x="568" y="1224"/>
                  </a:cubicBezTo>
                  <a:cubicBezTo>
                    <a:pt x="570" y="1228"/>
                    <a:pt x="571" y="1220"/>
                    <a:pt x="571" y="1219"/>
                  </a:cubicBezTo>
                  <a:cubicBezTo>
                    <a:pt x="574" y="1213"/>
                    <a:pt x="575" y="1235"/>
                    <a:pt x="582" y="1237"/>
                  </a:cubicBezTo>
                  <a:cubicBezTo>
                    <a:pt x="583" y="1237"/>
                    <a:pt x="577" y="1220"/>
                    <a:pt x="577" y="1218"/>
                  </a:cubicBezTo>
                  <a:cubicBezTo>
                    <a:pt x="577" y="1217"/>
                    <a:pt x="578" y="1218"/>
                    <a:pt x="578" y="1218"/>
                  </a:cubicBezTo>
                  <a:cubicBezTo>
                    <a:pt x="583" y="1223"/>
                    <a:pt x="591" y="1228"/>
                    <a:pt x="589" y="1236"/>
                  </a:cubicBezTo>
                  <a:cubicBezTo>
                    <a:pt x="588" y="1236"/>
                    <a:pt x="588" y="1236"/>
                    <a:pt x="588" y="1236"/>
                  </a:cubicBezTo>
                  <a:cubicBezTo>
                    <a:pt x="584" y="1243"/>
                    <a:pt x="601" y="1255"/>
                    <a:pt x="594" y="1258"/>
                  </a:cubicBezTo>
                  <a:cubicBezTo>
                    <a:pt x="589" y="1260"/>
                    <a:pt x="587" y="1250"/>
                    <a:pt x="582" y="1249"/>
                  </a:cubicBezTo>
                  <a:close/>
                  <a:moveTo>
                    <a:pt x="594" y="1336"/>
                  </a:moveTo>
                  <a:cubicBezTo>
                    <a:pt x="597" y="1328"/>
                    <a:pt x="592" y="1328"/>
                    <a:pt x="600" y="1324"/>
                  </a:cubicBezTo>
                  <a:cubicBezTo>
                    <a:pt x="601" y="1323"/>
                    <a:pt x="604" y="1318"/>
                    <a:pt x="604" y="1317"/>
                  </a:cubicBezTo>
                  <a:cubicBezTo>
                    <a:pt x="600" y="1314"/>
                    <a:pt x="599" y="1323"/>
                    <a:pt x="596" y="1318"/>
                  </a:cubicBezTo>
                  <a:cubicBezTo>
                    <a:pt x="589" y="1305"/>
                    <a:pt x="605" y="1315"/>
                    <a:pt x="615" y="1315"/>
                  </a:cubicBezTo>
                  <a:cubicBezTo>
                    <a:pt x="616" y="1315"/>
                    <a:pt x="608" y="1310"/>
                    <a:pt x="606" y="1309"/>
                  </a:cubicBezTo>
                  <a:cubicBezTo>
                    <a:pt x="598" y="1307"/>
                    <a:pt x="592" y="1290"/>
                    <a:pt x="596" y="1285"/>
                  </a:cubicBezTo>
                  <a:cubicBezTo>
                    <a:pt x="607" y="1274"/>
                    <a:pt x="600" y="1293"/>
                    <a:pt x="601" y="1295"/>
                  </a:cubicBezTo>
                  <a:cubicBezTo>
                    <a:pt x="602" y="1297"/>
                    <a:pt x="603" y="1288"/>
                    <a:pt x="605" y="1291"/>
                  </a:cubicBezTo>
                  <a:cubicBezTo>
                    <a:pt x="607" y="1293"/>
                    <a:pt x="606" y="1295"/>
                    <a:pt x="604" y="1296"/>
                  </a:cubicBezTo>
                  <a:cubicBezTo>
                    <a:pt x="603" y="1296"/>
                    <a:pt x="602" y="1304"/>
                    <a:pt x="602" y="1304"/>
                  </a:cubicBezTo>
                  <a:cubicBezTo>
                    <a:pt x="624" y="1312"/>
                    <a:pt x="615" y="1304"/>
                    <a:pt x="614" y="1297"/>
                  </a:cubicBezTo>
                  <a:cubicBezTo>
                    <a:pt x="614" y="1296"/>
                    <a:pt x="612" y="1289"/>
                    <a:pt x="614" y="1288"/>
                  </a:cubicBezTo>
                  <a:cubicBezTo>
                    <a:pt x="618" y="1286"/>
                    <a:pt x="618" y="1297"/>
                    <a:pt x="619" y="1298"/>
                  </a:cubicBezTo>
                  <a:cubicBezTo>
                    <a:pt x="622" y="1301"/>
                    <a:pt x="625" y="1297"/>
                    <a:pt x="631" y="1297"/>
                  </a:cubicBezTo>
                  <a:cubicBezTo>
                    <a:pt x="634" y="1297"/>
                    <a:pt x="638" y="1295"/>
                    <a:pt x="637" y="1292"/>
                  </a:cubicBezTo>
                  <a:cubicBezTo>
                    <a:pt x="637" y="1292"/>
                    <a:pt x="635" y="1292"/>
                    <a:pt x="634" y="1292"/>
                  </a:cubicBezTo>
                  <a:cubicBezTo>
                    <a:pt x="626" y="1292"/>
                    <a:pt x="623" y="1289"/>
                    <a:pt x="634" y="1289"/>
                  </a:cubicBezTo>
                  <a:cubicBezTo>
                    <a:pt x="638" y="1288"/>
                    <a:pt x="642" y="1288"/>
                    <a:pt x="644" y="1282"/>
                  </a:cubicBezTo>
                  <a:cubicBezTo>
                    <a:pt x="645" y="1278"/>
                    <a:pt x="620" y="1273"/>
                    <a:pt x="627" y="1264"/>
                  </a:cubicBezTo>
                  <a:cubicBezTo>
                    <a:pt x="629" y="1262"/>
                    <a:pt x="636" y="1270"/>
                    <a:pt x="635" y="1273"/>
                  </a:cubicBezTo>
                  <a:cubicBezTo>
                    <a:pt x="635" y="1277"/>
                    <a:pt x="645" y="1271"/>
                    <a:pt x="646" y="1272"/>
                  </a:cubicBezTo>
                  <a:cubicBezTo>
                    <a:pt x="650" y="1281"/>
                    <a:pt x="650" y="1280"/>
                    <a:pt x="657" y="1288"/>
                  </a:cubicBezTo>
                  <a:cubicBezTo>
                    <a:pt x="659" y="1290"/>
                    <a:pt x="648" y="1293"/>
                    <a:pt x="655" y="1292"/>
                  </a:cubicBezTo>
                  <a:cubicBezTo>
                    <a:pt x="661" y="1292"/>
                    <a:pt x="663" y="1301"/>
                    <a:pt x="664" y="1307"/>
                  </a:cubicBezTo>
                  <a:cubicBezTo>
                    <a:pt x="665" y="1309"/>
                    <a:pt x="664" y="1314"/>
                    <a:pt x="668" y="1312"/>
                  </a:cubicBezTo>
                  <a:cubicBezTo>
                    <a:pt x="685" y="1305"/>
                    <a:pt x="679" y="1280"/>
                    <a:pt x="682" y="1275"/>
                  </a:cubicBezTo>
                  <a:cubicBezTo>
                    <a:pt x="682" y="1275"/>
                    <a:pt x="683" y="1274"/>
                    <a:pt x="684" y="1274"/>
                  </a:cubicBezTo>
                  <a:cubicBezTo>
                    <a:pt x="690" y="1268"/>
                    <a:pt x="689" y="1274"/>
                    <a:pt x="694" y="1275"/>
                  </a:cubicBezTo>
                  <a:cubicBezTo>
                    <a:pt x="703" y="1278"/>
                    <a:pt x="690" y="1269"/>
                    <a:pt x="696" y="1270"/>
                  </a:cubicBezTo>
                  <a:cubicBezTo>
                    <a:pt x="698" y="1270"/>
                    <a:pt x="700" y="1276"/>
                    <a:pt x="701" y="1275"/>
                  </a:cubicBezTo>
                  <a:cubicBezTo>
                    <a:pt x="702" y="1275"/>
                    <a:pt x="699" y="1269"/>
                    <a:pt x="701" y="1268"/>
                  </a:cubicBezTo>
                  <a:cubicBezTo>
                    <a:pt x="701" y="1267"/>
                    <a:pt x="705" y="1274"/>
                    <a:pt x="708" y="1273"/>
                  </a:cubicBezTo>
                  <a:cubicBezTo>
                    <a:pt x="710" y="1273"/>
                    <a:pt x="708" y="1269"/>
                    <a:pt x="707" y="1268"/>
                  </a:cubicBezTo>
                  <a:cubicBezTo>
                    <a:pt x="700" y="1263"/>
                    <a:pt x="712" y="1264"/>
                    <a:pt x="709" y="1260"/>
                  </a:cubicBezTo>
                  <a:cubicBezTo>
                    <a:pt x="708" y="1259"/>
                    <a:pt x="702" y="1260"/>
                    <a:pt x="704" y="1258"/>
                  </a:cubicBezTo>
                  <a:cubicBezTo>
                    <a:pt x="704" y="1257"/>
                    <a:pt x="741" y="1269"/>
                    <a:pt x="739" y="1263"/>
                  </a:cubicBezTo>
                  <a:cubicBezTo>
                    <a:pt x="737" y="1253"/>
                    <a:pt x="732" y="1256"/>
                    <a:pt x="720" y="1252"/>
                  </a:cubicBezTo>
                  <a:cubicBezTo>
                    <a:pt x="719" y="1251"/>
                    <a:pt x="715" y="1250"/>
                    <a:pt x="715" y="1248"/>
                  </a:cubicBezTo>
                  <a:cubicBezTo>
                    <a:pt x="715" y="1248"/>
                    <a:pt x="715" y="1248"/>
                    <a:pt x="716" y="1248"/>
                  </a:cubicBezTo>
                  <a:cubicBezTo>
                    <a:pt x="717" y="1248"/>
                    <a:pt x="730" y="1248"/>
                    <a:pt x="730" y="1248"/>
                  </a:cubicBezTo>
                  <a:cubicBezTo>
                    <a:pt x="730" y="1246"/>
                    <a:pt x="723" y="1245"/>
                    <a:pt x="722" y="1244"/>
                  </a:cubicBezTo>
                  <a:cubicBezTo>
                    <a:pt x="721" y="1242"/>
                    <a:pt x="687" y="1230"/>
                    <a:pt x="689" y="1226"/>
                  </a:cubicBezTo>
                  <a:cubicBezTo>
                    <a:pt x="690" y="1224"/>
                    <a:pt x="700" y="1231"/>
                    <a:pt x="702" y="1231"/>
                  </a:cubicBezTo>
                  <a:cubicBezTo>
                    <a:pt x="705" y="1232"/>
                    <a:pt x="692" y="1219"/>
                    <a:pt x="683" y="1220"/>
                  </a:cubicBezTo>
                  <a:cubicBezTo>
                    <a:pt x="675" y="1222"/>
                    <a:pt x="687" y="1225"/>
                    <a:pt x="687" y="1225"/>
                  </a:cubicBezTo>
                  <a:cubicBezTo>
                    <a:pt x="684" y="1226"/>
                    <a:pt x="655" y="1219"/>
                    <a:pt x="649" y="1215"/>
                  </a:cubicBezTo>
                  <a:cubicBezTo>
                    <a:pt x="646" y="1212"/>
                    <a:pt x="662" y="1215"/>
                    <a:pt x="660" y="1212"/>
                  </a:cubicBezTo>
                  <a:cubicBezTo>
                    <a:pt x="658" y="1206"/>
                    <a:pt x="644" y="1195"/>
                    <a:pt x="645" y="1189"/>
                  </a:cubicBezTo>
                  <a:cubicBezTo>
                    <a:pt x="645" y="1186"/>
                    <a:pt x="658" y="1193"/>
                    <a:pt x="655" y="1187"/>
                  </a:cubicBezTo>
                  <a:cubicBezTo>
                    <a:pt x="650" y="1179"/>
                    <a:pt x="647" y="1194"/>
                    <a:pt x="644" y="1174"/>
                  </a:cubicBezTo>
                  <a:cubicBezTo>
                    <a:pt x="644" y="1174"/>
                    <a:pt x="642" y="1168"/>
                    <a:pt x="640" y="1167"/>
                  </a:cubicBezTo>
                  <a:cubicBezTo>
                    <a:pt x="635" y="1165"/>
                    <a:pt x="639" y="1173"/>
                    <a:pt x="640" y="1174"/>
                  </a:cubicBezTo>
                  <a:cubicBezTo>
                    <a:pt x="649" y="1190"/>
                    <a:pt x="624" y="1169"/>
                    <a:pt x="624" y="1169"/>
                  </a:cubicBezTo>
                  <a:cubicBezTo>
                    <a:pt x="621" y="1169"/>
                    <a:pt x="632" y="1177"/>
                    <a:pt x="625" y="1180"/>
                  </a:cubicBezTo>
                  <a:cubicBezTo>
                    <a:pt x="623" y="1181"/>
                    <a:pt x="620" y="1178"/>
                    <a:pt x="619" y="1177"/>
                  </a:cubicBezTo>
                  <a:cubicBezTo>
                    <a:pt x="613" y="1171"/>
                    <a:pt x="615" y="1165"/>
                    <a:pt x="613" y="1165"/>
                  </a:cubicBezTo>
                  <a:cubicBezTo>
                    <a:pt x="610" y="1165"/>
                    <a:pt x="604" y="1163"/>
                    <a:pt x="606" y="1164"/>
                  </a:cubicBezTo>
                  <a:cubicBezTo>
                    <a:pt x="606" y="1164"/>
                    <a:pt x="610" y="1167"/>
                    <a:pt x="609" y="1167"/>
                  </a:cubicBezTo>
                  <a:cubicBezTo>
                    <a:pt x="604" y="1179"/>
                    <a:pt x="586" y="1157"/>
                    <a:pt x="583" y="1149"/>
                  </a:cubicBezTo>
                  <a:cubicBezTo>
                    <a:pt x="578" y="1138"/>
                    <a:pt x="597" y="1165"/>
                    <a:pt x="602" y="1164"/>
                  </a:cubicBezTo>
                  <a:cubicBezTo>
                    <a:pt x="603" y="1164"/>
                    <a:pt x="602" y="1146"/>
                    <a:pt x="606" y="1155"/>
                  </a:cubicBezTo>
                  <a:cubicBezTo>
                    <a:pt x="608" y="1160"/>
                    <a:pt x="605" y="1149"/>
                    <a:pt x="609" y="1151"/>
                  </a:cubicBezTo>
                  <a:cubicBezTo>
                    <a:pt x="613" y="1152"/>
                    <a:pt x="609" y="1160"/>
                    <a:pt x="612" y="1162"/>
                  </a:cubicBezTo>
                  <a:cubicBezTo>
                    <a:pt x="615" y="1163"/>
                    <a:pt x="618" y="1155"/>
                    <a:pt x="620" y="1155"/>
                  </a:cubicBezTo>
                  <a:cubicBezTo>
                    <a:pt x="622" y="1154"/>
                    <a:pt x="621" y="1158"/>
                    <a:pt x="621" y="1159"/>
                  </a:cubicBezTo>
                  <a:cubicBezTo>
                    <a:pt x="620" y="1164"/>
                    <a:pt x="632" y="1173"/>
                    <a:pt x="636" y="1174"/>
                  </a:cubicBezTo>
                  <a:cubicBezTo>
                    <a:pt x="638" y="1175"/>
                    <a:pt x="636" y="1173"/>
                    <a:pt x="635" y="1171"/>
                  </a:cubicBezTo>
                  <a:cubicBezTo>
                    <a:pt x="633" y="1168"/>
                    <a:pt x="624" y="1162"/>
                    <a:pt x="625" y="1159"/>
                  </a:cubicBezTo>
                  <a:cubicBezTo>
                    <a:pt x="625" y="1156"/>
                    <a:pt x="641" y="1170"/>
                    <a:pt x="638" y="1163"/>
                  </a:cubicBezTo>
                  <a:cubicBezTo>
                    <a:pt x="636" y="1157"/>
                    <a:pt x="615" y="1153"/>
                    <a:pt x="617" y="1146"/>
                  </a:cubicBezTo>
                  <a:cubicBezTo>
                    <a:pt x="618" y="1142"/>
                    <a:pt x="625" y="1151"/>
                    <a:pt x="629" y="1152"/>
                  </a:cubicBezTo>
                  <a:cubicBezTo>
                    <a:pt x="633" y="1153"/>
                    <a:pt x="625" y="1145"/>
                    <a:pt x="625" y="1142"/>
                  </a:cubicBezTo>
                  <a:cubicBezTo>
                    <a:pt x="626" y="1138"/>
                    <a:pt x="626" y="1133"/>
                    <a:pt x="627" y="1128"/>
                  </a:cubicBezTo>
                  <a:cubicBezTo>
                    <a:pt x="627" y="1127"/>
                    <a:pt x="633" y="1132"/>
                    <a:pt x="633" y="1126"/>
                  </a:cubicBezTo>
                  <a:cubicBezTo>
                    <a:pt x="633" y="1123"/>
                    <a:pt x="626" y="1124"/>
                    <a:pt x="626" y="1121"/>
                  </a:cubicBezTo>
                  <a:cubicBezTo>
                    <a:pt x="626" y="1119"/>
                    <a:pt x="628" y="1116"/>
                    <a:pt x="630" y="1115"/>
                  </a:cubicBezTo>
                  <a:cubicBezTo>
                    <a:pt x="630" y="1115"/>
                    <a:pt x="630" y="1115"/>
                    <a:pt x="629" y="1114"/>
                  </a:cubicBezTo>
                  <a:cubicBezTo>
                    <a:pt x="626" y="1106"/>
                    <a:pt x="636" y="1110"/>
                    <a:pt x="634" y="1104"/>
                  </a:cubicBezTo>
                  <a:cubicBezTo>
                    <a:pt x="633" y="1098"/>
                    <a:pt x="628" y="1100"/>
                    <a:pt x="627" y="1104"/>
                  </a:cubicBezTo>
                  <a:cubicBezTo>
                    <a:pt x="626" y="1108"/>
                    <a:pt x="624" y="1103"/>
                    <a:pt x="623" y="1104"/>
                  </a:cubicBezTo>
                  <a:cubicBezTo>
                    <a:pt x="620" y="1106"/>
                    <a:pt x="625" y="1112"/>
                    <a:pt x="623" y="1113"/>
                  </a:cubicBezTo>
                  <a:cubicBezTo>
                    <a:pt x="618" y="1118"/>
                    <a:pt x="603" y="1090"/>
                    <a:pt x="599" y="1088"/>
                  </a:cubicBezTo>
                  <a:cubicBezTo>
                    <a:pt x="599" y="1088"/>
                    <a:pt x="594" y="1085"/>
                    <a:pt x="594" y="1085"/>
                  </a:cubicBezTo>
                  <a:cubicBezTo>
                    <a:pt x="594" y="1080"/>
                    <a:pt x="593" y="1078"/>
                    <a:pt x="592" y="1080"/>
                  </a:cubicBezTo>
                  <a:cubicBezTo>
                    <a:pt x="591" y="1081"/>
                    <a:pt x="588" y="1082"/>
                    <a:pt x="587" y="1079"/>
                  </a:cubicBezTo>
                  <a:cubicBezTo>
                    <a:pt x="585" y="1074"/>
                    <a:pt x="602" y="1076"/>
                    <a:pt x="583" y="1062"/>
                  </a:cubicBezTo>
                  <a:cubicBezTo>
                    <a:pt x="581" y="1060"/>
                    <a:pt x="596" y="1060"/>
                    <a:pt x="594" y="1057"/>
                  </a:cubicBezTo>
                  <a:cubicBezTo>
                    <a:pt x="578" y="1041"/>
                    <a:pt x="599" y="1050"/>
                    <a:pt x="593" y="1036"/>
                  </a:cubicBezTo>
                  <a:cubicBezTo>
                    <a:pt x="587" y="1023"/>
                    <a:pt x="581" y="1007"/>
                    <a:pt x="574" y="1010"/>
                  </a:cubicBezTo>
                  <a:cubicBezTo>
                    <a:pt x="569" y="1011"/>
                    <a:pt x="578" y="1014"/>
                    <a:pt x="574" y="1017"/>
                  </a:cubicBezTo>
                  <a:cubicBezTo>
                    <a:pt x="573" y="1018"/>
                    <a:pt x="561" y="1003"/>
                    <a:pt x="561" y="1002"/>
                  </a:cubicBezTo>
                  <a:cubicBezTo>
                    <a:pt x="566" y="997"/>
                    <a:pt x="607" y="1021"/>
                    <a:pt x="599" y="1030"/>
                  </a:cubicBezTo>
                  <a:cubicBezTo>
                    <a:pt x="596" y="1033"/>
                    <a:pt x="594" y="1026"/>
                    <a:pt x="591" y="1023"/>
                  </a:cubicBezTo>
                  <a:cubicBezTo>
                    <a:pt x="588" y="1020"/>
                    <a:pt x="598" y="1032"/>
                    <a:pt x="597" y="1036"/>
                  </a:cubicBezTo>
                  <a:cubicBezTo>
                    <a:pt x="597" y="1037"/>
                    <a:pt x="596" y="1039"/>
                    <a:pt x="597" y="1039"/>
                  </a:cubicBezTo>
                  <a:cubicBezTo>
                    <a:pt x="600" y="1040"/>
                    <a:pt x="606" y="1036"/>
                    <a:pt x="604" y="1037"/>
                  </a:cubicBezTo>
                  <a:cubicBezTo>
                    <a:pt x="602" y="1039"/>
                    <a:pt x="606" y="1042"/>
                    <a:pt x="607" y="1044"/>
                  </a:cubicBezTo>
                  <a:cubicBezTo>
                    <a:pt x="608" y="1045"/>
                    <a:pt x="602" y="1048"/>
                    <a:pt x="601" y="1052"/>
                  </a:cubicBezTo>
                  <a:cubicBezTo>
                    <a:pt x="600" y="1057"/>
                    <a:pt x="608" y="1067"/>
                    <a:pt x="601" y="1067"/>
                  </a:cubicBezTo>
                  <a:cubicBezTo>
                    <a:pt x="599" y="1067"/>
                    <a:pt x="593" y="1058"/>
                    <a:pt x="592" y="1063"/>
                  </a:cubicBezTo>
                  <a:cubicBezTo>
                    <a:pt x="591" y="1063"/>
                    <a:pt x="592" y="1064"/>
                    <a:pt x="592" y="1064"/>
                  </a:cubicBezTo>
                  <a:cubicBezTo>
                    <a:pt x="598" y="1072"/>
                    <a:pt x="604" y="1086"/>
                    <a:pt x="612" y="1091"/>
                  </a:cubicBezTo>
                  <a:cubicBezTo>
                    <a:pt x="613" y="1092"/>
                    <a:pt x="618" y="1093"/>
                    <a:pt x="619" y="1093"/>
                  </a:cubicBezTo>
                  <a:cubicBezTo>
                    <a:pt x="621" y="1093"/>
                    <a:pt x="630" y="1095"/>
                    <a:pt x="629" y="1092"/>
                  </a:cubicBezTo>
                  <a:cubicBezTo>
                    <a:pt x="628" y="1089"/>
                    <a:pt x="623" y="1088"/>
                    <a:pt x="623" y="1086"/>
                  </a:cubicBezTo>
                  <a:cubicBezTo>
                    <a:pt x="623" y="1084"/>
                    <a:pt x="629" y="1088"/>
                    <a:pt x="630" y="1089"/>
                  </a:cubicBezTo>
                  <a:cubicBezTo>
                    <a:pt x="632" y="1099"/>
                    <a:pt x="639" y="1100"/>
                    <a:pt x="644" y="1096"/>
                  </a:cubicBezTo>
                  <a:cubicBezTo>
                    <a:pt x="650" y="1092"/>
                    <a:pt x="634" y="1094"/>
                    <a:pt x="638" y="1089"/>
                  </a:cubicBezTo>
                  <a:cubicBezTo>
                    <a:pt x="645" y="1081"/>
                    <a:pt x="631" y="1078"/>
                    <a:pt x="644" y="1074"/>
                  </a:cubicBezTo>
                  <a:cubicBezTo>
                    <a:pt x="645" y="1074"/>
                    <a:pt x="646" y="1071"/>
                    <a:pt x="648" y="1072"/>
                  </a:cubicBezTo>
                  <a:cubicBezTo>
                    <a:pt x="653" y="1076"/>
                    <a:pt x="642" y="1084"/>
                    <a:pt x="646" y="1087"/>
                  </a:cubicBezTo>
                  <a:cubicBezTo>
                    <a:pt x="654" y="1093"/>
                    <a:pt x="654" y="1081"/>
                    <a:pt x="662" y="1083"/>
                  </a:cubicBezTo>
                  <a:cubicBezTo>
                    <a:pt x="665" y="1084"/>
                    <a:pt x="669" y="1092"/>
                    <a:pt x="675" y="1091"/>
                  </a:cubicBezTo>
                  <a:cubicBezTo>
                    <a:pt x="683" y="1090"/>
                    <a:pt x="681" y="1083"/>
                    <a:pt x="691" y="1083"/>
                  </a:cubicBezTo>
                  <a:cubicBezTo>
                    <a:pt x="693" y="1083"/>
                    <a:pt x="696" y="1081"/>
                    <a:pt x="696" y="1086"/>
                  </a:cubicBezTo>
                  <a:cubicBezTo>
                    <a:pt x="695" y="1089"/>
                    <a:pt x="683" y="1087"/>
                    <a:pt x="686" y="1088"/>
                  </a:cubicBezTo>
                  <a:cubicBezTo>
                    <a:pt x="701" y="1092"/>
                    <a:pt x="683" y="1090"/>
                    <a:pt x="681" y="1092"/>
                  </a:cubicBezTo>
                  <a:cubicBezTo>
                    <a:pt x="680" y="1093"/>
                    <a:pt x="670" y="1106"/>
                    <a:pt x="675" y="1106"/>
                  </a:cubicBezTo>
                  <a:cubicBezTo>
                    <a:pt x="675" y="1106"/>
                    <a:pt x="684" y="1110"/>
                    <a:pt x="683" y="1112"/>
                  </a:cubicBezTo>
                  <a:cubicBezTo>
                    <a:pt x="681" y="1116"/>
                    <a:pt x="677" y="1113"/>
                    <a:pt x="675" y="1116"/>
                  </a:cubicBezTo>
                  <a:cubicBezTo>
                    <a:pt x="675" y="1117"/>
                    <a:pt x="673" y="1118"/>
                    <a:pt x="673" y="1119"/>
                  </a:cubicBezTo>
                  <a:cubicBezTo>
                    <a:pt x="686" y="1154"/>
                    <a:pt x="705" y="1141"/>
                    <a:pt x="721" y="1163"/>
                  </a:cubicBezTo>
                  <a:cubicBezTo>
                    <a:pt x="724" y="1168"/>
                    <a:pt x="750" y="1178"/>
                    <a:pt x="748" y="1181"/>
                  </a:cubicBezTo>
                  <a:cubicBezTo>
                    <a:pt x="747" y="1182"/>
                    <a:pt x="742" y="1179"/>
                    <a:pt x="741" y="1178"/>
                  </a:cubicBezTo>
                  <a:cubicBezTo>
                    <a:pt x="730" y="1175"/>
                    <a:pt x="742" y="1185"/>
                    <a:pt x="741" y="1185"/>
                  </a:cubicBezTo>
                  <a:cubicBezTo>
                    <a:pt x="738" y="1185"/>
                    <a:pt x="732" y="1183"/>
                    <a:pt x="726" y="1179"/>
                  </a:cubicBezTo>
                  <a:cubicBezTo>
                    <a:pt x="731" y="1184"/>
                    <a:pt x="734" y="1197"/>
                    <a:pt x="735" y="1197"/>
                  </a:cubicBezTo>
                  <a:cubicBezTo>
                    <a:pt x="737" y="1200"/>
                    <a:pt x="748" y="1204"/>
                    <a:pt x="747" y="1209"/>
                  </a:cubicBezTo>
                  <a:cubicBezTo>
                    <a:pt x="746" y="1211"/>
                    <a:pt x="733" y="1201"/>
                    <a:pt x="732" y="1201"/>
                  </a:cubicBezTo>
                  <a:cubicBezTo>
                    <a:pt x="726" y="1202"/>
                    <a:pt x="749" y="1213"/>
                    <a:pt x="744" y="1214"/>
                  </a:cubicBezTo>
                  <a:cubicBezTo>
                    <a:pt x="743" y="1215"/>
                    <a:pt x="721" y="1206"/>
                    <a:pt x="722" y="1208"/>
                  </a:cubicBezTo>
                  <a:cubicBezTo>
                    <a:pt x="723" y="1209"/>
                    <a:pt x="739" y="1215"/>
                    <a:pt x="736" y="1217"/>
                  </a:cubicBezTo>
                  <a:cubicBezTo>
                    <a:pt x="735" y="1218"/>
                    <a:pt x="732" y="1216"/>
                    <a:pt x="729" y="1218"/>
                  </a:cubicBezTo>
                  <a:cubicBezTo>
                    <a:pt x="728" y="1218"/>
                    <a:pt x="730" y="1219"/>
                    <a:pt x="731" y="1219"/>
                  </a:cubicBezTo>
                  <a:cubicBezTo>
                    <a:pt x="738" y="1224"/>
                    <a:pt x="749" y="1211"/>
                    <a:pt x="755" y="1213"/>
                  </a:cubicBezTo>
                  <a:cubicBezTo>
                    <a:pt x="756" y="1213"/>
                    <a:pt x="771" y="1216"/>
                    <a:pt x="771" y="1213"/>
                  </a:cubicBezTo>
                  <a:cubicBezTo>
                    <a:pt x="771" y="1210"/>
                    <a:pt x="753" y="1208"/>
                    <a:pt x="757" y="1207"/>
                  </a:cubicBezTo>
                  <a:cubicBezTo>
                    <a:pt x="778" y="1200"/>
                    <a:pt x="764" y="1220"/>
                    <a:pt x="787" y="1205"/>
                  </a:cubicBezTo>
                  <a:cubicBezTo>
                    <a:pt x="788" y="1204"/>
                    <a:pt x="774" y="1202"/>
                    <a:pt x="775" y="1201"/>
                  </a:cubicBezTo>
                  <a:cubicBezTo>
                    <a:pt x="778" y="1192"/>
                    <a:pt x="776" y="1189"/>
                    <a:pt x="770" y="1177"/>
                  </a:cubicBezTo>
                  <a:cubicBezTo>
                    <a:pt x="770" y="1176"/>
                    <a:pt x="782" y="1177"/>
                    <a:pt x="780" y="1173"/>
                  </a:cubicBezTo>
                  <a:cubicBezTo>
                    <a:pt x="777" y="1164"/>
                    <a:pt x="775" y="1161"/>
                    <a:pt x="769" y="1155"/>
                  </a:cubicBezTo>
                  <a:cubicBezTo>
                    <a:pt x="766" y="1153"/>
                    <a:pt x="773" y="1149"/>
                    <a:pt x="776" y="1147"/>
                  </a:cubicBezTo>
                  <a:cubicBezTo>
                    <a:pt x="778" y="1145"/>
                    <a:pt x="782" y="1149"/>
                    <a:pt x="783" y="1150"/>
                  </a:cubicBezTo>
                  <a:cubicBezTo>
                    <a:pt x="786" y="1153"/>
                    <a:pt x="781" y="1158"/>
                    <a:pt x="783" y="1161"/>
                  </a:cubicBezTo>
                  <a:cubicBezTo>
                    <a:pt x="788" y="1168"/>
                    <a:pt x="784" y="1153"/>
                    <a:pt x="788" y="1156"/>
                  </a:cubicBezTo>
                  <a:cubicBezTo>
                    <a:pt x="792" y="1159"/>
                    <a:pt x="801" y="1182"/>
                    <a:pt x="811" y="1181"/>
                  </a:cubicBezTo>
                  <a:cubicBezTo>
                    <a:pt x="813" y="1181"/>
                    <a:pt x="811" y="1178"/>
                    <a:pt x="810" y="1178"/>
                  </a:cubicBezTo>
                  <a:cubicBezTo>
                    <a:pt x="809" y="1174"/>
                    <a:pt x="806" y="1174"/>
                    <a:pt x="802" y="1169"/>
                  </a:cubicBezTo>
                  <a:cubicBezTo>
                    <a:pt x="799" y="1165"/>
                    <a:pt x="809" y="1171"/>
                    <a:pt x="807" y="1166"/>
                  </a:cubicBezTo>
                  <a:cubicBezTo>
                    <a:pt x="800" y="1155"/>
                    <a:pt x="807" y="1163"/>
                    <a:pt x="808" y="1155"/>
                  </a:cubicBezTo>
                  <a:cubicBezTo>
                    <a:pt x="809" y="1150"/>
                    <a:pt x="798" y="1146"/>
                    <a:pt x="812" y="1144"/>
                  </a:cubicBezTo>
                  <a:cubicBezTo>
                    <a:pt x="823" y="1142"/>
                    <a:pt x="822" y="1170"/>
                    <a:pt x="830" y="1173"/>
                  </a:cubicBezTo>
                  <a:cubicBezTo>
                    <a:pt x="840" y="1176"/>
                    <a:pt x="817" y="1182"/>
                    <a:pt x="816" y="1185"/>
                  </a:cubicBezTo>
                  <a:cubicBezTo>
                    <a:pt x="815" y="1188"/>
                    <a:pt x="826" y="1185"/>
                    <a:pt x="827" y="1191"/>
                  </a:cubicBezTo>
                  <a:cubicBezTo>
                    <a:pt x="828" y="1195"/>
                    <a:pt x="818" y="1187"/>
                    <a:pt x="817" y="1191"/>
                  </a:cubicBezTo>
                  <a:cubicBezTo>
                    <a:pt x="815" y="1198"/>
                    <a:pt x="812" y="1188"/>
                    <a:pt x="808" y="1189"/>
                  </a:cubicBezTo>
                  <a:cubicBezTo>
                    <a:pt x="803" y="1189"/>
                    <a:pt x="812" y="1195"/>
                    <a:pt x="808" y="1196"/>
                  </a:cubicBezTo>
                  <a:cubicBezTo>
                    <a:pt x="805" y="1196"/>
                    <a:pt x="797" y="1190"/>
                    <a:pt x="799" y="1193"/>
                  </a:cubicBezTo>
                  <a:cubicBezTo>
                    <a:pt x="808" y="1211"/>
                    <a:pt x="820" y="1209"/>
                    <a:pt x="836" y="1212"/>
                  </a:cubicBezTo>
                  <a:cubicBezTo>
                    <a:pt x="838" y="1212"/>
                    <a:pt x="842" y="1216"/>
                    <a:pt x="841" y="1217"/>
                  </a:cubicBezTo>
                  <a:cubicBezTo>
                    <a:pt x="840" y="1221"/>
                    <a:pt x="836" y="1218"/>
                    <a:pt x="834" y="1221"/>
                  </a:cubicBezTo>
                  <a:cubicBezTo>
                    <a:pt x="834" y="1221"/>
                    <a:pt x="834" y="1223"/>
                    <a:pt x="834" y="1223"/>
                  </a:cubicBezTo>
                  <a:cubicBezTo>
                    <a:pt x="832" y="1226"/>
                    <a:pt x="830" y="1222"/>
                    <a:pt x="829" y="1221"/>
                  </a:cubicBezTo>
                  <a:cubicBezTo>
                    <a:pt x="821" y="1216"/>
                    <a:pt x="803" y="1212"/>
                    <a:pt x="796" y="1211"/>
                  </a:cubicBezTo>
                  <a:cubicBezTo>
                    <a:pt x="795" y="1211"/>
                    <a:pt x="796" y="1212"/>
                    <a:pt x="796" y="1212"/>
                  </a:cubicBezTo>
                  <a:cubicBezTo>
                    <a:pt x="800" y="1215"/>
                    <a:pt x="797" y="1222"/>
                    <a:pt x="797" y="1225"/>
                  </a:cubicBezTo>
                  <a:cubicBezTo>
                    <a:pt x="796" y="1229"/>
                    <a:pt x="789" y="1222"/>
                    <a:pt x="788" y="1222"/>
                  </a:cubicBezTo>
                  <a:cubicBezTo>
                    <a:pt x="788" y="1222"/>
                    <a:pt x="797" y="1233"/>
                    <a:pt x="800" y="1238"/>
                  </a:cubicBezTo>
                  <a:cubicBezTo>
                    <a:pt x="816" y="1251"/>
                    <a:pt x="803" y="1221"/>
                    <a:pt x="811" y="1233"/>
                  </a:cubicBezTo>
                  <a:cubicBezTo>
                    <a:pt x="815" y="1238"/>
                    <a:pt x="818" y="1243"/>
                    <a:pt x="822" y="1247"/>
                  </a:cubicBezTo>
                  <a:cubicBezTo>
                    <a:pt x="824" y="1250"/>
                    <a:pt x="819" y="1256"/>
                    <a:pt x="816" y="1255"/>
                  </a:cubicBezTo>
                  <a:cubicBezTo>
                    <a:pt x="808" y="1251"/>
                    <a:pt x="822" y="1263"/>
                    <a:pt x="813" y="1263"/>
                  </a:cubicBezTo>
                  <a:cubicBezTo>
                    <a:pt x="812" y="1263"/>
                    <a:pt x="811" y="1257"/>
                    <a:pt x="807" y="1258"/>
                  </a:cubicBezTo>
                  <a:cubicBezTo>
                    <a:pt x="805" y="1259"/>
                    <a:pt x="808" y="1262"/>
                    <a:pt x="808" y="1265"/>
                  </a:cubicBezTo>
                  <a:cubicBezTo>
                    <a:pt x="809" y="1267"/>
                    <a:pt x="796" y="1265"/>
                    <a:pt x="793" y="1269"/>
                  </a:cubicBezTo>
                  <a:cubicBezTo>
                    <a:pt x="793" y="1269"/>
                    <a:pt x="800" y="1271"/>
                    <a:pt x="798" y="1274"/>
                  </a:cubicBezTo>
                  <a:cubicBezTo>
                    <a:pt x="796" y="1277"/>
                    <a:pt x="793" y="1271"/>
                    <a:pt x="792" y="1274"/>
                  </a:cubicBezTo>
                  <a:cubicBezTo>
                    <a:pt x="791" y="1275"/>
                    <a:pt x="792" y="1277"/>
                    <a:pt x="790" y="1278"/>
                  </a:cubicBezTo>
                  <a:cubicBezTo>
                    <a:pt x="787" y="1280"/>
                    <a:pt x="789" y="1273"/>
                    <a:pt x="787" y="1274"/>
                  </a:cubicBezTo>
                  <a:cubicBezTo>
                    <a:pt x="786" y="1274"/>
                    <a:pt x="784" y="1277"/>
                    <a:pt x="784" y="1278"/>
                  </a:cubicBezTo>
                  <a:cubicBezTo>
                    <a:pt x="786" y="1280"/>
                    <a:pt x="779" y="1288"/>
                    <a:pt x="774" y="1290"/>
                  </a:cubicBezTo>
                  <a:cubicBezTo>
                    <a:pt x="768" y="1293"/>
                    <a:pt x="779" y="1293"/>
                    <a:pt x="773" y="1296"/>
                  </a:cubicBezTo>
                  <a:cubicBezTo>
                    <a:pt x="773" y="1296"/>
                    <a:pt x="759" y="1293"/>
                    <a:pt x="755" y="1293"/>
                  </a:cubicBezTo>
                  <a:cubicBezTo>
                    <a:pt x="754" y="1293"/>
                    <a:pt x="763" y="1300"/>
                    <a:pt x="761" y="1301"/>
                  </a:cubicBezTo>
                  <a:cubicBezTo>
                    <a:pt x="754" y="1304"/>
                    <a:pt x="741" y="1287"/>
                    <a:pt x="735" y="1283"/>
                  </a:cubicBezTo>
                  <a:cubicBezTo>
                    <a:pt x="733" y="1282"/>
                    <a:pt x="726" y="1281"/>
                    <a:pt x="725" y="1282"/>
                  </a:cubicBezTo>
                  <a:cubicBezTo>
                    <a:pt x="724" y="1283"/>
                    <a:pt x="727" y="1291"/>
                    <a:pt x="724" y="1290"/>
                  </a:cubicBezTo>
                  <a:cubicBezTo>
                    <a:pt x="723" y="1289"/>
                    <a:pt x="717" y="1284"/>
                    <a:pt x="714" y="1289"/>
                  </a:cubicBezTo>
                  <a:cubicBezTo>
                    <a:pt x="712" y="1295"/>
                    <a:pt x="745" y="1292"/>
                    <a:pt x="742" y="1296"/>
                  </a:cubicBezTo>
                  <a:cubicBezTo>
                    <a:pt x="741" y="1297"/>
                    <a:pt x="737" y="1296"/>
                    <a:pt x="736" y="1296"/>
                  </a:cubicBezTo>
                  <a:cubicBezTo>
                    <a:pt x="733" y="1295"/>
                    <a:pt x="734" y="1298"/>
                    <a:pt x="736" y="1298"/>
                  </a:cubicBezTo>
                  <a:cubicBezTo>
                    <a:pt x="737" y="1299"/>
                    <a:pt x="737" y="1300"/>
                    <a:pt x="735" y="1300"/>
                  </a:cubicBezTo>
                  <a:cubicBezTo>
                    <a:pt x="731" y="1300"/>
                    <a:pt x="727" y="1291"/>
                    <a:pt x="720" y="1298"/>
                  </a:cubicBezTo>
                  <a:cubicBezTo>
                    <a:pt x="718" y="1301"/>
                    <a:pt x="726" y="1312"/>
                    <a:pt x="724" y="1313"/>
                  </a:cubicBezTo>
                  <a:cubicBezTo>
                    <a:pt x="723" y="1315"/>
                    <a:pt x="719" y="1315"/>
                    <a:pt x="717" y="1314"/>
                  </a:cubicBezTo>
                  <a:cubicBezTo>
                    <a:pt x="702" y="1303"/>
                    <a:pt x="717" y="1318"/>
                    <a:pt x="713" y="1322"/>
                  </a:cubicBezTo>
                  <a:cubicBezTo>
                    <a:pt x="711" y="1324"/>
                    <a:pt x="698" y="1327"/>
                    <a:pt x="699" y="1328"/>
                  </a:cubicBezTo>
                  <a:cubicBezTo>
                    <a:pt x="701" y="1329"/>
                    <a:pt x="702" y="1329"/>
                    <a:pt x="700" y="1329"/>
                  </a:cubicBezTo>
                  <a:cubicBezTo>
                    <a:pt x="699" y="1329"/>
                    <a:pt x="699" y="1329"/>
                    <a:pt x="699" y="1328"/>
                  </a:cubicBezTo>
                  <a:cubicBezTo>
                    <a:pt x="695" y="1328"/>
                    <a:pt x="688" y="1328"/>
                    <a:pt x="688" y="1330"/>
                  </a:cubicBezTo>
                  <a:cubicBezTo>
                    <a:pt x="687" y="1336"/>
                    <a:pt x="697" y="1335"/>
                    <a:pt x="699" y="1336"/>
                  </a:cubicBezTo>
                  <a:cubicBezTo>
                    <a:pt x="702" y="1337"/>
                    <a:pt x="737" y="1322"/>
                    <a:pt x="740" y="1345"/>
                  </a:cubicBezTo>
                  <a:cubicBezTo>
                    <a:pt x="742" y="1357"/>
                    <a:pt x="705" y="1362"/>
                    <a:pt x="698" y="1365"/>
                  </a:cubicBezTo>
                  <a:cubicBezTo>
                    <a:pt x="688" y="1369"/>
                    <a:pt x="663" y="1370"/>
                    <a:pt x="661" y="1372"/>
                  </a:cubicBezTo>
                  <a:cubicBezTo>
                    <a:pt x="660" y="1374"/>
                    <a:pt x="656" y="1375"/>
                    <a:pt x="654" y="1373"/>
                  </a:cubicBezTo>
                  <a:cubicBezTo>
                    <a:pt x="653" y="1372"/>
                    <a:pt x="657" y="1364"/>
                    <a:pt x="653" y="1366"/>
                  </a:cubicBezTo>
                  <a:cubicBezTo>
                    <a:pt x="650" y="1367"/>
                    <a:pt x="651" y="1364"/>
                    <a:pt x="650" y="1362"/>
                  </a:cubicBezTo>
                  <a:cubicBezTo>
                    <a:pt x="647" y="1358"/>
                    <a:pt x="647" y="1359"/>
                    <a:pt x="657" y="1352"/>
                  </a:cubicBezTo>
                  <a:cubicBezTo>
                    <a:pt x="666" y="1347"/>
                    <a:pt x="681" y="1367"/>
                    <a:pt x="681" y="1357"/>
                  </a:cubicBezTo>
                  <a:cubicBezTo>
                    <a:pt x="681" y="1353"/>
                    <a:pt x="678" y="1355"/>
                    <a:pt x="675" y="1354"/>
                  </a:cubicBezTo>
                  <a:cubicBezTo>
                    <a:pt x="671" y="1353"/>
                    <a:pt x="666" y="1342"/>
                    <a:pt x="662" y="1342"/>
                  </a:cubicBezTo>
                  <a:cubicBezTo>
                    <a:pt x="645" y="1345"/>
                    <a:pt x="614" y="1357"/>
                    <a:pt x="612" y="1346"/>
                  </a:cubicBezTo>
                  <a:cubicBezTo>
                    <a:pt x="610" y="1341"/>
                    <a:pt x="607" y="1348"/>
                    <a:pt x="606" y="1346"/>
                  </a:cubicBezTo>
                  <a:cubicBezTo>
                    <a:pt x="605" y="1345"/>
                    <a:pt x="608" y="1343"/>
                    <a:pt x="609" y="1342"/>
                  </a:cubicBezTo>
                  <a:cubicBezTo>
                    <a:pt x="619" y="1337"/>
                    <a:pt x="610" y="1341"/>
                    <a:pt x="602" y="1333"/>
                  </a:cubicBezTo>
                  <a:cubicBezTo>
                    <a:pt x="600" y="1331"/>
                    <a:pt x="592" y="1339"/>
                    <a:pt x="594" y="1336"/>
                  </a:cubicBezTo>
                  <a:close/>
                  <a:moveTo>
                    <a:pt x="650" y="1384"/>
                  </a:moveTo>
                  <a:cubicBezTo>
                    <a:pt x="642" y="1399"/>
                    <a:pt x="604" y="1384"/>
                    <a:pt x="601" y="1386"/>
                  </a:cubicBezTo>
                  <a:cubicBezTo>
                    <a:pt x="599" y="1388"/>
                    <a:pt x="600" y="1385"/>
                    <a:pt x="600" y="1384"/>
                  </a:cubicBezTo>
                  <a:cubicBezTo>
                    <a:pt x="600" y="1383"/>
                    <a:pt x="600" y="1383"/>
                    <a:pt x="600" y="1383"/>
                  </a:cubicBezTo>
                  <a:cubicBezTo>
                    <a:pt x="608" y="1367"/>
                    <a:pt x="618" y="1397"/>
                    <a:pt x="628" y="1380"/>
                  </a:cubicBezTo>
                  <a:cubicBezTo>
                    <a:pt x="630" y="1376"/>
                    <a:pt x="631" y="1388"/>
                    <a:pt x="633" y="1386"/>
                  </a:cubicBezTo>
                  <a:cubicBezTo>
                    <a:pt x="637" y="1380"/>
                    <a:pt x="638" y="1376"/>
                    <a:pt x="634" y="1376"/>
                  </a:cubicBezTo>
                  <a:cubicBezTo>
                    <a:pt x="633" y="1376"/>
                    <a:pt x="629" y="1372"/>
                    <a:pt x="630" y="1371"/>
                  </a:cubicBezTo>
                  <a:cubicBezTo>
                    <a:pt x="633" y="1365"/>
                    <a:pt x="652" y="1381"/>
                    <a:pt x="650" y="138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8" name="Freeform 1253"/>
            <p:cNvSpPr>
              <a:spLocks/>
            </p:cNvSpPr>
            <p:nvPr/>
          </p:nvSpPr>
          <p:spPr bwMode="auto">
            <a:xfrm>
              <a:off x="3321" y="995"/>
              <a:ext cx="11" cy="1"/>
            </a:xfrm>
            <a:custGeom>
              <a:avLst/>
              <a:gdLst>
                <a:gd name="T0" fmla="*/ 17 w 17"/>
                <a:gd name="T1" fmla="*/ 0 h 1"/>
                <a:gd name="T2" fmla="*/ 0 w 17"/>
                <a:gd name="T3" fmla="*/ 1 h 1"/>
                <a:gd name="T4" fmla="*/ 17 w 17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">
                  <a:moveTo>
                    <a:pt x="17" y="0"/>
                  </a:moveTo>
                  <a:cubicBezTo>
                    <a:pt x="12" y="0"/>
                    <a:pt x="5" y="0"/>
                    <a:pt x="0" y="1"/>
                  </a:cubicBezTo>
                  <a:cubicBezTo>
                    <a:pt x="5" y="0"/>
                    <a:pt x="12" y="0"/>
                    <a:pt x="17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79" name="Freeform 1254"/>
            <p:cNvSpPr>
              <a:spLocks/>
            </p:cNvSpPr>
            <p:nvPr/>
          </p:nvSpPr>
          <p:spPr bwMode="auto">
            <a:xfrm>
              <a:off x="3674" y="1644"/>
              <a:ext cx="51" cy="46"/>
            </a:xfrm>
            <a:custGeom>
              <a:avLst/>
              <a:gdLst>
                <a:gd name="T0" fmla="*/ 47 w 78"/>
                <a:gd name="T1" fmla="*/ 68 h 70"/>
                <a:gd name="T2" fmla="*/ 47 w 78"/>
                <a:gd name="T3" fmla="*/ 60 h 70"/>
                <a:gd name="T4" fmla="*/ 59 w 78"/>
                <a:gd name="T5" fmla="*/ 55 h 70"/>
                <a:gd name="T6" fmla="*/ 62 w 78"/>
                <a:gd name="T7" fmla="*/ 34 h 70"/>
                <a:gd name="T8" fmla="*/ 76 w 78"/>
                <a:gd name="T9" fmla="*/ 41 h 70"/>
                <a:gd name="T10" fmla="*/ 71 w 78"/>
                <a:gd name="T11" fmla="*/ 33 h 70"/>
                <a:gd name="T12" fmla="*/ 71 w 78"/>
                <a:gd name="T13" fmla="*/ 33 h 70"/>
                <a:gd name="T14" fmla="*/ 56 w 78"/>
                <a:gd name="T15" fmla="*/ 20 h 70"/>
                <a:gd name="T16" fmla="*/ 53 w 78"/>
                <a:gd name="T17" fmla="*/ 25 h 70"/>
                <a:gd name="T18" fmla="*/ 56 w 78"/>
                <a:gd name="T19" fmla="*/ 34 h 70"/>
                <a:gd name="T20" fmla="*/ 45 w 78"/>
                <a:gd name="T21" fmla="*/ 21 h 70"/>
                <a:gd name="T22" fmla="*/ 52 w 78"/>
                <a:gd name="T23" fmla="*/ 18 h 70"/>
                <a:gd name="T24" fmla="*/ 51 w 78"/>
                <a:gd name="T25" fmla="*/ 13 h 70"/>
                <a:gd name="T26" fmla="*/ 1 w 78"/>
                <a:gd name="T27" fmla="*/ 24 h 70"/>
                <a:gd name="T28" fmla="*/ 6 w 78"/>
                <a:gd name="T29" fmla="*/ 32 h 70"/>
                <a:gd name="T30" fmla="*/ 47 w 78"/>
                <a:gd name="T31" fmla="*/ 6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8" h="70">
                  <a:moveTo>
                    <a:pt x="47" y="68"/>
                  </a:moveTo>
                  <a:cubicBezTo>
                    <a:pt x="55" y="67"/>
                    <a:pt x="47" y="61"/>
                    <a:pt x="47" y="60"/>
                  </a:cubicBezTo>
                  <a:cubicBezTo>
                    <a:pt x="47" y="60"/>
                    <a:pt x="60" y="56"/>
                    <a:pt x="59" y="55"/>
                  </a:cubicBezTo>
                  <a:cubicBezTo>
                    <a:pt x="59" y="49"/>
                    <a:pt x="56" y="37"/>
                    <a:pt x="62" y="34"/>
                  </a:cubicBezTo>
                  <a:cubicBezTo>
                    <a:pt x="65" y="32"/>
                    <a:pt x="73" y="46"/>
                    <a:pt x="76" y="41"/>
                  </a:cubicBezTo>
                  <a:cubicBezTo>
                    <a:pt x="78" y="38"/>
                    <a:pt x="73" y="36"/>
                    <a:pt x="71" y="33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7" y="25"/>
                    <a:pt x="51" y="0"/>
                    <a:pt x="56" y="20"/>
                  </a:cubicBezTo>
                  <a:cubicBezTo>
                    <a:pt x="56" y="22"/>
                    <a:pt x="53" y="25"/>
                    <a:pt x="53" y="25"/>
                  </a:cubicBezTo>
                  <a:cubicBezTo>
                    <a:pt x="53" y="26"/>
                    <a:pt x="60" y="34"/>
                    <a:pt x="56" y="34"/>
                  </a:cubicBezTo>
                  <a:cubicBezTo>
                    <a:pt x="52" y="35"/>
                    <a:pt x="47" y="25"/>
                    <a:pt x="45" y="21"/>
                  </a:cubicBezTo>
                  <a:cubicBezTo>
                    <a:pt x="43" y="17"/>
                    <a:pt x="55" y="25"/>
                    <a:pt x="52" y="18"/>
                  </a:cubicBezTo>
                  <a:cubicBezTo>
                    <a:pt x="52" y="17"/>
                    <a:pt x="52" y="14"/>
                    <a:pt x="51" y="13"/>
                  </a:cubicBezTo>
                  <a:cubicBezTo>
                    <a:pt x="49" y="10"/>
                    <a:pt x="3" y="19"/>
                    <a:pt x="1" y="24"/>
                  </a:cubicBezTo>
                  <a:cubicBezTo>
                    <a:pt x="0" y="25"/>
                    <a:pt x="4" y="31"/>
                    <a:pt x="6" y="32"/>
                  </a:cubicBezTo>
                  <a:cubicBezTo>
                    <a:pt x="16" y="39"/>
                    <a:pt x="32" y="70"/>
                    <a:pt x="47" y="68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0" name="Freeform 1255"/>
            <p:cNvSpPr>
              <a:spLocks/>
            </p:cNvSpPr>
            <p:nvPr/>
          </p:nvSpPr>
          <p:spPr bwMode="auto">
            <a:xfrm>
              <a:off x="3191" y="1846"/>
              <a:ext cx="5" cy="9"/>
            </a:xfrm>
            <a:custGeom>
              <a:avLst/>
              <a:gdLst>
                <a:gd name="T0" fmla="*/ 7 w 9"/>
                <a:gd name="T1" fmla="*/ 3 h 14"/>
                <a:gd name="T2" fmla="*/ 7 w 9"/>
                <a:gd name="T3" fmla="*/ 3 h 14"/>
                <a:gd name="T4" fmla="*/ 4 w 9"/>
                <a:gd name="T5" fmla="*/ 4 h 14"/>
                <a:gd name="T6" fmla="*/ 7 w 9"/>
                <a:gd name="T7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4">
                  <a:moveTo>
                    <a:pt x="7" y="3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9" y="0"/>
                    <a:pt x="5" y="1"/>
                    <a:pt x="4" y="4"/>
                  </a:cubicBezTo>
                  <a:cubicBezTo>
                    <a:pt x="0" y="14"/>
                    <a:pt x="5" y="6"/>
                    <a:pt x="7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1" name="Freeform 1256"/>
            <p:cNvSpPr>
              <a:spLocks/>
            </p:cNvSpPr>
            <p:nvPr/>
          </p:nvSpPr>
          <p:spPr bwMode="auto">
            <a:xfrm>
              <a:off x="3186" y="1852"/>
              <a:ext cx="7" cy="3"/>
            </a:xfrm>
            <a:custGeom>
              <a:avLst/>
              <a:gdLst>
                <a:gd name="T0" fmla="*/ 0 w 10"/>
                <a:gd name="T1" fmla="*/ 4 h 5"/>
                <a:gd name="T2" fmla="*/ 4 w 10"/>
                <a:gd name="T3" fmla="*/ 4 h 5"/>
                <a:gd name="T4" fmla="*/ 9 w 10"/>
                <a:gd name="T5" fmla="*/ 4 h 5"/>
                <a:gd name="T6" fmla="*/ 8 w 10"/>
                <a:gd name="T7" fmla="*/ 2 h 5"/>
                <a:gd name="T8" fmla="*/ 7 w 10"/>
                <a:gd name="T9" fmla="*/ 1 h 5"/>
                <a:gd name="T10" fmla="*/ 4 w 10"/>
                <a:gd name="T11" fmla="*/ 0 h 5"/>
                <a:gd name="T12" fmla="*/ 0 w 10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5">
                  <a:moveTo>
                    <a:pt x="0" y="4"/>
                  </a:moveTo>
                  <a:cubicBezTo>
                    <a:pt x="1" y="5"/>
                    <a:pt x="3" y="3"/>
                    <a:pt x="4" y="4"/>
                  </a:cubicBezTo>
                  <a:cubicBezTo>
                    <a:pt x="5" y="4"/>
                    <a:pt x="9" y="5"/>
                    <a:pt x="9" y="4"/>
                  </a:cubicBezTo>
                  <a:cubicBezTo>
                    <a:pt x="10" y="3"/>
                    <a:pt x="8" y="2"/>
                    <a:pt x="8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4" y="0"/>
                    <a:pt x="4" y="0"/>
                  </a:cubicBezTo>
                  <a:cubicBezTo>
                    <a:pt x="3" y="1"/>
                    <a:pt x="0" y="4"/>
                    <a:pt x="0" y="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2" name="Freeform 1257"/>
            <p:cNvSpPr>
              <a:spLocks/>
            </p:cNvSpPr>
            <p:nvPr/>
          </p:nvSpPr>
          <p:spPr bwMode="auto">
            <a:xfrm>
              <a:off x="3137" y="1825"/>
              <a:ext cx="13" cy="17"/>
            </a:xfrm>
            <a:custGeom>
              <a:avLst/>
              <a:gdLst>
                <a:gd name="T0" fmla="*/ 13 w 20"/>
                <a:gd name="T1" fmla="*/ 7 h 26"/>
                <a:gd name="T2" fmla="*/ 7 w 20"/>
                <a:gd name="T3" fmla="*/ 25 h 26"/>
                <a:gd name="T4" fmla="*/ 12 w 20"/>
                <a:gd name="T5" fmla="*/ 20 h 26"/>
                <a:gd name="T6" fmla="*/ 11 w 20"/>
                <a:gd name="T7" fmla="*/ 15 h 26"/>
                <a:gd name="T8" fmla="*/ 18 w 20"/>
                <a:gd name="T9" fmla="*/ 21 h 26"/>
                <a:gd name="T10" fmla="*/ 13 w 20"/>
                <a:gd name="T11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13" y="7"/>
                  </a:moveTo>
                  <a:cubicBezTo>
                    <a:pt x="8" y="0"/>
                    <a:pt x="0" y="22"/>
                    <a:pt x="7" y="25"/>
                  </a:cubicBezTo>
                  <a:cubicBezTo>
                    <a:pt x="10" y="26"/>
                    <a:pt x="12" y="23"/>
                    <a:pt x="12" y="20"/>
                  </a:cubicBezTo>
                  <a:cubicBezTo>
                    <a:pt x="12" y="19"/>
                    <a:pt x="10" y="15"/>
                    <a:pt x="11" y="15"/>
                  </a:cubicBezTo>
                  <a:cubicBezTo>
                    <a:pt x="13" y="14"/>
                    <a:pt x="16" y="23"/>
                    <a:pt x="18" y="21"/>
                  </a:cubicBezTo>
                  <a:cubicBezTo>
                    <a:pt x="20" y="20"/>
                    <a:pt x="15" y="8"/>
                    <a:pt x="13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3" name="Freeform 1258"/>
            <p:cNvSpPr>
              <a:spLocks/>
            </p:cNvSpPr>
            <p:nvPr/>
          </p:nvSpPr>
          <p:spPr bwMode="auto">
            <a:xfrm>
              <a:off x="3187" y="1827"/>
              <a:ext cx="7" cy="8"/>
            </a:xfrm>
            <a:custGeom>
              <a:avLst/>
              <a:gdLst>
                <a:gd name="T0" fmla="*/ 2 w 11"/>
                <a:gd name="T1" fmla="*/ 4 h 13"/>
                <a:gd name="T2" fmla="*/ 7 w 11"/>
                <a:gd name="T3" fmla="*/ 7 h 13"/>
                <a:gd name="T4" fmla="*/ 6 w 11"/>
                <a:gd name="T5" fmla="*/ 10 h 13"/>
                <a:gd name="T6" fmla="*/ 8 w 11"/>
                <a:gd name="T7" fmla="*/ 10 h 13"/>
                <a:gd name="T8" fmla="*/ 11 w 11"/>
                <a:gd name="T9" fmla="*/ 5 h 13"/>
                <a:gd name="T10" fmla="*/ 2 w 11"/>
                <a:gd name="T11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3">
                  <a:moveTo>
                    <a:pt x="2" y="4"/>
                  </a:moveTo>
                  <a:cubicBezTo>
                    <a:pt x="0" y="9"/>
                    <a:pt x="6" y="5"/>
                    <a:pt x="7" y="7"/>
                  </a:cubicBezTo>
                  <a:cubicBezTo>
                    <a:pt x="7" y="8"/>
                    <a:pt x="6" y="9"/>
                    <a:pt x="6" y="10"/>
                  </a:cubicBezTo>
                  <a:cubicBezTo>
                    <a:pt x="5" y="13"/>
                    <a:pt x="8" y="12"/>
                    <a:pt x="8" y="10"/>
                  </a:cubicBezTo>
                  <a:cubicBezTo>
                    <a:pt x="8" y="8"/>
                    <a:pt x="10" y="7"/>
                    <a:pt x="11" y="5"/>
                  </a:cubicBezTo>
                  <a:cubicBezTo>
                    <a:pt x="11" y="3"/>
                    <a:pt x="4" y="0"/>
                    <a:pt x="2" y="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4" name="Freeform 1259"/>
            <p:cNvSpPr>
              <a:spLocks/>
            </p:cNvSpPr>
            <p:nvPr/>
          </p:nvSpPr>
          <p:spPr bwMode="auto">
            <a:xfrm>
              <a:off x="3613" y="1591"/>
              <a:ext cx="68" cy="58"/>
            </a:xfrm>
            <a:custGeom>
              <a:avLst/>
              <a:gdLst>
                <a:gd name="T0" fmla="*/ 92 w 103"/>
                <a:gd name="T1" fmla="*/ 61 h 88"/>
                <a:gd name="T2" fmla="*/ 96 w 103"/>
                <a:gd name="T3" fmla="*/ 59 h 88"/>
                <a:gd name="T4" fmla="*/ 91 w 103"/>
                <a:gd name="T5" fmla="*/ 54 h 88"/>
                <a:gd name="T6" fmla="*/ 95 w 103"/>
                <a:gd name="T7" fmla="*/ 53 h 88"/>
                <a:gd name="T8" fmla="*/ 84 w 103"/>
                <a:gd name="T9" fmla="*/ 47 h 88"/>
                <a:gd name="T10" fmla="*/ 74 w 103"/>
                <a:gd name="T11" fmla="*/ 38 h 88"/>
                <a:gd name="T12" fmla="*/ 91 w 103"/>
                <a:gd name="T13" fmla="*/ 43 h 88"/>
                <a:gd name="T14" fmla="*/ 65 w 103"/>
                <a:gd name="T15" fmla="*/ 24 h 88"/>
                <a:gd name="T16" fmla="*/ 40 w 103"/>
                <a:gd name="T17" fmla="*/ 49 h 88"/>
                <a:gd name="T18" fmla="*/ 45 w 103"/>
                <a:gd name="T19" fmla="*/ 39 h 88"/>
                <a:gd name="T20" fmla="*/ 36 w 103"/>
                <a:gd name="T21" fmla="*/ 15 h 88"/>
                <a:gd name="T22" fmla="*/ 44 w 103"/>
                <a:gd name="T23" fmla="*/ 15 h 88"/>
                <a:gd name="T24" fmla="*/ 13 w 103"/>
                <a:gd name="T25" fmla="*/ 9 h 88"/>
                <a:gd name="T26" fmla="*/ 14 w 103"/>
                <a:gd name="T27" fmla="*/ 13 h 88"/>
                <a:gd name="T28" fmla="*/ 21 w 103"/>
                <a:gd name="T29" fmla="*/ 20 h 88"/>
                <a:gd name="T30" fmla="*/ 11 w 103"/>
                <a:gd name="T31" fmla="*/ 22 h 88"/>
                <a:gd name="T32" fmla="*/ 17 w 103"/>
                <a:gd name="T33" fmla="*/ 32 h 88"/>
                <a:gd name="T34" fmla="*/ 34 w 103"/>
                <a:gd name="T35" fmla="*/ 54 h 88"/>
                <a:gd name="T36" fmla="*/ 38 w 103"/>
                <a:gd name="T37" fmla="*/ 50 h 88"/>
                <a:gd name="T38" fmla="*/ 40 w 103"/>
                <a:gd name="T39" fmla="*/ 79 h 88"/>
                <a:gd name="T40" fmla="*/ 48 w 103"/>
                <a:gd name="T41" fmla="*/ 73 h 88"/>
                <a:gd name="T42" fmla="*/ 59 w 103"/>
                <a:gd name="T43" fmla="*/ 78 h 88"/>
                <a:gd name="T44" fmla="*/ 58 w 103"/>
                <a:gd name="T45" fmla="*/ 74 h 88"/>
                <a:gd name="T46" fmla="*/ 61 w 103"/>
                <a:gd name="T47" fmla="*/ 69 h 88"/>
                <a:gd name="T48" fmla="*/ 83 w 103"/>
                <a:gd name="T49" fmla="*/ 83 h 88"/>
                <a:gd name="T50" fmla="*/ 87 w 103"/>
                <a:gd name="T51" fmla="*/ 74 h 88"/>
                <a:gd name="T52" fmla="*/ 89 w 103"/>
                <a:gd name="T53" fmla="*/ 67 h 88"/>
                <a:gd name="T54" fmla="*/ 92 w 103"/>
                <a:gd name="T55" fmla="*/ 6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3" h="88">
                  <a:moveTo>
                    <a:pt x="92" y="61"/>
                  </a:moveTo>
                  <a:cubicBezTo>
                    <a:pt x="86" y="54"/>
                    <a:pt x="103" y="64"/>
                    <a:pt x="96" y="59"/>
                  </a:cubicBezTo>
                  <a:cubicBezTo>
                    <a:pt x="95" y="58"/>
                    <a:pt x="89" y="56"/>
                    <a:pt x="91" y="54"/>
                  </a:cubicBezTo>
                  <a:cubicBezTo>
                    <a:pt x="92" y="53"/>
                    <a:pt x="93" y="53"/>
                    <a:pt x="95" y="53"/>
                  </a:cubicBezTo>
                  <a:cubicBezTo>
                    <a:pt x="90" y="51"/>
                    <a:pt x="86" y="48"/>
                    <a:pt x="84" y="47"/>
                  </a:cubicBezTo>
                  <a:cubicBezTo>
                    <a:pt x="80" y="46"/>
                    <a:pt x="71" y="41"/>
                    <a:pt x="74" y="38"/>
                  </a:cubicBezTo>
                  <a:cubicBezTo>
                    <a:pt x="77" y="35"/>
                    <a:pt x="91" y="44"/>
                    <a:pt x="91" y="43"/>
                  </a:cubicBezTo>
                  <a:cubicBezTo>
                    <a:pt x="92" y="39"/>
                    <a:pt x="69" y="23"/>
                    <a:pt x="65" y="24"/>
                  </a:cubicBezTo>
                  <a:cubicBezTo>
                    <a:pt x="43" y="31"/>
                    <a:pt x="62" y="52"/>
                    <a:pt x="40" y="49"/>
                  </a:cubicBezTo>
                  <a:cubicBezTo>
                    <a:pt x="38" y="48"/>
                    <a:pt x="44" y="42"/>
                    <a:pt x="45" y="39"/>
                  </a:cubicBezTo>
                  <a:cubicBezTo>
                    <a:pt x="50" y="28"/>
                    <a:pt x="38" y="24"/>
                    <a:pt x="36" y="15"/>
                  </a:cubicBezTo>
                  <a:cubicBezTo>
                    <a:pt x="35" y="11"/>
                    <a:pt x="44" y="16"/>
                    <a:pt x="44" y="15"/>
                  </a:cubicBezTo>
                  <a:cubicBezTo>
                    <a:pt x="46" y="0"/>
                    <a:pt x="21" y="1"/>
                    <a:pt x="13" y="9"/>
                  </a:cubicBezTo>
                  <a:cubicBezTo>
                    <a:pt x="12" y="11"/>
                    <a:pt x="16" y="11"/>
                    <a:pt x="14" y="13"/>
                  </a:cubicBezTo>
                  <a:cubicBezTo>
                    <a:pt x="0" y="20"/>
                    <a:pt x="21" y="20"/>
                    <a:pt x="21" y="20"/>
                  </a:cubicBezTo>
                  <a:cubicBezTo>
                    <a:pt x="20" y="25"/>
                    <a:pt x="13" y="24"/>
                    <a:pt x="11" y="22"/>
                  </a:cubicBezTo>
                  <a:cubicBezTo>
                    <a:pt x="6" y="18"/>
                    <a:pt x="16" y="29"/>
                    <a:pt x="17" y="32"/>
                  </a:cubicBezTo>
                  <a:cubicBezTo>
                    <a:pt x="20" y="39"/>
                    <a:pt x="23" y="52"/>
                    <a:pt x="34" y="54"/>
                  </a:cubicBezTo>
                  <a:cubicBezTo>
                    <a:pt x="37" y="55"/>
                    <a:pt x="35" y="49"/>
                    <a:pt x="38" y="50"/>
                  </a:cubicBezTo>
                  <a:cubicBezTo>
                    <a:pt x="45" y="54"/>
                    <a:pt x="10" y="83"/>
                    <a:pt x="40" y="79"/>
                  </a:cubicBezTo>
                  <a:cubicBezTo>
                    <a:pt x="43" y="78"/>
                    <a:pt x="45" y="73"/>
                    <a:pt x="48" y="73"/>
                  </a:cubicBezTo>
                  <a:cubicBezTo>
                    <a:pt x="51" y="73"/>
                    <a:pt x="55" y="79"/>
                    <a:pt x="59" y="78"/>
                  </a:cubicBezTo>
                  <a:cubicBezTo>
                    <a:pt x="62" y="77"/>
                    <a:pt x="59" y="75"/>
                    <a:pt x="58" y="74"/>
                  </a:cubicBezTo>
                  <a:cubicBezTo>
                    <a:pt x="52" y="72"/>
                    <a:pt x="57" y="70"/>
                    <a:pt x="61" y="69"/>
                  </a:cubicBezTo>
                  <a:cubicBezTo>
                    <a:pt x="63" y="68"/>
                    <a:pt x="73" y="88"/>
                    <a:pt x="83" y="83"/>
                  </a:cubicBezTo>
                  <a:cubicBezTo>
                    <a:pt x="87" y="81"/>
                    <a:pt x="82" y="74"/>
                    <a:pt x="87" y="74"/>
                  </a:cubicBezTo>
                  <a:cubicBezTo>
                    <a:pt x="89" y="74"/>
                    <a:pt x="87" y="65"/>
                    <a:pt x="89" y="67"/>
                  </a:cubicBezTo>
                  <a:cubicBezTo>
                    <a:pt x="92" y="71"/>
                    <a:pt x="101" y="69"/>
                    <a:pt x="92" y="6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5" name="Freeform 1260"/>
            <p:cNvSpPr>
              <a:spLocks/>
            </p:cNvSpPr>
            <p:nvPr/>
          </p:nvSpPr>
          <p:spPr bwMode="auto">
            <a:xfrm>
              <a:off x="3290" y="1533"/>
              <a:ext cx="20" cy="6"/>
            </a:xfrm>
            <a:custGeom>
              <a:avLst/>
              <a:gdLst>
                <a:gd name="T0" fmla="*/ 7 w 31"/>
                <a:gd name="T1" fmla="*/ 9 h 9"/>
                <a:gd name="T2" fmla="*/ 3 w 31"/>
                <a:gd name="T3" fmla="*/ 8 h 9"/>
                <a:gd name="T4" fmla="*/ 3 w 31"/>
                <a:gd name="T5" fmla="*/ 8 h 9"/>
                <a:gd name="T6" fmla="*/ 7 w 31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9">
                  <a:moveTo>
                    <a:pt x="7" y="9"/>
                  </a:moveTo>
                  <a:cubicBezTo>
                    <a:pt x="31" y="9"/>
                    <a:pt x="0" y="0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5" y="9"/>
                    <a:pt x="5" y="9"/>
                    <a:pt x="7" y="9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6" name="Freeform 1261"/>
            <p:cNvSpPr>
              <a:spLocks/>
            </p:cNvSpPr>
            <p:nvPr/>
          </p:nvSpPr>
          <p:spPr bwMode="auto">
            <a:xfrm>
              <a:off x="3167" y="1843"/>
              <a:ext cx="14" cy="14"/>
            </a:xfrm>
            <a:custGeom>
              <a:avLst/>
              <a:gdLst>
                <a:gd name="T0" fmla="*/ 20 w 22"/>
                <a:gd name="T1" fmla="*/ 6 h 21"/>
                <a:gd name="T2" fmla="*/ 13 w 22"/>
                <a:gd name="T3" fmla="*/ 4 h 21"/>
                <a:gd name="T4" fmla="*/ 10 w 22"/>
                <a:gd name="T5" fmla="*/ 1 h 21"/>
                <a:gd name="T6" fmla="*/ 8 w 22"/>
                <a:gd name="T7" fmla="*/ 6 h 21"/>
                <a:gd name="T8" fmla="*/ 1 w 22"/>
                <a:gd name="T9" fmla="*/ 7 h 21"/>
                <a:gd name="T10" fmla="*/ 5 w 22"/>
                <a:gd name="T11" fmla="*/ 8 h 21"/>
                <a:gd name="T12" fmla="*/ 6 w 22"/>
                <a:gd name="T13" fmla="*/ 10 h 21"/>
                <a:gd name="T14" fmla="*/ 10 w 22"/>
                <a:gd name="T15" fmla="*/ 10 h 21"/>
                <a:gd name="T16" fmla="*/ 14 w 22"/>
                <a:gd name="T17" fmla="*/ 16 h 21"/>
                <a:gd name="T18" fmla="*/ 19 w 22"/>
                <a:gd name="T19" fmla="*/ 14 h 21"/>
                <a:gd name="T20" fmla="*/ 22 w 22"/>
                <a:gd name="T21" fmla="*/ 15 h 21"/>
                <a:gd name="T22" fmla="*/ 22 w 22"/>
                <a:gd name="T23" fmla="*/ 14 h 21"/>
                <a:gd name="T24" fmla="*/ 20 w 22"/>
                <a:gd name="T25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21">
                  <a:moveTo>
                    <a:pt x="20" y="6"/>
                  </a:moveTo>
                  <a:cubicBezTo>
                    <a:pt x="20" y="5"/>
                    <a:pt x="14" y="4"/>
                    <a:pt x="13" y="4"/>
                  </a:cubicBezTo>
                  <a:cubicBezTo>
                    <a:pt x="12" y="3"/>
                    <a:pt x="11" y="0"/>
                    <a:pt x="10" y="1"/>
                  </a:cubicBezTo>
                  <a:cubicBezTo>
                    <a:pt x="9" y="3"/>
                    <a:pt x="10" y="5"/>
                    <a:pt x="8" y="6"/>
                  </a:cubicBezTo>
                  <a:cubicBezTo>
                    <a:pt x="8" y="6"/>
                    <a:pt x="0" y="3"/>
                    <a:pt x="1" y="7"/>
                  </a:cubicBezTo>
                  <a:cubicBezTo>
                    <a:pt x="2" y="8"/>
                    <a:pt x="4" y="7"/>
                    <a:pt x="5" y="8"/>
                  </a:cubicBezTo>
                  <a:cubicBezTo>
                    <a:pt x="6" y="9"/>
                    <a:pt x="5" y="10"/>
                    <a:pt x="6" y="10"/>
                  </a:cubicBezTo>
                  <a:cubicBezTo>
                    <a:pt x="7" y="11"/>
                    <a:pt x="8" y="9"/>
                    <a:pt x="10" y="10"/>
                  </a:cubicBezTo>
                  <a:cubicBezTo>
                    <a:pt x="12" y="10"/>
                    <a:pt x="11" y="15"/>
                    <a:pt x="14" y="16"/>
                  </a:cubicBezTo>
                  <a:cubicBezTo>
                    <a:pt x="16" y="17"/>
                    <a:pt x="17" y="12"/>
                    <a:pt x="19" y="14"/>
                  </a:cubicBezTo>
                  <a:cubicBezTo>
                    <a:pt x="20" y="16"/>
                    <a:pt x="19" y="21"/>
                    <a:pt x="22" y="15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19" y="12"/>
                    <a:pt x="22" y="9"/>
                    <a:pt x="20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7" name="Freeform 1262"/>
            <p:cNvSpPr>
              <a:spLocks/>
            </p:cNvSpPr>
            <p:nvPr/>
          </p:nvSpPr>
          <p:spPr bwMode="auto">
            <a:xfrm>
              <a:off x="3147" y="1814"/>
              <a:ext cx="37" cy="35"/>
            </a:xfrm>
            <a:custGeom>
              <a:avLst/>
              <a:gdLst>
                <a:gd name="T0" fmla="*/ 0 w 56"/>
                <a:gd name="T1" fmla="*/ 21 h 53"/>
                <a:gd name="T2" fmla="*/ 4 w 56"/>
                <a:gd name="T3" fmla="*/ 35 h 53"/>
                <a:gd name="T4" fmla="*/ 10 w 56"/>
                <a:gd name="T5" fmla="*/ 48 h 53"/>
                <a:gd name="T6" fmla="*/ 19 w 56"/>
                <a:gd name="T7" fmla="*/ 48 h 53"/>
                <a:gd name="T8" fmla="*/ 25 w 56"/>
                <a:gd name="T9" fmla="*/ 53 h 53"/>
                <a:gd name="T10" fmla="*/ 28 w 56"/>
                <a:gd name="T11" fmla="*/ 46 h 53"/>
                <a:gd name="T12" fmla="*/ 33 w 56"/>
                <a:gd name="T13" fmla="*/ 41 h 53"/>
                <a:gd name="T14" fmla="*/ 33 w 56"/>
                <a:gd name="T15" fmla="*/ 37 h 53"/>
                <a:gd name="T16" fmla="*/ 25 w 56"/>
                <a:gd name="T17" fmla="*/ 27 h 53"/>
                <a:gd name="T18" fmla="*/ 33 w 56"/>
                <a:gd name="T19" fmla="*/ 33 h 53"/>
                <a:gd name="T20" fmla="*/ 33 w 56"/>
                <a:gd name="T21" fmla="*/ 21 h 53"/>
                <a:gd name="T22" fmla="*/ 37 w 56"/>
                <a:gd name="T23" fmla="*/ 16 h 53"/>
                <a:gd name="T24" fmla="*/ 37 w 56"/>
                <a:gd name="T25" fmla="*/ 28 h 53"/>
                <a:gd name="T26" fmla="*/ 39 w 56"/>
                <a:gd name="T27" fmla="*/ 26 h 53"/>
                <a:gd name="T28" fmla="*/ 41 w 56"/>
                <a:gd name="T29" fmla="*/ 27 h 53"/>
                <a:gd name="T30" fmla="*/ 43 w 56"/>
                <a:gd name="T31" fmla="*/ 33 h 53"/>
                <a:gd name="T32" fmla="*/ 49 w 56"/>
                <a:gd name="T33" fmla="*/ 30 h 53"/>
                <a:gd name="T34" fmla="*/ 51 w 56"/>
                <a:gd name="T35" fmla="*/ 26 h 53"/>
                <a:gd name="T36" fmla="*/ 53 w 56"/>
                <a:gd name="T37" fmla="*/ 23 h 53"/>
                <a:gd name="T38" fmla="*/ 48 w 56"/>
                <a:gd name="T39" fmla="*/ 18 h 53"/>
                <a:gd name="T40" fmla="*/ 46 w 56"/>
                <a:gd name="T41" fmla="*/ 13 h 53"/>
                <a:gd name="T42" fmla="*/ 41 w 56"/>
                <a:gd name="T43" fmla="*/ 10 h 53"/>
                <a:gd name="T44" fmla="*/ 38 w 56"/>
                <a:gd name="T45" fmla="*/ 9 h 53"/>
                <a:gd name="T46" fmla="*/ 35 w 56"/>
                <a:gd name="T47" fmla="*/ 11 h 53"/>
                <a:gd name="T48" fmla="*/ 25 w 56"/>
                <a:gd name="T49" fmla="*/ 8 h 53"/>
                <a:gd name="T50" fmla="*/ 22 w 56"/>
                <a:gd name="T51" fmla="*/ 1 h 53"/>
                <a:gd name="T52" fmla="*/ 12 w 56"/>
                <a:gd name="T53" fmla="*/ 8 h 53"/>
                <a:gd name="T54" fmla="*/ 19 w 56"/>
                <a:gd name="T55" fmla="*/ 14 h 53"/>
                <a:gd name="T56" fmla="*/ 23 w 56"/>
                <a:gd name="T57" fmla="*/ 20 h 53"/>
                <a:gd name="T58" fmla="*/ 21 w 56"/>
                <a:gd name="T59" fmla="*/ 21 h 53"/>
                <a:gd name="T60" fmla="*/ 15 w 56"/>
                <a:gd name="T61" fmla="*/ 26 h 53"/>
                <a:gd name="T62" fmla="*/ 10 w 56"/>
                <a:gd name="T63" fmla="*/ 24 h 53"/>
                <a:gd name="T64" fmla="*/ 13 w 56"/>
                <a:gd name="T65" fmla="*/ 16 h 53"/>
                <a:gd name="T66" fmla="*/ 13 w 56"/>
                <a:gd name="T67" fmla="*/ 16 h 53"/>
                <a:gd name="T68" fmla="*/ 11 w 56"/>
                <a:gd name="T69" fmla="*/ 16 h 53"/>
                <a:gd name="T70" fmla="*/ 6 w 56"/>
                <a:gd name="T71" fmla="*/ 2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6" h="53">
                  <a:moveTo>
                    <a:pt x="4" y="24"/>
                  </a:moveTo>
                  <a:cubicBezTo>
                    <a:pt x="4" y="25"/>
                    <a:pt x="4" y="18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3" y="26"/>
                    <a:pt x="3" y="31"/>
                    <a:pt x="4" y="35"/>
                  </a:cubicBezTo>
                  <a:cubicBezTo>
                    <a:pt x="5" y="39"/>
                    <a:pt x="8" y="42"/>
                    <a:pt x="9" y="45"/>
                  </a:cubicBezTo>
                  <a:cubicBezTo>
                    <a:pt x="9" y="45"/>
                    <a:pt x="10" y="48"/>
                    <a:pt x="10" y="48"/>
                  </a:cubicBezTo>
                  <a:cubicBezTo>
                    <a:pt x="11" y="49"/>
                    <a:pt x="12" y="46"/>
                    <a:pt x="13" y="46"/>
                  </a:cubicBezTo>
                  <a:cubicBezTo>
                    <a:pt x="16" y="44"/>
                    <a:pt x="15" y="48"/>
                    <a:pt x="19" y="48"/>
                  </a:cubicBezTo>
                  <a:cubicBezTo>
                    <a:pt x="21" y="48"/>
                    <a:pt x="19" y="45"/>
                    <a:pt x="22" y="45"/>
                  </a:cubicBezTo>
                  <a:cubicBezTo>
                    <a:pt x="27" y="45"/>
                    <a:pt x="24" y="51"/>
                    <a:pt x="25" y="53"/>
                  </a:cubicBezTo>
                  <a:cubicBezTo>
                    <a:pt x="26" y="53"/>
                    <a:pt x="27" y="53"/>
                    <a:pt x="27" y="53"/>
                  </a:cubicBezTo>
                  <a:cubicBezTo>
                    <a:pt x="30" y="52"/>
                    <a:pt x="25" y="47"/>
                    <a:pt x="28" y="46"/>
                  </a:cubicBezTo>
                  <a:cubicBezTo>
                    <a:pt x="30" y="45"/>
                    <a:pt x="33" y="47"/>
                    <a:pt x="35" y="47"/>
                  </a:cubicBezTo>
                  <a:cubicBezTo>
                    <a:pt x="38" y="45"/>
                    <a:pt x="33" y="43"/>
                    <a:pt x="33" y="41"/>
                  </a:cubicBezTo>
                  <a:cubicBezTo>
                    <a:pt x="33" y="39"/>
                    <a:pt x="36" y="37"/>
                    <a:pt x="36" y="35"/>
                  </a:cubicBezTo>
                  <a:cubicBezTo>
                    <a:pt x="36" y="33"/>
                    <a:pt x="33" y="37"/>
                    <a:pt x="33" y="37"/>
                  </a:cubicBezTo>
                  <a:cubicBezTo>
                    <a:pt x="31" y="36"/>
                    <a:pt x="23" y="30"/>
                    <a:pt x="24" y="28"/>
                  </a:cubicBezTo>
                  <a:cubicBezTo>
                    <a:pt x="24" y="27"/>
                    <a:pt x="25" y="27"/>
                    <a:pt x="25" y="27"/>
                  </a:cubicBezTo>
                  <a:cubicBezTo>
                    <a:pt x="31" y="29"/>
                    <a:pt x="24" y="32"/>
                    <a:pt x="30" y="32"/>
                  </a:cubicBezTo>
                  <a:cubicBezTo>
                    <a:pt x="31" y="32"/>
                    <a:pt x="33" y="33"/>
                    <a:pt x="33" y="33"/>
                  </a:cubicBezTo>
                  <a:cubicBezTo>
                    <a:pt x="35" y="27"/>
                    <a:pt x="28" y="22"/>
                    <a:pt x="29" y="20"/>
                  </a:cubicBezTo>
                  <a:cubicBezTo>
                    <a:pt x="30" y="18"/>
                    <a:pt x="31" y="22"/>
                    <a:pt x="33" y="21"/>
                  </a:cubicBezTo>
                  <a:cubicBezTo>
                    <a:pt x="36" y="19"/>
                    <a:pt x="33" y="15"/>
                    <a:pt x="34" y="14"/>
                  </a:cubicBezTo>
                  <a:cubicBezTo>
                    <a:pt x="34" y="13"/>
                    <a:pt x="37" y="15"/>
                    <a:pt x="37" y="16"/>
                  </a:cubicBezTo>
                  <a:cubicBezTo>
                    <a:pt x="38" y="18"/>
                    <a:pt x="34" y="21"/>
                    <a:pt x="33" y="23"/>
                  </a:cubicBezTo>
                  <a:cubicBezTo>
                    <a:pt x="33" y="26"/>
                    <a:pt x="37" y="26"/>
                    <a:pt x="37" y="28"/>
                  </a:cubicBezTo>
                  <a:cubicBezTo>
                    <a:pt x="37" y="29"/>
                    <a:pt x="36" y="31"/>
                    <a:pt x="36" y="32"/>
                  </a:cubicBezTo>
                  <a:cubicBezTo>
                    <a:pt x="37" y="32"/>
                    <a:pt x="39" y="27"/>
                    <a:pt x="39" y="26"/>
                  </a:cubicBezTo>
                  <a:cubicBezTo>
                    <a:pt x="41" y="25"/>
                    <a:pt x="46" y="22"/>
                    <a:pt x="48" y="24"/>
                  </a:cubicBezTo>
                  <a:cubicBezTo>
                    <a:pt x="50" y="26"/>
                    <a:pt x="42" y="26"/>
                    <a:pt x="41" y="27"/>
                  </a:cubicBezTo>
                  <a:cubicBezTo>
                    <a:pt x="40" y="28"/>
                    <a:pt x="38" y="34"/>
                    <a:pt x="40" y="34"/>
                  </a:cubicBezTo>
                  <a:cubicBezTo>
                    <a:pt x="41" y="35"/>
                    <a:pt x="42" y="32"/>
                    <a:pt x="43" y="33"/>
                  </a:cubicBezTo>
                  <a:cubicBezTo>
                    <a:pt x="43" y="34"/>
                    <a:pt x="44" y="34"/>
                    <a:pt x="44" y="35"/>
                  </a:cubicBezTo>
                  <a:cubicBezTo>
                    <a:pt x="48" y="37"/>
                    <a:pt x="47" y="31"/>
                    <a:pt x="49" y="30"/>
                  </a:cubicBezTo>
                  <a:cubicBezTo>
                    <a:pt x="50" y="30"/>
                    <a:pt x="52" y="31"/>
                    <a:pt x="52" y="30"/>
                  </a:cubicBezTo>
                  <a:cubicBezTo>
                    <a:pt x="52" y="29"/>
                    <a:pt x="49" y="27"/>
                    <a:pt x="51" y="26"/>
                  </a:cubicBezTo>
                  <a:cubicBezTo>
                    <a:pt x="51" y="26"/>
                    <a:pt x="52" y="26"/>
                    <a:pt x="53" y="26"/>
                  </a:cubicBezTo>
                  <a:cubicBezTo>
                    <a:pt x="54" y="26"/>
                    <a:pt x="53" y="24"/>
                    <a:pt x="53" y="23"/>
                  </a:cubicBezTo>
                  <a:cubicBezTo>
                    <a:pt x="54" y="22"/>
                    <a:pt x="56" y="20"/>
                    <a:pt x="56" y="19"/>
                  </a:cubicBezTo>
                  <a:cubicBezTo>
                    <a:pt x="56" y="18"/>
                    <a:pt x="49" y="18"/>
                    <a:pt x="48" y="18"/>
                  </a:cubicBezTo>
                  <a:cubicBezTo>
                    <a:pt x="48" y="18"/>
                    <a:pt x="49" y="14"/>
                    <a:pt x="49" y="13"/>
                  </a:cubicBezTo>
                  <a:cubicBezTo>
                    <a:pt x="49" y="12"/>
                    <a:pt x="47" y="13"/>
                    <a:pt x="46" y="13"/>
                  </a:cubicBezTo>
                  <a:cubicBezTo>
                    <a:pt x="46" y="13"/>
                    <a:pt x="45" y="12"/>
                    <a:pt x="45" y="11"/>
                  </a:cubicBezTo>
                  <a:cubicBezTo>
                    <a:pt x="44" y="10"/>
                    <a:pt x="42" y="11"/>
                    <a:pt x="41" y="10"/>
                  </a:cubicBezTo>
                  <a:cubicBezTo>
                    <a:pt x="41" y="10"/>
                    <a:pt x="41" y="9"/>
                    <a:pt x="41" y="8"/>
                  </a:cubicBezTo>
                  <a:cubicBezTo>
                    <a:pt x="40" y="7"/>
                    <a:pt x="39" y="9"/>
                    <a:pt x="38" y="9"/>
                  </a:cubicBezTo>
                  <a:cubicBezTo>
                    <a:pt x="38" y="9"/>
                    <a:pt x="33" y="6"/>
                    <a:pt x="33" y="8"/>
                  </a:cubicBezTo>
                  <a:cubicBezTo>
                    <a:pt x="33" y="8"/>
                    <a:pt x="36" y="10"/>
                    <a:pt x="35" y="11"/>
                  </a:cubicBezTo>
                  <a:cubicBezTo>
                    <a:pt x="34" y="11"/>
                    <a:pt x="31" y="8"/>
                    <a:pt x="30" y="8"/>
                  </a:cubicBezTo>
                  <a:cubicBezTo>
                    <a:pt x="28" y="7"/>
                    <a:pt x="26" y="9"/>
                    <a:pt x="25" y="8"/>
                  </a:cubicBezTo>
                  <a:cubicBezTo>
                    <a:pt x="23" y="8"/>
                    <a:pt x="24" y="3"/>
                    <a:pt x="2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16" y="0"/>
                    <a:pt x="16" y="3"/>
                    <a:pt x="14" y="7"/>
                  </a:cubicBezTo>
                  <a:cubicBezTo>
                    <a:pt x="14" y="7"/>
                    <a:pt x="11" y="7"/>
                    <a:pt x="12" y="8"/>
                  </a:cubicBezTo>
                  <a:cubicBezTo>
                    <a:pt x="12" y="10"/>
                    <a:pt x="15" y="9"/>
                    <a:pt x="16" y="10"/>
                  </a:cubicBezTo>
                  <a:cubicBezTo>
                    <a:pt x="17" y="11"/>
                    <a:pt x="17" y="15"/>
                    <a:pt x="19" y="14"/>
                  </a:cubicBezTo>
                  <a:cubicBezTo>
                    <a:pt x="20" y="13"/>
                    <a:pt x="20" y="9"/>
                    <a:pt x="22" y="9"/>
                  </a:cubicBezTo>
                  <a:cubicBezTo>
                    <a:pt x="24" y="10"/>
                    <a:pt x="28" y="22"/>
                    <a:pt x="23" y="20"/>
                  </a:cubicBezTo>
                  <a:cubicBezTo>
                    <a:pt x="22" y="20"/>
                    <a:pt x="23" y="15"/>
                    <a:pt x="22" y="15"/>
                  </a:cubicBezTo>
                  <a:cubicBezTo>
                    <a:pt x="21" y="15"/>
                    <a:pt x="22" y="21"/>
                    <a:pt x="21" y="21"/>
                  </a:cubicBezTo>
                  <a:cubicBezTo>
                    <a:pt x="20" y="23"/>
                    <a:pt x="18" y="23"/>
                    <a:pt x="19" y="26"/>
                  </a:cubicBezTo>
                  <a:cubicBezTo>
                    <a:pt x="19" y="30"/>
                    <a:pt x="16" y="26"/>
                    <a:pt x="15" y="26"/>
                  </a:cubicBezTo>
                  <a:cubicBezTo>
                    <a:pt x="15" y="26"/>
                    <a:pt x="17" y="32"/>
                    <a:pt x="14" y="32"/>
                  </a:cubicBezTo>
                  <a:cubicBezTo>
                    <a:pt x="14" y="32"/>
                    <a:pt x="10" y="25"/>
                    <a:pt x="10" y="24"/>
                  </a:cubicBezTo>
                  <a:cubicBezTo>
                    <a:pt x="10" y="23"/>
                    <a:pt x="12" y="18"/>
                    <a:pt x="13" y="17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2" y="16"/>
                    <a:pt x="12" y="16"/>
                  </a:cubicBezTo>
                  <a:cubicBezTo>
                    <a:pt x="12" y="16"/>
                    <a:pt x="12" y="16"/>
                    <a:pt x="11" y="16"/>
                  </a:cubicBezTo>
                  <a:cubicBezTo>
                    <a:pt x="7" y="13"/>
                    <a:pt x="11" y="18"/>
                    <a:pt x="10" y="19"/>
                  </a:cubicBezTo>
                  <a:cubicBezTo>
                    <a:pt x="10" y="19"/>
                    <a:pt x="6" y="20"/>
                    <a:pt x="6" y="20"/>
                  </a:cubicBezTo>
                  <a:cubicBezTo>
                    <a:pt x="4" y="21"/>
                    <a:pt x="5" y="23"/>
                    <a:pt x="4" y="2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8" name="Freeform 1263"/>
            <p:cNvSpPr>
              <a:spLocks/>
            </p:cNvSpPr>
            <p:nvPr/>
          </p:nvSpPr>
          <p:spPr bwMode="auto">
            <a:xfrm>
              <a:off x="3179" y="1839"/>
              <a:ext cx="8" cy="11"/>
            </a:xfrm>
            <a:custGeom>
              <a:avLst/>
              <a:gdLst>
                <a:gd name="T0" fmla="*/ 7 w 11"/>
                <a:gd name="T1" fmla="*/ 1 h 16"/>
                <a:gd name="T2" fmla="*/ 7 w 11"/>
                <a:gd name="T3" fmla="*/ 1 h 16"/>
                <a:gd name="T4" fmla="*/ 6 w 11"/>
                <a:gd name="T5" fmla="*/ 5 h 16"/>
                <a:gd name="T6" fmla="*/ 2 w 11"/>
                <a:gd name="T7" fmla="*/ 0 h 16"/>
                <a:gd name="T8" fmla="*/ 1 w 11"/>
                <a:gd name="T9" fmla="*/ 9 h 16"/>
                <a:gd name="T10" fmla="*/ 5 w 11"/>
                <a:gd name="T11" fmla="*/ 11 h 16"/>
                <a:gd name="T12" fmla="*/ 6 w 11"/>
                <a:gd name="T13" fmla="*/ 9 h 16"/>
                <a:gd name="T14" fmla="*/ 7 w 11"/>
                <a:gd name="T15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6">
                  <a:moveTo>
                    <a:pt x="7" y="1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3" y="0"/>
                    <a:pt x="7" y="4"/>
                    <a:pt x="6" y="5"/>
                  </a:cubicBezTo>
                  <a:cubicBezTo>
                    <a:pt x="4" y="7"/>
                    <a:pt x="3" y="0"/>
                    <a:pt x="2" y="0"/>
                  </a:cubicBezTo>
                  <a:cubicBezTo>
                    <a:pt x="2" y="0"/>
                    <a:pt x="0" y="8"/>
                    <a:pt x="1" y="9"/>
                  </a:cubicBezTo>
                  <a:cubicBezTo>
                    <a:pt x="2" y="10"/>
                    <a:pt x="4" y="10"/>
                    <a:pt x="5" y="11"/>
                  </a:cubicBezTo>
                  <a:cubicBezTo>
                    <a:pt x="7" y="16"/>
                    <a:pt x="6" y="10"/>
                    <a:pt x="6" y="9"/>
                  </a:cubicBezTo>
                  <a:cubicBezTo>
                    <a:pt x="7" y="5"/>
                    <a:pt x="11" y="6"/>
                    <a:pt x="7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89" name="Freeform 1264"/>
            <p:cNvSpPr>
              <a:spLocks/>
            </p:cNvSpPr>
            <p:nvPr/>
          </p:nvSpPr>
          <p:spPr bwMode="auto">
            <a:xfrm>
              <a:off x="3396" y="984"/>
              <a:ext cx="46" cy="15"/>
            </a:xfrm>
            <a:custGeom>
              <a:avLst/>
              <a:gdLst>
                <a:gd name="T0" fmla="*/ 69 w 69"/>
                <a:gd name="T1" fmla="*/ 23 h 23"/>
                <a:gd name="T2" fmla="*/ 0 w 69"/>
                <a:gd name="T3" fmla="*/ 0 h 23"/>
                <a:gd name="T4" fmla="*/ 69 w 69"/>
                <a:gd name="T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9" h="23">
                  <a:moveTo>
                    <a:pt x="69" y="23"/>
                  </a:moveTo>
                  <a:cubicBezTo>
                    <a:pt x="61" y="19"/>
                    <a:pt x="17" y="4"/>
                    <a:pt x="0" y="0"/>
                  </a:cubicBezTo>
                  <a:cubicBezTo>
                    <a:pt x="17" y="4"/>
                    <a:pt x="61" y="19"/>
                    <a:pt x="69" y="2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0" name="Freeform 1265"/>
            <p:cNvSpPr>
              <a:spLocks/>
            </p:cNvSpPr>
            <p:nvPr/>
          </p:nvSpPr>
          <p:spPr bwMode="auto">
            <a:xfrm>
              <a:off x="3446" y="1002"/>
              <a:ext cx="9" cy="9"/>
            </a:xfrm>
            <a:custGeom>
              <a:avLst/>
              <a:gdLst>
                <a:gd name="T0" fmla="*/ 14 w 14"/>
                <a:gd name="T1" fmla="*/ 13 h 14"/>
                <a:gd name="T2" fmla="*/ 0 w 14"/>
                <a:gd name="T3" fmla="*/ 0 h 14"/>
                <a:gd name="T4" fmla="*/ 14 w 14"/>
                <a:gd name="T5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14" y="13"/>
                  </a:moveTo>
                  <a:cubicBezTo>
                    <a:pt x="14" y="14"/>
                    <a:pt x="6" y="6"/>
                    <a:pt x="0" y="0"/>
                  </a:cubicBezTo>
                  <a:cubicBezTo>
                    <a:pt x="6" y="6"/>
                    <a:pt x="14" y="14"/>
                    <a:pt x="14" y="1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1" name="Freeform 1266"/>
            <p:cNvSpPr>
              <a:spLocks/>
            </p:cNvSpPr>
            <p:nvPr/>
          </p:nvSpPr>
          <p:spPr bwMode="auto">
            <a:xfrm>
              <a:off x="3208" y="956"/>
              <a:ext cx="22" cy="7"/>
            </a:xfrm>
            <a:custGeom>
              <a:avLst/>
              <a:gdLst>
                <a:gd name="T0" fmla="*/ 0 w 33"/>
                <a:gd name="T1" fmla="*/ 0 h 11"/>
                <a:gd name="T2" fmla="*/ 33 w 33"/>
                <a:gd name="T3" fmla="*/ 10 h 11"/>
                <a:gd name="T4" fmla="*/ 33 w 33"/>
                <a:gd name="T5" fmla="*/ 10 h 11"/>
                <a:gd name="T6" fmla="*/ 0 w 33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11">
                  <a:moveTo>
                    <a:pt x="0" y="0"/>
                  </a:moveTo>
                  <a:cubicBezTo>
                    <a:pt x="12" y="1"/>
                    <a:pt x="30" y="11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0" y="11"/>
                    <a:pt x="12" y="1"/>
                    <a:pt x="0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2" name="Freeform 1267"/>
            <p:cNvSpPr>
              <a:spLocks/>
            </p:cNvSpPr>
            <p:nvPr/>
          </p:nvSpPr>
          <p:spPr bwMode="auto">
            <a:xfrm>
              <a:off x="3665" y="880"/>
              <a:ext cx="12" cy="5"/>
            </a:xfrm>
            <a:custGeom>
              <a:avLst/>
              <a:gdLst>
                <a:gd name="T0" fmla="*/ 18 w 18"/>
                <a:gd name="T1" fmla="*/ 7 h 7"/>
                <a:gd name="T2" fmla="*/ 0 w 18"/>
                <a:gd name="T3" fmla="*/ 0 h 7"/>
                <a:gd name="T4" fmla="*/ 18 w 18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7">
                  <a:moveTo>
                    <a:pt x="18" y="7"/>
                  </a:moveTo>
                  <a:cubicBezTo>
                    <a:pt x="12" y="5"/>
                    <a:pt x="6" y="3"/>
                    <a:pt x="0" y="0"/>
                  </a:cubicBezTo>
                  <a:cubicBezTo>
                    <a:pt x="6" y="3"/>
                    <a:pt x="12" y="5"/>
                    <a:pt x="18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3" name="Freeform 1268"/>
            <p:cNvSpPr>
              <a:spLocks/>
            </p:cNvSpPr>
            <p:nvPr/>
          </p:nvSpPr>
          <p:spPr bwMode="auto">
            <a:xfrm>
              <a:off x="3657" y="885"/>
              <a:ext cx="57" cy="76"/>
            </a:xfrm>
            <a:custGeom>
              <a:avLst/>
              <a:gdLst>
                <a:gd name="T0" fmla="*/ 83 w 87"/>
                <a:gd name="T1" fmla="*/ 44 h 116"/>
                <a:gd name="T2" fmla="*/ 31 w 87"/>
                <a:gd name="T3" fmla="*/ 0 h 116"/>
                <a:gd name="T4" fmla="*/ 83 w 87"/>
                <a:gd name="T5" fmla="*/ 44 h 116"/>
                <a:gd name="T6" fmla="*/ 52 w 87"/>
                <a:gd name="T7" fmla="*/ 116 h 116"/>
                <a:gd name="T8" fmla="*/ 83 w 87"/>
                <a:gd name="T9" fmla="*/ 4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116">
                  <a:moveTo>
                    <a:pt x="83" y="44"/>
                  </a:moveTo>
                  <a:cubicBezTo>
                    <a:pt x="78" y="20"/>
                    <a:pt x="56" y="10"/>
                    <a:pt x="31" y="0"/>
                  </a:cubicBezTo>
                  <a:cubicBezTo>
                    <a:pt x="56" y="10"/>
                    <a:pt x="78" y="20"/>
                    <a:pt x="83" y="44"/>
                  </a:cubicBezTo>
                  <a:cubicBezTo>
                    <a:pt x="87" y="60"/>
                    <a:pt x="0" y="97"/>
                    <a:pt x="52" y="116"/>
                  </a:cubicBezTo>
                  <a:cubicBezTo>
                    <a:pt x="0" y="97"/>
                    <a:pt x="87" y="60"/>
                    <a:pt x="83" y="4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4" name="Freeform 1269"/>
            <p:cNvSpPr>
              <a:spLocks/>
            </p:cNvSpPr>
            <p:nvPr/>
          </p:nvSpPr>
          <p:spPr bwMode="auto">
            <a:xfrm>
              <a:off x="3332" y="995"/>
              <a:ext cx="22" cy="9"/>
            </a:xfrm>
            <a:custGeom>
              <a:avLst/>
              <a:gdLst>
                <a:gd name="T0" fmla="*/ 0 w 34"/>
                <a:gd name="T1" fmla="*/ 0 h 14"/>
                <a:gd name="T2" fmla="*/ 22 w 34"/>
                <a:gd name="T3" fmla="*/ 3 h 14"/>
                <a:gd name="T4" fmla="*/ 34 w 34"/>
                <a:gd name="T5" fmla="*/ 14 h 14"/>
                <a:gd name="T6" fmla="*/ 22 w 34"/>
                <a:gd name="T7" fmla="*/ 3 h 14"/>
                <a:gd name="T8" fmla="*/ 0 w 3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4">
                  <a:moveTo>
                    <a:pt x="0" y="0"/>
                  </a:moveTo>
                  <a:cubicBezTo>
                    <a:pt x="9" y="0"/>
                    <a:pt x="17" y="1"/>
                    <a:pt x="22" y="3"/>
                  </a:cubicBezTo>
                  <a:cubicBezTo>
                    <a:pt x="22" y="3"/>
                    <a:pt x="34" y="14"/>
                    <a:pt x="34" y="14"/>
                  </a:cubicBezTo>
                  <a:cubicBezTo>
                    <a:pt x="34" y="14"/>
                    <a:pt x="22" y="3"/>
                    <a:pt x="22" y="3"/>
                  </a:cubicBezTo>
                  <a:cubicBezTo>
                    <a:pt x="17" y="1"/>
                    <a:pt x="9" y="0"/>
                    <a:pt x="0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5" name="Freeform 1270"/>
            <p:cNvSpPr>
              <a:spLocks/>
            </p:cNvSpPr>
            <p:nvPr/>
          </p:nvSpPr>
          <p:spPr bwMode="auto">
            <a:xfrm>
              <a:off x="3246" y="931"/>
              <a:ext cx="40" cy="26"/>
            </a:xfrm>
            <a:custGeom>
              <a:avLst/>
              <a:gdLst>
                <a:gd name="T0" fmla="*/ 61 w 61"/>
                <a:gd name="T1" fmla="*/ 39 h 39"/>
                <a:gd name="T2" fmla="*/ 0 w 61"/>
                <a:gd name="T3" fmla="*/ 0 h 39"/>
                <a:gd name="T4" fmla="*/ 61 w 61"/>
                <a:gd name="T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1" h="39">
                  <a:moveTo>
                    <a:pt x="61" y="39"/>
                  </a:moveTo>
                  <a:cubicBezTo>
                    <a:pt x="41" y="19"/>
                    <a:pt x="15" y="0"/>
                    <a:pt x="0" y="0"/>
                  </a:cubicBezTo>
                  <a:cubicBezTo>
                    <a:pt x="15" y="0"/>
                    <a:pt x="41" y="19"/>
                    <a:pt x="61" y="39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6" name="Freeform 1271"/>
            <p:cNvSpPr>
              <a:spLocks/>
            </p:cNvSpPr>
            <p:nvPr/>
          </p:nvSpPr>
          <p:spPr bwMode="auto">
            <a:xfrm>
              <a:off x="3366" y="1883"/>
              <a:ext cx="282" cy="205"/>
            </a:xfrm>
            <a:custGeom>
              <a:avLst/>
              <a:gdLst>
                <a:gd name="T0" fmla="*/ 171 w 430"/>
                <a:gd name="T1" fmla="*/ 230 h 313"/>
                <a:gd name="T2" fmla="*/ 211 w 430"/>
                <a:gd name="T3" fmla="*/ 251 h 313"/>
                <a:gd name="T4" fmla="*/ 221 w 430"/>
                <a:gd name="T5" fmla="*/ 261 h 313"/>
                <a:gd name="T6" fmla="*/ 236 w 430"/>
                <a:gd name="T7" fmla="*/ 272 h 313"/>
                <a:gd name="T8" fmla="*/ 313 w 430"/>
                <a:gd name="T9" fmla="*/ 293 h 313"/>
                <a:gd name="T10" fmla="*/ 359 w 430"/>
                <a:gd name="T11" fmla="*/ 284 h 313"/>
                <a:gd name="T12" fmla="*/ 368 w 430"/>
                <a:gd name="T13" fmla="*/ 274 h 313"/>
                <a:gd name="T14" fmla="*/ 395 w 430"/>
                <a:gd name="T15" fmla="*/ 260 h 313"/>
                <a:gd name="T16" fmla="*/ 382 w 430"/>
                <a:gd name="T17" fmla="*/ 252 h 313"/>
                <a:gd name="T18" fmla="*/ 382 w 430"/>
                <a:gd name="T19" fmla="*/ 250 h 313"/>
                <a:gd name="T20" fmla="*/ 382 w 430"/>
                <a:gd name="T21" fmla="*/ 248 h 313"/>
                <a:gd name="T22" fmla="*/ 382 w 430"/>
                <a:gd name="T23" fmla="*/ 247 h 313"/>
                <a:gd name="T24" fmla="*/ 382 w 430"/>
                <a:gd name="T25" fmla="*/ 244 h 313"/>
                <a:gd name="T26" fmla="*/ 382 w 430"/>
                <a:gd name="T27" fmla="*/ 242 h 313"/>
                <a:gd name="T28" fmla="*/ 382 w 430"/>
                <a:gd name="T29" fmla="*/ 230 h 313"/>
                <a:gd name="T30" fmla="*/ 363 w 430"/>
                <a:gd name="T31" fmla="*/ 209 h 313"/>
                <a:gd name="T32" fmla="*/ 363 w 430"/>
                <a:gd name="T33" fmla="*/ 208 h 313"/>
                <a:gd name="T34" fmla="*/ 363 w 430"/>
                <a:gd name="T35" fmla="*/ 206 h 313"/>
                <a:gd name="T36" fmla="*/ 363 w 430"/>
                <a:gd name="T37" fmla="*/ 205 h 313"/>
                <a:gd name="T38" fmla="*/ 361 w 430"/>
                <a:gd name="T39" fmla="*/ 126 h 313"/>
                <a:gd name="T40" fmla="*/ 388 w 430"/>
                <a:gd name="T41" fmla="*/ 102 h 313"/>
                <a:gd name="T42" fmla="*/ 397 w 430"/>
                <a:gd name="T43" fmla="*/ 66 h 313"/>
                <a:gd name="T44" fmla="*/ 398 w 430"/>
                <a:gd name="T45" fmla="*/ 64 h 313"/>
                <a:gd name="T46" fmla="*/ 400 w 430"/>
                <a:gd name="T47" fmla="*/ 62 h 313"/>
                <a:gd name="T48" fmla="*/ 403 w 430"/>
                <a:gd name="T49" fmla="*/ 58 h 313"/>
                <a:gd name="T50" fmla="*/ 405 w 430"/>
                <a:gd name="T51" fmla="*/ 56 h 313"/>
                <a:gd name="T52" fmla="*/ 408 w 430"/>
                <a:gd name="T53" fmla="*/ 55 h 313"/>
                <a:gd name="T54" fmla="*/ 412 w 430"/>
                <a:gd name="T55" fmla="*/ 55 h 313"/>
                <a:gd name="T56" fmla="*/ 415 w 430"/>
                <a:gd name="T57" fmla="*/ 54 h 313"/>
                <a:gd name="T58" fmla="*/ 418 w 430"/>
                <a:gd name="T59" fmla="*/ 54 h 313"/>
                <a:gd name="T60" fmla="*/ 429 w 430"/>
                <a:gd name="T61" fmla="*/ 51 h 313"/>
                <a:gd name="T62" fmla="*/ 430 w 430"/>
                <a:gd name="T63" fmla="*/ 50 h 313"/>
                <a:gd name="T64" fmla="*/ 429 w 430"/>
                <a:gd name="T65" fmla="*/ 49 h 313"/>
                <a:gd name="T66" fmla="*/ 427 w 430"/>
                <a:gd name="T67" fmla="*/ 45 h 313"/>
                <a:gd name="T68" fmla="*/ 425 w 430"/>
                <a:gd name="T69" fmla="*/ 43 h 313"/>
                <a:gd name="T70" fmla="*/ 422 w 430"/>
                <a:gd name="T71" fmla="*/ 39 h 313"/>
                <a:gd name="T72" fmla="*/ 418 w 430"/>
                <a:gd name="T73" fmla="*/ 36 h 313"/>
                <a:gd name="T74" fmla="*/ 401 w 430"/>
                <a:gd name="T75" fmla="*/ 42 h 313"/>
                <a:gd name="T76" fmla="*/ 291 w 430"/>
                <a:gd name="T77" fmla="*/ 21 h 313"/>
                <a:gd name="T78" fmla="*/ 231 w 430"/>
                <a:gd name="T79" fmla="*/ 10 h 313"/>
                <a:gd name="T80" fmla="*/ 205 w 430"/>
                <a:gd name="T81" fmla="*/ 5 h 313"/>
                <a:gd name="T82" fmla="*/ 186 w 430"/>
                <a:gd name="T83" fmla="*/ 6 h 313"/>
                <a:gd name="T84" fmla="*/ 192 w 430"/>
                <a:gd name="T85" fmla="*/ 24 h 313"/>
                <a:gd name="T86" fmla="*/ 179 w 430"/>
                <a:gd name="T87" fmla="*/ 31 h 313"/>
                <a:gd name="T88" fmla="*/ 136 w 430"/>
                <a:gd name="T89" fmla="*/ 28 h 313"/>
                <a:gd name="T90" fmla="*/ 127 w 430"/>
                <a:gd name="T91" fmla="*/ 32 h 313"/>
                <a:gd name="T92" fmla="*/ 113 w 430"/>
                <a:gd name="T93" fmla="*/ 38 h 313"/>
                <a:gd name="T94" fmla="*/ 77 w 430"/>
                <a:gd name="T95" fmla="*/ 43 h 313"/>
                <a:gd name="T96" fmla="*/ 72 w 430"/>
                <a:gd name="T97" fmla="*/ 51 h 313"/>
                <a:gd name="T98" fmla="*/ 63 w 430"/>
                <a:gd name="T99" fmla="*/ 61 h 313"/>
                <a:gd name="T100" fmla="*/ 12 w 430"/>
                <a:gd name="T101" fmla="*/ 90 h 313"/>
                <a:gd name="T102" fmla="*/ 6 w 430"/>
                <a:gd name="T103" fmla="*/ 102 h 313"/>
                <a:gd name="T104" fmla="*/ 19 w 430"/>
                <a:gd name="T105" fmla="*/ 106 h 313"/>
                <a:gd name="T106" fmla="*/ 13 w 430"/>
                <a:gd name="T107" fmla="*/ 126 h 313"/>
                <a:gd name="T108" fmla="*/ 12 w 430"/>
                <a:gd name="T109" fmla="*/ 132 h 313"/>
                <a:gd name="T110" fmla="*/ 35 w 430"/>
                <a:gd name="T111" fmla="*/ 134 h 313"/>
                <a:gd name="T112" fmla="*/ 10 w 430"/>
                <a:gd name="T113" fmla="*/ 162 h 313"/>
                <a:gd name="T114" fmla="*/ 25 w 430"/>
                <a:gd name="T115" fmla="*/ 166 h 313"/>
                <a:gd name="T116" fmla="*/ 31 w 430"/>
                <a:gd name="T117" fmla="*/ 193 h 313"/>
                <a:gd name="T118" fmla="*/ 64 w 430"/>
                <a:gd name="T119" fmla="*/ 209 h 313"/>
                <a:gd name="T120" fmla="*/ 96 w 430"/>
                <a:gd name="T121" fmla="*/ 208 h 313"/>
                <a:gd name="T122" fmla="*/ 153 w 430"/>
                <a:gd name="T123" fmla="*/ 232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0" h="313">
                  <a:moveTo>
                    <a:pt x="169" y="234"/>
                  </a:moveTo>
                  <a:cubicBezTo>
                    <a:pt x="169" y="233"/>
                    <a:pt x="169" y="230"/>
                    <a:pt x="171" y="230"/>
                  </a:cubicBezTo>
                  <a:cubicBezTo>
                    <a:pt x="182" y="228"/>
                    <a:pt x="190" y="250"/>
                    <a:pt x="199" y="253"/>
                  </a:cubicBezTo>
                  <a:cubicBezTo>
                    <a:pt x="203" y="254"/>
                    <a:pt x="207" y="248"/>
                    <a:pt x="211" y="251"/>
                  </a:cubicBezTo>
                  <a:cubicBezTo>
                    <a:pt x="213" y="253"/>
                    <a:pt x="213" y="258"/>
                    <a:pt x="215" y="260"/>
                  </a:cubicBezTo>
                  <a:cubicBezTo>
                    <a:pt x="216" y="261"/>
                    <a:pt x="219" y="261"/>
                    <a:pt x="221" y="261"/>
                  </a:cubicBezTo>
                  <a:cubicBezTo>
                    <a:pt x="222" y="261"/>
                    <a:pt x="237" y="261"/>
                    <a:pt x="237" y="262"/>
                  </a:cubicBezTo>
                  <a:cubicBezTo>
                    <a:pt x="239" y="265"/>
                    <a:pt x="235" y="269"/>
                    <a:pt x="236" y="272"/>
                  </a:cubicBezTo>
                  <a:cubicBezTo>
                    <a:pt x="236" y="274"/>
                    <a:pt x="279" y="309"/>
                    <a:pt x="282" y="309"/>
                  </a:cubicBezTo>
                  <a:cubicBezTo>
                    <a:pt x="292" y="310"/>
                    <a:pt x="303" y="293"/>
                    <a:pt x="313" y="293"/>
                  </a:cubicBezTo>
                  <a:cubicBezTo>
                    <a:pt x="319" y="293"/>
                    <a:pt x="351" y="313"/>
                    <a:pt x="355" y="307"/>
                  </a:cubicBezTo>
                  <a:cubicBezTo>
                    <a:pt x="357" y="303"/>
                    <a:pt x="355" y="286"/>
                    <a:pt x="359" y="284"/>
                  </a:cubicBezTo>
                  <a:cubicBezTo>
                    <a:pt x="362" y="282"/>
                    <a:pt x="367" y="284"/>
                    <a:pt x="370" y="281"/>
                  </a:cubicBezTo>
                  <a:cubicBezTo>
                    <a:pt x="371" y="279"/>
                    <a:pt x="368" y="277"/>
                    <a:pt x="368" y="274"/>
                  </a:cubicBezTo>
                  <a:cubicBezTo>
                    <a:pt x="368" y="272"/>
                    <a:pt x="369" y="269"/>
                    <a:pt x="371" y="267"/>
                  </a:cubicBezTo>
                  <a:cubicBezTo>
                    <a:pt x="379" y="262"/>
                    <a:pt x="388" y="269"/>
                    <a:pt x="395" y="260"/>
                  </a:cubicBezTo>
                  <a:cubicBezTo>
                    <a:pt x="398" y="256"/>
                    <a:pt x="384" y="255"/>
                    <a:pt x="383" y="253"/>
                  </a:cubicBezTo>
                  <a:cubicBezTo>
                    <a:pt x="383" y="253"/>
                    <a:pt x="382" y="252"/>
                    <a:pt x="382" y="252"/>
                  </a:cubicBezTo>
                  <a:cubicBezTo>
                    <a:pt x="382" y="252"/>
                    <a:pt x="382" y="251"/>
                    <a:pt x="382" y="251"/>
                  </a:cubicBezTo>
                  <a:cubicBezTo>
                    <a:pt x="382" y="251"/>
                    <a:pt x="382" y="251"/>
                    <a:pt x="382" y="250"/>
                  </a:cubicBezTo>
                  <a:cubicBezTo>
                    <a:pt x="382" y="250"/>
                    <a:pt x="382" y="250"/>
                    <a:pt x="382" y="250"/>
                  </a:cubicBezTo>
                  <a:cubicBezTo>
                    <a:pt x="382" y="249"/>
                    <a:pt x="382" y="249"/>
                    <a:pt x="382" y="248"/>
                  </a:cubicBezTo>
                  <a:cubicBezTo>
                    <a:pt x="382" y="248"/>
                    <a:pt x="382" y="248"/>
                    <a:pt x="382" y="248"/>
                  </a:cubicBezTo>
                  <a:cubicBezTo>
                    <a:pt x="382" y="247"/>
                    <a:pt x="382" y="247"/>
                    <a:pt x="382" y="247"/>
                  </a:cubicBezTo>
                  <a:cubicBezTo>
                    <a:pt x="382" y="246"/>
                    <a:pt x="382" y="246"/>
                    <a:pt x="382" y="246"/>
                  </a:cubicBezTo>
                  <a:cubicBezTo>
                    <a:pt x="382" y="245"/>
                    <a:pt x="382" y="245"/>
                    <a:pt x="382" y="244"/>
                  </a:cubicBezTo>
                  <a:cubicBezTo>
                    <a:pt x="382" y="244"/>
                    <a:pt x="382" y="243"/>
                    <a:pt x="382" y="243"/>
                  </a:cubicBezTo>
                  <a:cubicBezTo>
                    <a:pt x="382" y="243"/>
                    <a:pt x="382" y="243"/>
                    <a:pt x="382" y="242"/>
                  </a:cubicBezTo>
                  <a:cubicBezTo>
                    <a:pt x="382" y="241"/>
                    <a:pt x="383" y="239"/>
                    <a:pt x="383" y="238"/>
                  </a:cubicBezTo>
                  <a:cubicBezTo>
                    <a:pt x="383" y="235"/>
                    <a:pt x="383" y="231"/>
                    <a:pt x="382" y="230"/>
                  </a:cubicBezTo>
                  <a:cubicBezTo>
                    <a:pt x="376" y="224"/>
                    <a:pt x="367" y="219"/>
                    <a:pt x="364" y="211"/>
                  </a:cubicBezTo>
                  <a:cubicBezTo>
                    <a:pt x="363" y="210"/>
                    <a:pt x="363" y="210"/>
                    <a:pt x="363" y="209"/>
                  </a:cubicBezTo>
                  <a:cubicBezTo>
                    <a:pt x="363" y="209"/>
                    <a:pt x="363" y="209"/>
                    <a:pt x="363" y="208"/>
                  </a:cubicBezTo>
                  <a:cubicBezTo>
                    <a:pt x="363" y="208"/>
                    <a:pt x="363" y="208"/>
                    <a:pt x="363" y="208"/>
                  </a:cubicBezTo>
                  <a:cubicBezTo>
                    <a:pt x="363" y="207"/>
                    <a:pt x="363" y="207"/>
                    <a:pt x="363" y="207"/>
                  </a:cubicBezTo>
                  <a:cubicBezTo>
                    <a:pt x="363" y="207"/>
                    <a:pt x="363" y="206"/>
                    <a:pt x="363" y="206"/>
                  </a:cubicBezTo>
                  <a:cubicBezTo>
                    <a:pt x="363" y="206"/>
                    <a:pt x="363" y="206"/>
                    <a:pt x="363" y="205"/>
                  </a:cubicBezTo>
                  <a:cubicBezTo>
                    <a:pt x="363" y="205"/>
                    <a:pt x="363" y="205"/>
                    <a:pt x="363" y="205"/>
                  </a:cubicBezTo>
                  <a:cubicBezTo>
                    <a:pt x="363" y="199"/>
                    <a:pt x="370" y="196"/>
                    <a:pt x="371" y="190"/>
                  </a:cubicBezTo>
                  <a:cubicBezTo>
                    <a:pt x="374" y="170"/>
                    <a:pt x="358" y="147"/>
                    <a:pt x="361" y="126"/>
                  </a:cubicBezTo>
                  <a:cubicBezTo>
                    <a:pt x="363" y="113"/>
                    <a:pt x="381" y="111"/>
                    <a:pt x="387" y="102"/>
                  </a:cubicBezTo>
                  <a:cubicBezTo>
                    <a:pt x="388" y="102"/>
                    <a:pt x="388" y="102"/>
                    <a:pt x="388" y="102"/>
                  </a:cubicBezTo>
                  <a:cubicBezTo>
                    <a:pt x="395" y="93"/>
                    <a:pt x="394" y="78"/>
                    <a:pt x="397" y="67"/>
                  </a:cubicBezTo>
                  <a:cubicBezTo>
                    <a:pt x="397" y="67"/>
                    <a:pt x="397" y="67"/>
                    <a:pt x="397" y="66"/>
                  </a:cubicBezTo>
                  <a:cubicBezTo>
                    <a:pt x="398" y="66"/>
                    <a:pt x="398" y="65"/>
                    <a:pt x="398" y="65"/>
                  </a:cubicBezTo>
                  <a:cubicBezTo>
                    <a:pt x="398" y="64"/>
                    <a:pt x="398" y="64"/>
                    <a:pt x="398" y="64"/>
                  </a:cubicBezTo>
                  <a:cubicBezTo>
                    <a:pt x="399" y="63"/>
                    <a:pt x="399" y="63"/>
                    <a:pt x="399" y="62"/>
                  </a:cubicBezTo>
                  <a:cubicBezTo>
                    <a:pt x="399" y="62"/>
                    <a:pt x="399" y="62"/>
                    <a:pt x="400" y="62"/>
                  </a:cubicBezTo>
                  <a:cubicBezTo>
                    <a:pt x="400" y="61"/>
                    <a:pt x="400" y="60"/>
                    <a:pt x="401" y="60"/>
                  </a:cubicBezTo>
                  <a:cubicBezTo>
                    <a:pt x="401" y="59"/>
                    <a:pt x="402" y="58"/>
                    <a:pt x="403" y="58"/>
                  </a:cubicBezTo>
                  <a:cubicBezTo>
                    <a:pt x="403" y="58"/>
                    <a:pt x="403" y="58"/>
                    <a:pt x="403" y="58"/>
                  </a:cubicBezTo>
                  <a:cubicBezTo>
                    <a:pt x="404" y="57"/>
                    <a:pt x="405" y="57"/>
                    <a:pt x="405" y="56"/>
                  </a:cubicBezTo>
                  <a:cubicBezTo>
                    <a:pt x="406" y="56"/>
                    <a:pt x="406" y="56"/>
                    <a:pt x="406" y="56"/>
                  </a:cubicBezTo>
                  <a:cubicBezTo>
                    <a:pt x="407" y="56"/>
                    <a:pt x="408" y="55"/>
                    <a:pt x="408" y="55"/>
                  </a:cubicBezTo>
                  <a:cubicBezTo>
                    <a:pt x="409" y="55"/>
                    <a:pt x="409" y="55"/>
                    <a:pt x="409" y="55"/>
                  </a:cubicBezTo>
                  <a:cubicBezTo>
                    <a:pt x="410" y="55"/>
                    <a:pt x="411" y="55"/>
                    <a:pt x="412" y="55"/>
                  </a:cubicBezTo>
                  <a:cubicBezTo>
                    <a:pt x="412" y="55"/>
                    <a:pt x="412" y="55"/>
                    <a:pt x="412" y="54"/>
                  </a:cubicBezTo>
                  <a:cubicBezTo>
                    <a:pt x="413" y="54"/>
                    <a:pt x="414" y="54"/>
                    <a:pt x="415" y="54"/>
                  </a:cubicBezTo>
                  <a:cubicBezTo>
                    <a:pt x="415" y="54"/>
                    <a:pt x="415" y="54"/>
                    <a:pt x="416" y="54"/>
                  </a:cubicBezTo>
                  <a:cubicBezTo>
                    <a:pt x="417" y="54"/>
                    <a:pt x="417" y="54"/>
                    <a:pt x="418" y="54"/>
                  </a:cubicBezTo>
                  <a:cubicBezTo>
                    <a:pt x="420" y="54"/>
                    <a:pt x="423" y="54"/>
                    <a:pt x="425" y="53"/>
                  </a:cubicBezTo>
                  <a:cubicBezTo>
                    <a:pt x="427" y="53"/>
                    <a:pt x="429" y="53"/>
                    <a:pt x="429" y="51"/>
                  </a:cubicBezTo>
                  <a:cubicBezTo>
                    <a:pt x="430" y="51"/>
                    <a:pt x="430" y="51"/>
                    <a:pt x="430" y="50"/>
                  </a:cubicBezTo>
                  <a:cubicBezTo>
                    <a:pt x="430" y="50"/>
                    <a:pt x="430" y="50"/>
                    <a:pt x="430" y="50"/>
                  </a:cubicBezTo>
                  <a:cubicBezTo>
                    <a:pt x="430" y="50"/>
                    <a:pt x="430" y="50"/>
                    <a:pt x="430" y="49"/>
                  </a:cubicBezTo>
                  <a:cubicBezTo>
                    <a:pt x="430" y="49"/>
                    <a:pt x="430" y="49"/>
                    <a:pt x="429" y="49"/>
                  </a:cubicBezTo>
                  <a:cubicBezTo>
                    <a:pt x="429" y="48"/>
                    <a:pt x="428" y="47"/>
                    <a:pt x="427" y="46"/>
                  </a:cubicBezTo>
                  <a:cubicBezTo>
                    <a:pt x="427" y="45"/>
                    <a:pt x="427" y="45"/>
                    <a:pt x="427" y="45"/>
                  </a:cubicBezTo>
                  <a:cubicBezTo>
                    <a:pt x="427" y="44"/>
                    <a:pt x="426" y="44"/>
                    <a:pt x="425" y="43"/>
                  </a:cubicBezTo>
                  <a:cubicBezTo>
                    <a:pt x="425" y="43"/>
                    <a:pt x="425" y="43"/>
                    <a:pt x="425" y="43"/>
                  </a:cubicBezTo>
                  <a:cubicBezTo>
                    <a:pt x="424" y="42"/>
                    <a:pt x="424" y="41"/>
                    <a:pt x="423" y="40"/>
                  </a:cubicBezTo>
                  <a:cubicBezTo>
                    <a:pt x="422" y="40"/>
                    <a:pt x="422" y="40"/>
                    <a:pt x="422" y="39"/>
                  </a:cubicBezTo>
                  <a:cubicBezTo>
                    <a:pt x="421" y="39"/>
                    <a:pt x="420" y="38"/>
                    <a:pt x="419" y="37"/>
                  </a:cubicBezTo>
                  <a:cubicBezTo>
                    <a:pt x="419" y="37"/>
                    <a:pt x="419" y="36"/>
                    <a:pt x="418" y="36"/>
                  </a:cubicBezTo>
                  <a:cubicBezTo>
                    <a:pt x="417" y="35"/>
                    <a:pt x="416" y="34"/>
                    <a:pt x="415" y="33"/>
                  </a:cubicBezTo>
                  <a:cubicBezTo>
                    <a:pt x="413" y="37"/>
                    <a:pt x="409" y="41"/>
                    <a:pt x="401" y="42"/>
                  </a:cubicBezTo>
                  <a:cubicBezTo>
                    <a:pt x="387" y="44"/>
                    <a:pt x="328" y="40"/>
                    <a:pt x="315" y="36"/>
                  </a:cubicBezTo>
                  <a:cubicBezTo>
                    <a:pt x="306" y="33"/>
                    <a:pt x="300" y="24"/>
                    <a:pt x="291" y="21"/>
                  </a:cubicBezTo>
                  <a:cubicBezTo>
                    <a:pt x="278" y="17"/>
                    <a:pt x="257" y="20"/>
                    <a:pt x="242" y="17"/>
                  </a:cubicBezTo>
                  <a:cubicBezTo>
                    <a:pt x="238" y="16"/>
                    <a:pt x="237" y="9"/>
                    <a:pt x="231" y="10"/>
                  </a:cubicBezTo>
                  <a:cubicBezTo>
                    <a:pt x="228" y="10"/>
                    <a:pt x="224" y="18"/>
                    <a:pt x="218" y="18"/>
                  </a:cubicBezTo>
                  <a:cubicBezTo>
                    <a:pt x="213" y="19"/>
                    <a:pt x="212" y="0"/>
                    <a:pt x="205" y="5"/>
                  </a:cubicBezTo>
                  <a:cubicBezTo>
                    <a:pt x="201" y="8"/>
                    <a:pt x="213" y="19"/>
                    <a:pt x="204" y="20"/>
                  </a:cubicBezTo>
                  <a:cubicBezTo>
                    <a:pt x="199" y="21"/>
                    <a:pt x="189" y="4"/>
                    <a:pt x="186" y="6"/>
                  </a:cubicBezTo>
                  <a:cubicBezTo>
                    <a:pt x="185" y="6"/>
                    <a:pt x="187" y="11"/>
                    <a:pt x="187" y="12"/>
                  </a:cubicBezTo>
                  <a:cubicBezTo>
                    <a:pt x="188" y="16"/>
                    <a:pt x="194" y="20"/>
                    <a:pt x="192" y="24"/>
                  </a:cubicBezTo>
                  <a:cubicBezTo>
                    <a:pt x="192" y="27"/>
                    <a:pt x="183" y="24"/>
                    <a:pt x="181" y="25"/>
                  </a:cubicBezTo>
                  <a:cubicBezTo>
                    <a:pt x="178" y="26"/>
                    <a:pt x="182" y="30"/>
                    <a:pt x="179" y="31"/>
                  </a:cubicBezTo>
                  <a:cubicBezTo>
                    <a:pt x="172" y="32"/>
                    <a:pt x="162" y="24"/>
                    <a:pt x="155" y="24"/>
                  </a:cubicBezTo>
                  <a:cubicBezTo>
                    <a:pt x="154" y="24"/>
                    <a:pt x="141" y="30"/>
                    <a:pt x="136" y="28"/>
                  </a:cubicBezTo>
                  <a:cubicBezTo>
                    <a:pt x="132" y="26"/>
                    <a:pt x="131" y="20"/>
                    <a:pt x="125" y="19"/>
                  </a:cubicBezTo>
                  <a:cubicBezTo>
                    <a:pt x="121" y="19"/>
                    <a:pt x="128" y="31"/>
                    <a:pt x="127" y="32"/>
                  </a:cubicBezTo>
                  <a:cubicBezTo>
                    <a:pt x="118" y="43"/>
                    <a:pt x="122" y="29"/>
                    <a:pt x="115" y="30"/>
                  </a:cubicBezTo>
                  <a:cubicBezTo>
                    <a:pt x="109" y="31"/>
                    <a:pt x="113" y="38"/>
                    <a:pt x="113" y="38"/>
                  </a:cubicBezTo>
                  <a:cubicBezTo>
                    <a:pt x="105" y="41"/>
                    <a:pt x="93" y="29"/>
                    <a:pt x="85" y="33"/>
                  </a:cubicBezTo>
                  <a:cubicBezTo>
                    <a:pt x="81" y="35"/>
                    <a:pt x="84" y="42"/>
                    <a:pt x="77" y="43"/>
                  </a:cubicBezTo>
                  <a:cubicBezTo>
                    <a:pt x="75" y="44"/>
                    <a:pt x="69" y="41"/>
                    <a:pt x="69" y="42"/>
                  </a:cubicBezTo>
                  <a:cubicBezTo>
                    <a:pt x="69" y="43"/>
                    <a:pt x="80" y="51"/>
                    <a:pt x="72" y="51"/>
                  </a:cubicBezTo>
                  <a:cubicBezTo>
                    <a:pt x="67" y="52"/>
                    <a:pt x="64" y="41"/>
                    <a:pt x="58" y="44"/>
                  </a:cubicBezTo>
                  <a:cubicBezTo>
                    <a:pt x="51" y="49"/>
                    <a:pt x="68" y="55"/>
                    <a:pt x="63" y="61"/>
                  </a:cubicBezTo>
                  <a:cubicBezTo>
                    <a:pt x="59" y="65"/>
                    <a:pt x="10" y="61"/>
                    <a:pt x="7" y="71"/>
                  </a:cubicBezTo>
                  <a:cubicBezTo>
                    <a:pt x="5" y="76"/>
                    <a:pt x="13" y="83"/>
                    <a:pt x="12" y="90"/>
                  </a:cubicBezTo>
                  <a:cubicBezTo>
                    <a:pt x="11" y="94"/>
                    <a:pt x="3" y="93"/>
                    <a:pt x="2" y="97"/>
                  </a:cubicBezTo>
                  <a:cubicBezTo>
                    <a:pt x="2" y="98"/>
                    <a:pt x="5" y="102"/>
                    <a:pt x="6" y="102"/>
                  </a:cubicBezTo>
                  <a:cubicBezTo>
                    <a:pt x="21" y="111"/>
                    <a:pt x="16" y="86"/>
                    <a:pt x="21" y="98"/>
                  </a:cubicBezTo>
                  <a:cubicBezTo>
                    <a:pt x="23" y="102"/>
                    <a:pt x="22" y="103"/>
                    <a:pt x="19" y="106"/>
                  </a:cubicBezTo>
                  <a:cubicBezTo>
                    <a:pt x="10" y="115"/>
                    <a:pt x="0" y="103"/>
                    <a:pt x="7" y="122"/>
                  </a:cubicBezTo>
                  <a:cubicBezTo>
                    <a:pt x="8" y="124"/>
                    <a:pt x="13" y="123"/>
                    <a:pt x="13" y="126"/>
                  </a:cubicBezTo>
                  <a:cubicBezTo>
                    <a:pt x="13" y="128"/>
                    <a:pt x="4" y="128"/>
                    <a:pt x="4" y="134"/>
                  </a:cubicBezTo>
                  <a:cubicBezTo>
                    <a:pt x="4" y="137"/>
                    <a:pt x="9" y="132"/>
                    <a:pt x="12" y="132"/>
                  </a:cubicBezTo>
                  <a:cubicBezTo>
                    <a:pt x="16" y="133"/>
                    <a:pt x="43" y="123"/>
                    <a:pt x="43" y="133"/>
                  </a:cubicBezTo>
                  <a:cubicBezTo>
                    <a:pt x="44" y="134"/>
                    <a:pt x="32" y="128"/>
                    <a:pt x="35" y="134"/>
                  </a:cubicBezTo>
                  <a:cubicBezTo>
                    <a:pt x="39" y="142"/>
                    <a:pt x="21" y="135"/>
                    <a:pt x="14" y="136"/>
                  </a:cubicBezTo>
                  <a:cubicBezTo>
                    <a:pt x="12" y="136"/>
                    <a:pt x="8" y="156"/>
                    <a:pt x="10" y="162"/>
                  </a:cubicBezTo>
                  <a:cubicBezTo>
                    <a:pt x="11" y="167"/>
                    <a:pt x="13" y="160"/>
                    <a:pt x="15" y="160"/>
                  </a:cubicBezTo>
                  <a:cubicBezTo>
                    <a:pt x="19" y="159"/>
                    <a:pt x="22" y="164"/>
                    <a:pt x="25" y="166"/>
                  </a:cubicBezTo>
                  <a:cubicBezTo>
                    <a:pt x="26" y="166"/>
                    <a:pt x="26" y="167"/>
                    <a:pt x="26" y="168"/>
                  </a:cubicBezTo>
                  <a:cubicBezTo>
                    <a:pt x="27" y="176"/>
                    <a:pt x="26" y="186"/>
                    <a:pt x="31" y="193"/>
                  </a:cubicBezTo>
                  <a:cubicBezTo>
                    <a:pt x="35" y="199"/>
                    <a:pt x="44" y="193"/>
                    <a:pt x="50" y="196"/>
                  </a:cubicBezTo>
                  <a:cubicBezTo>
                    <a:pt x="53" y="197"/>
                    <a:pt x="62" y="209"/>
                    <a:pt x="64" y="209"/>
                  </a:cubicBezTo>
                  <a:cubicBezTo>
                    <a:pt x="78" y="208"/>
                    <a:pt x="87" y="169"/>
                    <a:pt x="104" y="195"/>
                  </a:cubicBezTo>
                  <a:cubicBezTo>
                    <a:pt x="108" y="201"/>
                    <a:pt x="97" y="203"/>
                    <a:pt x="96" y="208"/>
                  </a:cubicBezTo>
                  <a:cubicBezTo>
                    <a:pt x="94" y="226"/>
                    <a:pt x="87" y="242"/>
                    <a:pt x="83" y="260"/>
                  </a:cubicBezTo>
                  <a:cubicBezTo>
                    <a:pt x="104" y="260"/>
                    <a:pt x="129" y="237"/>
                    <a:pt x="153" y="232"/>
                  </a:cubicBezTo>
                  <a:cubicBezTo>
                    <a:pt x="163" y="230"/>
                    <a:pt x="169" y="252"/>
                    <a:pt x="169" y="23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7" name="Freeform 1272"/>
            <p:cNvSpPr>
              <a:spLocks/>
            </p:cNvSpPr>
            <p:nvPr/>
          </p:nvSpPr>
          <p:spPr bwMode="auto">
            <a:xfrm>
              <a:off x="3604" y="2017"/>
              <a:ext cx="0" cy="1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8" name="Freeform 1273"/>
            <p:cNvSpPr>
              <a:spLocks/>
            </p:cNvSpPr>
            <p:nvPr/>
          </p:nvSpPr>
          <p:spPr bwMode="auto">
            <a:xfrm>
              <a:off x="3285" y="1938"/>
              <a:ext cx="63" cy="41"/>
            </a:xfrm>
            <a:custGeom>
              <a:avLst/>
              <a:gdLst>
                <a:gd name="T0" fmla="*/ 84 w 96"/>
                <a:gd name="T1" fmla="*/ 22 h 63"/>
                <a:gd name="T2" fmla="*/ 62 w 96"/>
                <a:gd name="T3" fmla="*/ 10 h 63"/>
                <a:gd name="T4" fmla="*/ 51 w 96"/>
                <a:gd name="T5" fmla="*/ 6 h 63"/>
                <a:gd name="T6" fmla="*/ 43 w 96"/>
                <a:gd name="T7" fmla="*/ 15 h 63"/>
                <a:gd name="T8" fmla="*/ 36 w 96"/>
                <a:gd name="T9" fmla="*/ 21 h 63"/>
                <a:gd name="T10" fmla="*/ 21 w 96"/>
                <a:gd name="T11" fmla="*/ 22 h 63"/>
                <a:gd name="T12" fmla="*/ 3 w 96"/>
                <a:gd name="T13" fmla="*/ 25 h 63"/>
                <a:gd name="T14" fmla="*/ 15 w 96"/>
                <a:gd name="T15" fmla="*/ 31 h 63"/>
                <a:gd name="T16" fmla="*/ 35 w 96"/>
                <a:gd name="T17" fmla="*/ 33 h 63"/>
                <a:gd name="T18" fmla="*/ 41 w 96"/>
                <a:gd name="T19" fmla="*/ 49 h 63"/>
                <a:gd name="T20" fmla="*/ 47 w 96"/>
                <a:gd name="T21" fmla="*/ 60 h 63"/>
                <a:gd name="T22" fmla="*/ 63 w 96"/>
                <a:gd name="T23" fmla="*/ 49 h 63"/>
                <a:gd name="T24" fmla="*/ 71 w 96"/>
                <a:gd name="T25" fmla="*/ 43 h 63"/>
                <a:gd name="T26" fmla="*/ 78 w 96"/>
                <a:gd name="T27" fmla="*/ 42 h 63"/>
                <a:gd name="T28" fmla="*/ 84 w 96"/>
                <a:gd name="T29" fmla="*/ 39 h 63"/>
                <a:gd name="T30" fmla="*/ 93 w 96"/>
                <a:gd name="T31" fmla="*/ 39 h 63"/>
                <a:gd name="T32" fmla="*/ 84 w 96"/>
                <a:gd name="T33" fmla="*/ 2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63">
                  <a:moveTo>
                    <a:pt x="84" y="22"/>
                  </a:moveTo>
                  <a:cubicBezTo>
                    <a:pt x="85" y="11"/>
                    <a:pt x="56" y="21"/>
                    <a:pt x="62" y="10"/>
                  </a:cubicBezTo>
                  <a:cubicBezTo>
                    <a:pt x="65" y="5"/>
                    <a:pt x="53" y="0"/>
                    <a:pt x="51" y="6"/>
                  </a:cubicBezTo>
                  <a:cubicBezTo>
                    <a:pt x="49" y="16"/>
                    <a:pt x="41" y="8"/>
                    <a:pt x="43" y="15"/>
                  </a:cubicBezTo>
                  <a:cubicBezTo>
                    <a:pt x="45" y="22"/>
                    <a:pt x="42" y="17"/>
                    <a:pt x="36" y="21"/>
                  </a:cubicBezTo>
                  <a:cubicBezTo>
                    <a:pt x="30" y="25"/>
                    <a:pt x="26" y="20"/>
                    <a:pt x="21" y="22"/>
                  </a:cubicBezTo>
                  <a:cubicBezTo>
                    <a:pt x="16" y="25"/>
                    <a:pt x="0" y="19"/>
                    <a:pt x="3" y="25"/>
                  </a:cubicBezTo>
                  <a:cubicBezTo>
                    <a:pt x="5" y="29"/>
                    <a:pt x="7" y="25"/>
                    <a:pt x="15" y="31"/>
                  </a:cubicBezTo>
                  <a:cubicBezTo>
                    <a:pt x="23" y="37"/>
                    <a:pt x="28" y="27"/>
                    <a:pt x="35" y="33"/>
                  </a:cubicBezTo>
                  <a:cubicBezTo>
                    <a:pt x="42" y="38"/>
                    <a:pt x="35" y="40"/>
                    <a:pt x="41" y="49"/>
                  </a:cubicBezTo>
                  <a:cubicBezTo>
                    <a:pt x="47" y="58"/>
                    <a:pt x="34" y="54"/>
                    <a:pt x="47" y="60"/>
                  </a:cubicBezTo>
                  <a:cubicBezTo>
                    <a:pt x="53" y="63"/>
                    <a:pt x="58" y="60"/>
                    <a:pt x="63" y="49"/>
                  </a:cubicBezTo>
                  <a:cubicBezTo>
                    <a:pt x="67" y="38"/>
                    <a:pt x="75" y="38"/>
                    <a:pt x="71" y="43"/>
                  </a:cubicBezTo>
                  <a:cubicBezTo>
                    <a:pt x="64" y="52"/>
                    <a:pt x="81" y="48"/>
                    <a:pt x="78" y="42"/>
                  </a:cubicBezTo>
                  <a:cubicBezTo>
                    <a:pt x="75" y="36"/>
                    <a:pt x="84" y="43"/>
                    <a:pt x="84" y="39"/>
                  </a:cubicBezTo>
                  <a:cubicBezTo>
                    <a:pt x="85" y="35"/>
                    <a:pt x="89" y="44"/>
                    <a:pt x="93" y="39"/>
                  </a:cubicBezTo>
                  <a:cubicBezTo>
                    <a:pt x="96" y="34"/>
                    <a:pt x="84" y="31"/>
                    <a:pt x="84" y="2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199" name="Freeform 1274"/>
            <p:cNvSpPr>
              <a:spLocks/>
            </p:cNvSpPr>
            <p:nvPr/>
          </p:nvSpPr>
          <p:spPr bwMode="auto">
            <a:xfrm>
              <a:off x="3343" y="1976"/>
              <a:ext cx="23" cy="22"/>
            </a:xfrm>
            <a:custGeom>
              <a:avLst/>
              <a:gdLst>
                <a:gd name="T0" fmla="*/ 20 w 36"/>
                <a:gd name="T1" fmla="*/ 24 h 34"/>
                <a:gd name="T2" fmla="*/ 22 w 36"/>
                <a:gd name="T3" fmla="*/ 5 h 34"/>
                <a:gd name="T4" fmla="*/ 20 w 36"/>
                <a:gd name="T5" fmla="*/ 2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34">
                  <a:moveTo>
                    <a:pt x="20" y="24"/>
                  </a:moveTo>
                  <a:cubicBezTo>
                    <a:pt x="35" y="34"/>
                    <a:pt x="36" y="14"/>
                    <a:pt x="22" y="5"/>
                  </a:cubicBezTo>
                  <a:cubicBezTo>
                    <a:pt x="9" y="0"/>
                    <a:pt x="0" y="11"/>
                    <a:pt x="20" y="2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0" name="Freeform 1275"/>
            <p:cNvSpPr>
              <a:spLocks/>
            </p:cNvSpPr>
            <p:nvPr/>
          </p:nvSpPr>
          <p:spPr bwMode="auto">
            <a:xfrm>
              <a:off x="3344" y="1944"/>
              <a:ext cx="26" cy="13"/>
            </a:xfrm>
            <a:custGeom>
              <a:avLst/>
              <a:gdLst>
                <a:gd name="T0" fmla="*/ 32 w 40"/>
                <a:gd name="T1" fmla="*/ 10 h 20"/>
                <a:gd name="T2" fmla="*/ 15 w 40"/>
                <a:gd name="T3" fmla="*/ 1 h 20"/>
                <a:gd name="T4" fmla="*/ 16 w 40"/>
                <a:gd name="T5" fmla="*/ 1 h 20"/>
                <a:gd name="T6" fmla="*/ 32 w 40"/>
                <a:gd name="T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0">
                  <a:moveTo>
                    <a:pt x="32" y="10"/>
                  </a:moveTo>
                  <a:cubicBezTo>
                    <a:pt x="40" y="3"/>
                    <a:pt x="17" y="1"/>
                    <a:pt x="15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0" y="0"/>
                    <a:pt x="21" y="20"/>
                    <a:pt x="32" y="1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1" name="Freeform 1276"/>
            <p:cNvSpPr>
              <a:spLocks/>
            </p:cNvSpPr>
            <p:nvPr/>
          </p:nvSpPr>
          <p:spPr bwMode="auto">
            <a:xfrm>
              <a:off x="3357" y="1979"/>
              <a:ext cx="1" cy="0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2" name="Freeform 1277"/>
            <p:cNvSpPr>
              <a:spLocks/>
            </p:cNvSpPr>
            <p:nvPr/>
          </p:nvSpPr>
          <p:spPr bwMode="auto">
            <a:xfrm>
              <a:off x="3272" y="1978"/>
              <a:ext cx="94" cy="72"/>
            </a:xfrm>
            <a:custGeom>
              <a:avLst/>
              <a:gdLst>
                <a:gd name="T0" fmla="*/ 88 w 143"/>
                <a:gd name="T1" fmla="*/ 11 h 110"/>
                <a:gd name="T2" fmla="*/ 78 w 143"/>
                <a:gd name="T3" fmla="*/ 13 h 110"/>
                <a:gd name="T4" fmla="*/ 64 w 143"/>
                <a:gd name="T5" fmla="*/ 9 h 110"/>
                <a:gd name="T6" fmla="*/ 44 w 143"/>
                <a:gd name="T7" fmla="*/ 20 h 110"/>
                <a:gd name="T8" fmla="*/ 39 w 143"/>
                <a:gd name="T9" fmla="*/ 24 h 110"/>
                <a:gd name="T10" fmla="*/ 34 w 143"/>
                <a:gd name="T11" fmla="*/ 22 h 110"/>
                <a:gd name="T12" fmla="*/ 27 w 143"/>
                <a:gd name="T13" fmla="*/ 32 h 110"/>
                <a:gd name="T14" fmla="*/ 22 w 143"/>
                <a:gd name="T15" fmla="*/ 30 h 110"/>
                <a:gd name="T16" fmla="*/ 11 w 143"/>
                <a:gd name="T17" fmla="*/ 25 h 110"/>
                <a:gd name="T18" fmla="*/ 4 w 143"/>
                <a:gd name="T19" fmla="*/ 26 h 110"/>
                <a:gd name="T20" fmla="*/ 17 w 143"/>
                <a:gd name="T21" fmla="*/ 42 h 110"/>
                <a:gd name="T22" fmla="*/ 14 w 143"/>
                <a:gd name="T23" fmla="*/ 50 h 110"/>
                <a:gd name="T24" fmla="*/ 7 w 143"/>
                <a:gd name="T25" fmla="*/ 48 h 110"/>
                <a:gd name="T26" fmla="*/ 7 w 143"/>
                <a:gd name="T27" fmla="*/ 54 h 110"/>
                <a:gd name="T28" fmla="*/ 14 w 143"/>
                <a:gd name="T29" fmla="*/ 62 h 110"/>
                <a:gd name="T30" fmla="*/ 28 w 143"/>
                <a:gd name="T31" fmla="*/ 73 h 110"/>
                <a:gd name="T32" fmla="*/ 35 w 143"/>
                <a:gd name="T33" fmla="*/ 78 h 110"/>
                <a:gd name="T34" fmla="*/ 30 w 143"/>
                <a:gd name="T35" fmla="*/ 86 h 110"/>
                <a:gd name="T36" fmla="*/ 21 w 143"/>
                <a:gd name="T37" fmla="*/ 94 h 110"/>
                <a:gd name="T38" fmla="*/ 16 w 143"/>
                <a:gd name="T39" fmla="*/ 102 h 110"/>
                <a:gd name="T40" fmla="*/ 19 w 143"/>
                <a:gd name="T41" fmla="*/ 109 h 110"/>
                <a:gd name="T42" fmla="*/ 32 w 143"/>
                <a:gd name="T43" fmla="*/ 102 h 110"/>
                <a:gd name="T44" fmla="*/ 39 w 143"/>
                <a:gd name="T45" fmla="*/ 88 h 110"/>
                <a:gd name="T46" fmla="*/ 50 w 143"/>
                <a:gd name="T47" fmla="*/ 66 h 110"/>
                <a:gd name="T48" fmla="*/ 63 w 143"/>
                <a:gd name="T49" fmla="*/ 64 h 110"/>
                <a:gd name="T50" fmla="*/ 67 w 143"/>
                <a:gd name="T51" fmla="*/ 62 h 110"/>
                <a:gd name="T52" fmla="*/ 76 w 143"/>
                <a:gd name="T53" fmla="*/ 63 h 110"/>
                <a:gd name="T54" fmla="*/ 83 w 143"/>
                <a:gd name="T55" fmla="*/ 61 h 110"/>
                <a:gd name="T56" fmla="*/ 93 w 143"/>
                <a:gd name="T57" fmla="*/ 57 h 110"/>
                <a:gd name="T58" fmla="*/ 102 w 143"/>
                <a:gd name="T59" fmla="*/ 50 h 110"/>
                <a:gd name="T60" fmla="*/ 106 w 143"/>
                <a:gd name="T61" fmla="*/ 44 h 110"/>
                <a:gd name="T62" fmla="*/ 115 w 143"/>
                <a:gd name="T63" fmla="*/ 39 h 110"/>
                <a:gd name="T64" fmla="*/ 121 w 143"/>
                <a:gd name="T65" fmla="*/ 31 h 110"/>
                <a:gd name="T66" fmla="*/ 130 w 143"/>
                <a:gd name="T67" fmla="*/ 36 h 110"/>
                <a:gd name="T68" fmla="*/ 135 w 143"/>
                <a:gd name="T69" fmla="*/ 33 h 110"/>
                <a:gd name="T70" fmla="*/ 125 w 143"/>
                <a:gd name="T71" fmla="*/ 25 h 110"/>
                <a:gd name="T72" fmla="*/ 115 w 143"/>
                <a:gd name="T73" fmla="*/ 16 h 110"/>
                <a:gd name="T74" fmla="*/ 88 w 143"/>
                <a:gd name="T75" fmla="*/ 1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3" h="110">
                  <a:moveTo>
                    <a:pt x="88" y="11"/>
                  </a:moveTo>
                  <a:cubicBezTo>
                    <a:pt x="80" y="19"/>
                    <a:pt x="85" y="8"/>
                    <a:pt x="78" y="13"/>
                  </a:cubicBezTo>
                  <a:cubicBezTo>
                    <a:pt x="72" y="18"/>
                    <a:pt x="72" y="0"/>
                    <a:pt x="64" y="9"/>
                  </a:cubicBezTo>
                  <a:cubicBezTo>
                    <a:pt x="56" y="19"/>
                    <a:pt x="42" y="10"/>
                    <a:pt x="44" y="20"/>
                  </a:cubicBezTo>
                  <a:cubicBezTo>
                    <a:pt x="45" y="27"/>
                    <a:pt x="40" y="29"/>
                    <a:pt x="39" y="24"/>
                  </a:cubicBezTo>
                  <a:cubicBezTo>
                    <a:pt x="38" y="19"/>
                    <a:pt x="35" y="15"/>
                    <a:pt x="34" y="22"/>
                  </a:cubicBezTo>
                  <a:cubicBezTo>
                    <a:pt x="33" y="28"/>
                    <a:pt x="26" y="23"/>
                    <a:pt x="27" y="32"/>
                  </a:cubicBezTo>
                  <a:cubicBezTo>
                    <a:pt x="28" y="41"/>
                    <a:pt x="23" y="37"/>
                    <a:pt x="22" y="30"/>
                  </a:cubicBezTo>
                  <a:cubicBezTo>
                    <a:pt x="21" y="22"/>
                    <a:pt x="12" y="21"/>
                    <a:pt x="11" y="25"/>
                  </a:cubicBezTo>
                  <a:cubicBezTo>
                    <a:pt x="10" y="29"/>
                    <a:pt x="2" y="23"/>
                    <a:pt x="4" y="26"/>
                  </a:cubicBezTo>
                  <a:cubicBezTo>
                    <a:pt x="6" y="29"/>
                    <a:pt x="12" y="33"/>
                    <a:pt x="17" y="42"/>
                  </a:cubicBezTo>
                  <a:cubicBezTo>
                    <a:pt x="22" y="52"/>
                    <a:pt x="14" y="43"/>
                    <a:pt x="14" y="50"/>
                  </a:cubicBezTo>
                  <a:cubicBezTo>
                    <a:pt x="14" y="56"/>
                    <a:pt x="10" y="46"/>
                    <a:pt x="7" y="48"/>
                  </a:cubicBezTo>
                  <a:cubicBezTo>
                    <a:pt x="4" y="50"/>
                    <a:pt x="14" y="56"/>
                    <a:pt x="7" y="54"/>
                  </a:cubicBezTo>
                  <a:cubicBezTo>
                    <a:pt x="0" y="52"/>
                    <a:pt x="7" y="63"/>
                    <a:pt x="14" y="62"/>
                  </a:cubicBezTo>
                  <a:cubicBezTo>
                    <a:pt x="23" y="61"/>
                    <a:pt x="21" y="71"/>
                    <a:pt x="28" y="73"/>
                  </a:cubicBezTo>
                  <a:cubicBezTo>
                    <a:pt x="35" y="74"/>
                    <a:pt x="38" y="75"/>
                    <a:pt x="35" y="78"/>
                  </a:cubicBezTo>
                  <a:cubicBezTo>
                    <a:pt x="32" y="80"/>
                    <a:pt x="32" y="90"/>
                    <a:pt x="30" y="86"/>
                  </a:cubicBezTo>
                  <a:cubicBezTo>
                    <a:pt x="27" y="83"/>
                    <a:pt x="24" y="85"/>
                    <a:pt x="21" y="94"/>
                  </a:cubicBezTo>
                  <a:cubicBezTo>
                    <a:pt x="17" y="103"/>
                    <a:pt x="12" y="99"/>
                    <a:pt x="16" y="102"/>
                  </a:cubicBezTo>
                  <a:cubicBezTo>
                    <a:pt x="20" y="104"/>
                    <a:pt x="15" y="107"/>
                    <a:pt x="19" y="109"/>
                  </a:cubicBezTo>
                  <a:cubicBezTo>
                    <a:pt x="21" y="110"/>
                    <a:pt x="23" y="110"/>
                    <a:pt x="32" y="102"/>
                  </a:cubicBezTo>
                  <a:cubicBezTo>
                    <a:pt x="41" y="95"/>
                    <a:pt x="31" y="99"/>
                    <a:pt x="39" y="88"/>
                  </a:cubicBezTo>
                  <a:cubicBezTo>
                    <a:pt x="47" y="77"/>
                    <a:pt x="38" y="67"/>
                    <a:pt x="50" y="66"/>
                  </a:cubicBezTo>
                  <a:cubicBezTo>
                    <a:pt x="62" y="65"/>
                    <a:pt x="60" y="58"/>
                    <a:pt x="63" y="64"/>
                  </a:cubicBezTo>
                  <a:cubicBezTo>
                    <a:pt x="66" y="70"/>
                    <a:pt x="65" y="56"/>
                    <a:pt x="67" y="62"/>
                  </a:cubicBezTo>
                  <a:cubicBezTo>
                    <a:pt x="69" y="68"/>
                    <a:pt x="74" y="57"/>
                    <a:pt x="76" y="63"/>
                  </a:cubicBezTo>
                  <a:cubicBezTo>
                    <a:pt x="77" y="69"/>
                    <a:pt x="90" y="66"/>
                    <a:pt x="83" y="61"/>
                  </a:cubicBezTo>
                  <a:cubicBezTo>
                    <a:pt x="77" y="56"/>
                    <a:pt x="91" y="61"/>
                    <a:pt x="93" y="57"/>
                  </a:cubicBezTo>
                  <a:cubicBezTo>
                    <a:pt x="95" y="52"/>
                    <a:pt x="98" y="56"/>
                    <a:pt x="102" y="50"/>
                  </a:cubicBezTo>
                  <a:cubicBezTo>
                    <a:pt x="106" y="45"/>
                    <a:pt x="101" y="40"/>
                    <a:pt x="106" y="44"/>
                  </a:cubicBezTo>
                  <a:cubicBezTo>
                    <a:pt x="111" y="48"/>
                    <a:pt x="116" y="41"/>
                    <a:pt x="115" y="39"/>
                  </a:cubicBezTo>
                  <a:cubicBezTo>
                    <a:pt x="113" y="33"/>
                    <a:pt x="120" y="38"/>
                    <a:pt x="121" y="31"/>
                  </a:cubicBezTo>
                  <a:cubicBezTo>
                    <a:pt x="121" y="24"/>
                    <a:pt x="124" y="33"/>
                    <a:pt x="130" y="36"/>
                  </a:cubicBezTo>
                  <a:cubicBezTo>
                    <a:pt x="137" y="38"/>
                    <a:pt x="126" y="29"/>
                    <a:pt x="135" y="33"/>
                  </a:cubicBezTo>
                  <a:cubicBezTo>
                    <a:pt x="143" y="38"/>
                    <a:pt x="138" y="27"/>
                    <a:pt x="125" y="25"/>
                  </a:cubicBezTo>
                  <a:cubicBezTo>
                    <a:pt x="112" y="22"/>
                    <a:pt x="123" y="19"/>
                    <a:pt x="115" y="16"/>
                  </a:cubicBezTo>
                  <a:cubicBezTo>
                    <a:pt x="106" y="14"/>
                    <a:pt x="95" y="4"/>
                    <a:pt x="88" y="1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3" name="Freeform 1278"/>
            <p:cNvSpPr>
              <a:spLocks/>
            </p:cNvSpPr>
            <p:nvPr/>
          </p:nvSpPr>
          <p:spPr bwMode="auto">
            <a:xfrm>
              <a:off x="3638" y="1905"/>
              <a:ext cx="2" cy="2"/>
            </a:xfrm>
            <a:custGeom>
              <a:avLst/>
              <a:gdLst>
                <a:gd name="T0" fmla="*/ 0 w 3"/>
                <a:gd name="T1" fmla="*/ 0 h 3"/>
                <a:gd name="T2" fmla="*/ 3 w 3"/>
                <a:gd name="T3" fmla="*/ 3 h 3"/>
                <a:gd name="T4" fmla="*/ 0 w 3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2" y="2"/>
                    <a:pt x="1" y="1"/>
                    <a:pt x="0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4" name="Freeform 1279"/>
            <p:cNvSpPr>
              <a:spLocks/>
            </p:cNvSpPr>
            <p:nvPr/>
          </p:nvSpPr>
          <p:spPr bwMode="auto">
            <a:xfrm>
              <a:off x="3620" y="1927"/>
              <a:ext cx="6" cy="23"/>
            </a:xfrm>
            <a:custGeom>
              <a:avLst/>
              <a:gdLst>
                <a:gd name="T0" fmla="*/ 9 w 9"/>
                <a:gd name="T1" fmla="*/ 0 h 35"/>
                <a:gd name="T2" fmla="*/ 0 w 9"/>
                <a:gd name="T3" fmla="*/ 35 h 35"/>
                <a:gd name="T4" fmla="*/ 9 w 9"/>
                <a:gd name="T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35">
                  <a:moveTo>
                    <a:pt x="9" y="0"/>
                  </a:moveTo>
                  <a:cubicBezTo>
                    <a:pt x="6" y="11"/>
                    <a:pt x="7" y="26"/>
                    <a:pt x="0" y="35"/>
                  </a:cubicBezTo>
                  <a:cubicBezTo>
                    <a:pt x="7" y="26"/>
                    <a:pt x="6" y="11"/>
                    <a:pt x="9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5" name="Freeform 1280"/>
            <p:cNvSpPr>
              <a:spLocks/>
            </p:cNvSpPr>
            <p:nvPr/>
          </p:nvSpPr>
          <p:spPr bwMode="auto">
            <a:xfrm>
              <a:off x="3646" y="1913"/>
              <a:ext cx="1" cy="2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3 h 3"/>
                <a:gd name="T4" fmla="*/ 0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1" y="1"/>
                    <a:pt x="2" y="2"/>
                    <a:pt x="2" y="3"/>
                  </a:cubicBezTo>
                  <a:cubicBezTo>
                    <a:pt x="2" y="2"/>
                    <a:pt x="1" y="1"/>
                    <a:pt x="0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6" name="Freeform 1281"/>
            <p:cNvSpPr>
              <a:spLocks/>
            </p:cNvSpPr>
            <p:nvPr/>
          </p:nvSpPr>
          <p:spPr bwMode="auto">
            <a:xfrm>
              <a:off x="3640" y="1918"/>
              <a:ext cx="4" cy="0"/>
            </a:xfrm>
            <a:custGeom>
              <a:avLst/>
              <a:gdLst>
                <a:gd name="T0" fmla="*/ 7 w 7"/>
                <a:gd name="T1" fmla="*/ 0 h 1"/>
                <a:gd name="T2" fmla="*/ 0 w 7"/>
                <a:gd name="T3" fmla="*/ 1 h 1"/>
                <a:gd name="T4" fmla="*/ 7 w 7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5" y="1"/>
                    <a:pt x="2" y="1"/>
                    <a:pt x="0" y="1"/>
                  </a:cubicBezTo>
                  <a:cubicBezTo>
                    <a:pt x="2" y="1"/>
                    <a:pt x="5" y="1"/>
                    <a:pt x="7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7" name="Freeform 1282"/>
            <p:cNvSpPr>
              <a:spLocks/>
            </p:cNvSpPr>
            <p:nvPr/>
          </p:nvSpPr>
          <p:spPr bwMode="auto">
            <a:xfrm>
              <a:off x="1562" y="1647"/>
              <a:ext cx="25" cy="16"/>
            </a:xfrm>
            <a:custGeom>
              <a:avLst/>
              <a:gdLst>
                <a:gd name="T0" fmla="*/ 9 w 37"/>
                <a:gd name="T1" fmla="*/ 14 h 24"/>
                <a:gd name="T2" fmla="*/ 13 w 37"/>
                <a:gd name="T3" fmla="*/ 16 h 24"/>
                <a:gd name="T4" fmla="*/ 5 w 37"/>
                <a:gd name="T5" fmla="*/ 16 h 24"/>
                <a:gd name="T6" fmla="*/ 19 w 37"/>
                <a:gd name="T7" fmla="*/ 23 h 24"/>
                <a:gd name="T8" fmla="*/ 19 w 37"/>
                <a:gd name="T9" fmla="*/ 23 h 24"/>
                <a:gd name="T10" fmla="*/ 19 w 37"/>
                <a:gd name="T11" fmla="*/ 19 h 24"/>
                <a:gd name="T12" fmla="*/ 18 w 37"/>
                <a:gd name="T13" fmla="*/ 17 h 24"/>
                <a:gd name="T14" fmla="*/ 19 w 37"/>
                <a:gd name="T15" fmla="*/ 19 h 24"/>
                <a:gd name="T16" fmla="*/ 19 w 37"/>
                <a:gd name="T17" fmla="*/ 23 h 24"/>
                <a:gd name="T18" fmla="*/ 20 w 37"/>
                <a:gd name="T19" fmla="*/ 24 h 24"/>
                <a:gd name="T20" fmla="*/ 22 w 37"/>
                <a:gd name="T21" fmla="*/ 24 h 24"/>
                <a:gd name="T22" fmla="*/ 24 w 37"/>
                <a:gd name="T23" fmla="*/ 20 h 24"/>
                <a:gd name="T24" fmla="*/ 33 w 37"/>
                <a:gd name="T25" fmla="*/ 20 h 24"/>
                <a:gd name="T26" fmla="*/ 19 w 37"/>
                <a:gd name="T27" fmla="*/ 3 h 24"/>
                <a:gd name="T28" fmla="*/ 3 w 37"/>
                <a:gd name="T29" fmla="*/ 5 h 24"/>
                <a:gd name="T30" fmla="*/ 1 w 37"/>
                <a:gd name="T31" fmla="*/ 5 h 24"/>
                <a:gd name="T32" fmla="*/ 0 w 37"/>
                <a:gd name="T33" fmla="*/ 7 h 24"/>
                <a:gd name="T34" fmla="*/ 9 w 37"/>
                <a:gd name="T35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" h="24">
                  <a:moveTo>
                    <a:pt x="9" y="14"/>
                  </a:moveTo>
                  <a:cubicBezTo>
                    <a:pt x="9" y="15"/>
                    <a:pt x="13" y="16"/>
                    <a:pt x="13" y="16"/>
                  </a:cubicBezTo>
                  <a:cubicBezTo>
                    <a:pt x="13" y="17"/>
                    <a:pt x="5" y="14"/>
                    <a:pt x="5" y="16"/>
                  </a:cubicBezTo>
                  <a:cubicBezTo>
                    <a:pt x="5" y="17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2"/>
                    <a:pt x="19" y="20"/>
                    <a:pt x="19" y="19"/>
                  </a:cubicBezTo>
                  <a:cubicBezTo>
                    <a:pt x="18" y="18"/>
                    <a:pt x="18" y="18"/>
                    <a:pt x="18" y="17"/>
                  </a:cubicBezTo>
                  <a:cubicBezTo>
                    <a:pt x="19" y="16"/>
                    <a:pt x="19" y="18"/>
                    <a:pt x="19" y="19"/>
                  </a:cubicBezTo>
                  <a:cubicBezTo>
                    <a:pt x="20" y="21"/>
                    <a:pt x="21" y="22"/>
                    <a:pt x="19" y="23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0" y="24"/>
                    <a:pt x="22" y="24"/>
                    <a:pt x="22" y="24"/>
                  </a:cubicBezTo>
                  <a:cubicBezTo>
                    <a:pt x="27" y="23"/>
                    <a:pt x="24" y="20"/>
                    <a:pt x="24" y="20"/>
                  </a:cubicBezTo>
                  <a:cubicBezTo>
                    <a:pt x="27" y="19"/>
                    <a:pt x="30" y="22"/>
                    <a:pt x="33" y="20"/>
                  </a:cubicBezTo>
                  <a:cubicBezTo>
                    <a:pt x="37" y="16"/>
                    <a:pt x="23" y="5"/>
                    <a:pt x="19" y="3"/>
                  </a:cubicBezTo>
                  <a:cubicBezTo>
                    <a:pt x="10" y="0"/>
                    <a:pt x="12" y="12"/>
                    <a:pt x="3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11"/>
                    <a:pt x="5" y="13"/>
                    <a:pt x="9" y="1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8" name="Freeform 1283"/>
            <p:cNvSpPr>
              <a:spLocks/>
            </p:cNvSpPr>
            <p:nvPr/>
          </p:nvSpPr>
          <p:spPr bwMode="auto">
            <a:xfrm>
              <a:off x="1575" y="1659"/>
              <a:ext cx="1" cy="3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4 h 4"/>
                <a:gd name="T4" fmla="*/ 0 w 2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2" y="3"/>
                    <a:pt x="1" y="2"/>
                    <a:pt x="0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09" name="Freeform 1284"/>
            <p:cNvSpPr>
              <a:spLocks/>
            </p:cNvSpPr>
            <p:nvPr/>
          </p:nvSpPr>
          <p:spPr bwMode="auto">
            <a:xfrm>
              <a:off x="1550" y="1652"/>
              <a:ext cx="13" cy="2"/>
            </a:xfrm>
            <a:custGeom>
              <a:avLst/>
              <a:gdLst>
                <a:gd name="T0" fmla="*/ 9 w 20"/>
                <a:gd name="T1" fmla="*/ 0 h 3"/>
                <a:gd name="T2" fmla="*/ 6 w 20"/>
                <a:gd name="T3" fmla="*/ 1 h 3"/>
                <a:gd name="T4" fmla="*/ 5 w 20"/>
                <a:gd name="T5" fmla="*/ 1 h 3"/>
                <a:gd name="T6" fmla="*/ 0 w 20"/>
                <a:gd name="T7" fmla="*/ 3 h 3"/>
                <a:gd name="T8" fmla="*/ 9 w 20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">
                  <a:moveTo>
                    <a:pt x="9" y="0"/>
                  </a:moveTo>
                  <a:cubicBezTo>
                    <a:pt x="8" y="0"/>
                    <a:pt x="7" y="0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1" y="2"/>
                    <a:pt x="0" y="3"/>
                  </a:cubicBezTo>
                  <a:cubicBezTo>
                    <a:pt x="0" y="3"/>
                    <a:pt x="20" y="3"/>
                    <a:pt x="9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0" name="Freeform 1285"/>
            <p:cNvSpPr>
              <a:spLocks/>
            </p:cNvSpPr>
            <p:nvPr/>
          </p:nvSpPr>
          <p:spPr bwMode="auto">
            <a:xfrm>
              <a:off x="1609" y="1661"/>
              <a:ext cx="9" cy="9"/>
            </a:xfrm>
            <a:custGeom>
              <a:avLst/>
              <a:gdLst>
                <a:gd name="T0" fmla="*/ 7 w 13"/>
                <a:gd name="T1" fmla="*/ 8 h 14"/>
                <a:gd name="T2" fmla="*/ 7 w 13"/>
                <a:gd name="T3" fmla="*/ 8 h 14"/>
                <a:gd name="T4" fmla="*/ 3 w 13"/>
                <a:gd name="T5" fmla="*/ 8 h 14"/>
                <a:gd name="T6" fmla="*/ 7 w 13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4">
                  <a:moveTo>
                    <a:pt x="7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3" y="0"/>
                    <a:pt x="0" y="4"/>
                    <a:pt x="3" y="8"/>
                  </a:cubicBezTo>
                  <a:cubicBezTo>
                    <a:pt x="7" y="13"/>
                    <a:pt x="13" y="14"/>
                    <a:pt x="7" y="8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1" name="Freeform 1286"/>
            <p:cNvSpPr>
              <a:spLocks/>
            </p:cNvSpPr>
            <p:nvPr/>
          </p:nvSpPr>
          <p:spPr bwMode="auto">
            <a:xfrm>
              <a:off x="1632" y="1629"/>
              <a:ext cx="5" cy="7"/>
            </a:xfrm>
            <a:custGeom>
              <a:avLst/>
              <a:gdLst>
                <a:gd name="T0" fmla="*/ 2 w 7"/>
                <a:gd name="T1" fmla="*/ 7 h 10"/>
                <a:gd name="T2" fmla="*/ 5 w 7"/>
                <a:gd name="T3" fmla="*/ 4 h 10"/>
                <a:gd name="T4" fmla="*/ 5 w 7"/>
                <a:gd name="T5" fmla="*/ 4 h 10"/>
                <a:gd name="T6" fmla="*/ 2 w 7"/>
                <a:gd name="T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2" y="7"/>
                  </a:moveTo>
                  <a:cubicBezTo>
                    <a:pt x="6" y="10"/>
                    <a:pt x="7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" y="0"/>
                    <a:pt x="0" y="6"/>
                    <a:pt x="2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2" name="Freeform 1287"/>
            <p:cNvSpPr>
              <a:spLocks/>
            </p:cNvSpPr>
            <p:nvPr/>
          </p:nvSpPr>
          <p:spPr bwMode="auto">
            <a:xfrm>
              <a:off x="1597" y="1684"/>
              <a:ext cx="6" cy="6"/>
            </a:xfrm>
            <a:custGeom>
              <a:avLst/>
              <a:gdLst>
                <a:gd name="T0" fmla="*/ 8 w 10"/>
                <a:gd name="T1" fmla="*/ 6 h 10"/>
                <a:gd name="T2" fmla="*/ 5 w 10"/>
                <a:gd name="T3" fmla="*/ 8 h 10"/>
                <a:gd name="T4" fmla="*/ 8 w 10"/>
                <a:gd name="T5" fmla="*/ 7 h 10"/>
                <a:gd name="T6" fmla="*/ 8 w 10"/>
                <a:gd name="T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8" y="6"/>
                  </a:moveTo>
                  <a:cubicBezTo>
                    <a:pt x="7" y="0"/>
                    <a:pt x="0" y="5"/>
                    <a:pt x="5" y="8"/>
                  </a:cubicBezTo>
                  <a:cubicBezTo>
                    <a:pt x="7" y="10"/>
                    <a:pt x="10" y="10"/>
                    <a:pt x="8" y="7"/>
                  </a:cubicBezTo>
                  <a:cubicBezTo>
                    <a:pt x="8" y="7"/>
                    <a:pt x="8" y="6"/>
                    <a:pt x="8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3" name="Freeform 1288"/>
            <p:cNvSpPr>
              <a:spLocks/>
            </p:cNvSpPr>
            <p:nvPr/>
          </p:nvSpPr>
          <p:spPr bwMode="auto">
            <a:xfrm>
              <a:off x="1625" y="1635"/>
              <a:ext cx="10" cy="10"/>
            </a:xfrm>
            <a:custGeom>
              <a:avLst/>
              <a:gdLst>
                <a:gd name="T0" fmla="*/ 13 w 15"/>
                <a:gd name="T1" fmla="*/ 8 h 15"/>
                <a:gd name="T2" fmla="*/ 13 w 15"/>
                <a:gd name="T3" fmla="*/ 0 h 15"/>
                <a:gd name="T4" fmla="*/ 13 w 15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13" y="8"/>
                  </a:moveTo>
                  <a:cubicBezTo>
                    <a:pt x="14" y="4"/>
                    <a:pt x="15" y="3"/>
                    <a:pt x="13" y="0"/>
                  </a:cubicBezTo>
                  <a:cubicBezTo>
                    <a:pt x="0" y="0"/>
                    <a:pt x="10" y="15"/>
                    <a:pt x="13" y="8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4" name="Freeform 1289"/>
            <p:cNvSpPr>
              <a:spLocks/>
            </p:cNvSpPr>
            <p:nvPr/>
          </p:nvSpPr>
          <p:spPr bwMode="auto">
            <a:xfrm>
              <a:off x="1576" y="1632"/>
              <a:ext cx="32" cy="40"/>
            </a:xfrm>
            <a:custGeom>
              <a:avLst/>
              <a:gdLst>
                <a:gd name="T0" fmla="*/ 5 w 50"/>
                <a:gd name="T1" fmla="*/ 26 h 60"/>
                <a:gd name="T2" fmla="*/ 10 w 50"/>
                <a:gd name="T3" fmla="*/ 25 h 60"/>
                <a:gd name="T4" fmla="*/ 10 w 50"/>
                <a:gd name="T5" fmla="*/ 30 h 60"/>
                <a:gd name="T6" fmla="*/ 20 w 50"/>
                <a:gd name="T7" fmla="*/ 32 h 60"/>
                <a:gd name="T8" fmla="*/ 45 w 50"/>
                <a:gd name="T9" fmla="*/ 59 h 60"/>
                <a:gd name="T10" fmla="*/ 44 w 50"/>
                <a:gd name="T11" fmla="*/ 49 h 60"/>
                <a:gd name="T12" fmla="*/ 43 w 50"/>
                <a:gd name="T13" fmla="*/ 49 h 60"/>
                <a:gd name="T14" fmla="*/ 34 w 50"/>
                <a:gd name="T15" fmla="*/ 41 h 60"/>
                <a:gd name="T16" fmla="*/ 39 w 50"/>
                <a:gd name="T17" fmla="*/ 40 h 60"/>
                <a:gd name="T18" fmla="*/ 38 w 50"/>
                <a:gd name="T19" fmla="*/ 36 h 60"/>
                <a:gd name="T20" fmla="*/ 30 w 50"/>
                <a:gd name="T21" fmla="*/ 34 h 60"/>
                <a:gd name="T22" fmla="*/ 35 w 50"/>
                <a:gd name="T23" fmla="*/ 30 h 60"/>
                <a:gd name="T24" fmla="*/ 33 w 50"/>
                <a:gd name="T25" fmla="*/ 28 h 60"/>
                <a:gd name="T26" fmla="*/ 21 w 50"/>
                <a:gd name="T27" fmla="*/ 21 h 60"/>
                <a:gd name="T28" fmla="*/ 4 w 50"/>
                <a:gd name="T29" fmla="*/ 2 h 60"/>
                <a:gd name="T30" fmla="*/ 2 w 50"/>
                <a:gd name="T31" fmla="*/ 18 h 60"/>
                <a:gd name="T32" fmla="*/ 5 w 50"/>
                <a:gd name="T33" fmla="*/ 2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60">
                  <a:moveTo>
                    <a:pt x="5" y="26"/>
                  </a:moveTo>
                  <a:cubicBezTo>
                    <a:pt x="8" y="27"/>
                    <a:pt x="7" y="24"/>
                    <a:pt x="10" y="25"/>
                  </a:cubicBezTo>
                  <a:cubicBezTo>
                    <a:pt x="12" y="26"/>
                    <a:pt x="7" y="28"/>
                    <a:pt x="10" y="30"/>
                  </a:cubicBezTo>
                  <a:cubicBezTo>
                    <a:pt x="12" y="32"/>
                    <a:pt x="18" y="31"/>
                    <a:pt x="20" y="32"/>
                  </a:cubicBezTo>
                  <a:cubicBezTo>
                    <a:pt x="23" y="35"/>
                    <a:pt x="39" y="60"/>
                    <a:pt x="45" y="59"/>
                  </a:cubicBezTo>
                  <a:cubicBezTo>
                    <a:pt x="50" y="59"/>
                    <a:pt x="44" y="51"/>
                    <a:pt x="44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5" y="35"/>
                    <a:pt x="38" y="46"/>
                    <a:pt x="34" y="41"/>
                  </a:cubicBezTo>
                  <a:cubicBezTo>
                    <a:pt x="34" y="41"/>
                    <a:pt x="38" y="41"/>
                    <a:pt x="39" y="40"/>
                  </a:cubicBezTo>
                  <a:cubicBezTo>
                    <a:pt x="41" y="40"/>
                    <a:pt x="39" y="37"/>
                    <a:pt x="38" y="36"/>
                  </a:cubicBezTo>
                  <a:cubicBezTo>
                    <a:pt x="37" y="33"/>
                    <a:pt x="28" y="35"/>
                    <a:pt x="30" y="34"/>
                  </a:cubicBezTo>
                  <a:cubicBezTo>
                    <a:pt x="31" y="33"/>
                    <a:pt x="34" y="31"/>
                    <a:pt x="35" y="30"/>
                  </a:cubicBezTo>
                  <a:cubicBezTo>
                    <a:pt x="35" y="30"/>
                    <a:pt x="34" y="28"/>
                    <a:pt x="33" y="28"/>
                  </a:cubicBezTo>
                  <a:cubicBezTo>
                    <a:pt x="31" y="25"/>
                    <a:pt x="23" y="24"/>
                    <a:pt x="21" y="21"/>
                  </a:cubicBezTo>
                  <a:cubicBezTo>
                    <a:pt x="17" y="17"/>
                    <a:pt x="17" y="0"/>
                    <a:pt x="4" y="2"/>
                  </a:cubicBezTo>
                  <a:cubicBezTo>
                    <a:pt x="0" y="3"/>
                    <a:pt x="5" y="16"/>
                    <a:pt x="2" y="18"/>
                  </a:cubicBezTo>
                  <a:cubicBezTo>
                    <a:pt x="0" y="20"/>
                    <a:pt x="1" y="25"/>
                    <a:pt x="5" y="2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5" name="Freeform 1290"/>
            <p:cNvSpPr>
              <a:spLocks/>
            </p:cNvSpPr>
            <p:nvPr/>
          </p:nvSpPr>
          <p:spPr bwMode="auto">
            <a:xfrm>
              <a:off x="1595" y="1670"/>
              <a:ext cx="17" cy="20"/>
            </a:xfrm>
            <a:custGeom>
              <a:avLst/>
              <a:gdLst>
                <a:gd name="T0" fmla="*/ 2 w 26"/>
                <a:gd name="T1" fmla="*/ 10 h 30"/>
                <a:gd name="T2" fmla="*/ 5 w 26"/>
                <a:gd name="T3" fmla="*/ 18 h 30"/>
                <a:gd name="T4" fmla="*/ 18 w 26"/>
                <a:gd name="T5" fmla="*/ 25 h 30"/>
                <a:gd name="T6" fmla="*/ 22 w 26"/>
                <a:gd name="T7" fmla="*/ 29 h 30"/>
                <a:gd name="T8" fmla="*/ 26 w 26"/>
                <a:gd name="T9" fmla="*/ 17 h 30"/>
                <a:gd name="T10" fmla="*/ 14 w 26"/>
                <a:gd name="T11" fmla="*/ 10 h 30"/>
                <a:gd name="T12" fmla="*/ 14 w 26"/>
                <a:gd name="T13" fmla="*/ 10 h 30"/>
                <a:gd name="T14" fmla="*/ 2 w 26"/>
                <a:gd name="T15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0">
                  <a:moveTo>
                    <a:pt x="2" y="10"/>
                  </a:moveTo>
                  <a:cubicBezTo>
                    <a:pt x="2" y="12"/>
                    <a:pt x="3" y="16"/>
                    <a:pt x="5" y="18"/>
                  </a:cubicBezTo>
                  <a:cubicBezTo>
                    <a:pt x="9" y="20"/>
                    <a:pt x="10" y="14"/>
                    <a:pt x="18" y="25"/>
                  </a:cubicBezTo>
                  <a:cubicBezTo>
                    <a:pt x="18" y="26"/>
                    <a:pt x="20" y="30"/>
                    <a:pt x="22" y="29"/>
                  </a:cubicBezTo>
                  <a:cubicBezTo>
                    <a:pt x="23" y="29"/>
                    <a:pt x="26" y="17"/>
                    <a:pt x="26" y="17"/>
                  </a:cubicBezTo>
                  <a:cubicBezTo>
                    <a:pt x="24" y="13"/>
                    <a:pt x="17" y="13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6" y="7"/>
                    <a:pt x="0" y="0"/>
                    <a:pt x="2" y="1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6" name="Freeform 1291"/>
            <p:cNvSpPr>
              <a:spLocks/>
            </p:cNvSpPr>
            <p:nvPr/>
          </p:nvSpPr>
          <p:spPr bwMode="auto">
            <a:xfrm>
              <a:off x="1603" y="1625"/>
              <a:ext cx="11" cy="19"/>
            </a:xfrm>
            <a:custGeom>
              <a:avLst/>
              <a:gdLst>
                <a:gd name="T0" fmla="*/ 14 w 16"/>
                <a:gd name="T1" fmla="*/ 27 h 29"/>
                <a:gd name="T2" fmla="*/ 4 w 16"/>
                <a:gd name="T3" fmla="*/ 7 h 29"/>
                <a:gd name="T4" fmla="*/ 4 w 16"/>
                <a:gd name="T5" fmla="*/ 7 h 29"/>
                <a:gd name="T6" fmla="*/ 14 w 16"/>
                <a:gd name="T7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9">
                  <a:moveTo>
                    <a:pt x="14" y="27"/>
                  </a:moveTo>
                  <a:cubicBezTo>
                    <a:pt x="16" y="27"/>
                    <a:pt x="4" y="9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0" y="0"/>
                    <a:pt x="7" y="29"/>
                    <a:pt x="14" y="2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7" name="Freeform 1292"/>
            <p:cNvSpPr>
              <a:spLocks/>
            </p:cNvSpPr>
            <p:nvPr/>
          </p:nvSpPr>
          <p:spPr bwMode="auto">
            <a:xfrm>
              <a:off x="1614" y="1629"/>
              <a:ext cx="14" cy="20"/>
            </a:xfrm>
            <a:custGeom>
              <a:avLst/>
              <a:gdLst>
                <a:gd name="T0" fmla="*/ 9 w 22"/>
                <a:gd name="T1" fmla="*/ 29 h 31"/>
                <a:gd name="T2" fmla="*/ 7 w 22"/>
                <a:gd name="T3" fmla="*/ 21 h 31"/>
                <a:gd name="T4" fmla="*/ 18 w 22"/>
                <a:gd name="T5" fmla="*/ 27 h 31"/>
                <a:gd name="T6" fmla="*/ 11 w 22"/>
                <a:gd name="T7" fmla="*/ 17 h 31"/>
                <a:gd name="T8" fmla="*/ 20 w 22"/>
                <a:gd name="T9" fmla="*/ 18 h 31"/>
                <a:gd name="T10" fmla="*/ 19 w 22"/>
                <a:gd name="T11" fmla="*/ 16 h 31"/>
                <a:gd name="T12" fmla="*/ 7 w 22"/>
                <a:gd name="T13" fmla="*/ 1 h 31"/>
                <a:gd name="T14" fmla="*/ 7 w 22"/>
                <a:gd name="T15" fmla="*/ 1 h 31"/>
                <a:gd name="T16" fmla="*/ 5 w 22"/>
                <a:gd name="T17" fmla="*/ 8 h 31"/>
                <a:gd name="T18" fmla="*/ 9 w 22"/>
                <a:gd name="T19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31">
                  <a:moveTo>
                    <a:pt x="9" y="29"/>
                  </a:moveTo>
                  <a:cubicBezTo>
                    <a:pt x="11" y="30"/>
                    <a:pt x="6" y="21"/>
                    <a:pt x="7" y="21"/>
                  </a:cubicBezTo>
                  <a:cubicBezTo>
                    <a:pt x="9" y="20"/>
                    <a:pt x="13" y="31"/>
                    <a:pt x="18" y="27"/>
                  </a:cubicBezTo>
                  <a:cubicBezTo>
                    <a:pt x="22" y="24"/>
                    <a:pt x="11" y="21"/>
                    <a:pt x="11" y="17"/>
                  </a:cubicBezTo>
                  <a:cubicBezTo>
                    <a:pt x="11" y="15"/>
                    <a:pt x="19" y="21"/>
                    <a:pt x="20" y="18"/>
                  </a:cubicBezTo>
                  <a:cubicBezTo>
                    <a:pt x="20" y="17"/>
                    <a:pt x="20" y="17"/>
                    <a:pt x="19" y="16"/>
                  </a:cubicBezTo>
                  <a:cubicBezTo>
                    <a:pt x="11" y="12"/>
                    <a:pt x="9" y="8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4" y="4"/>
                    <a:pt x="5" y="8"/>
                  </a:cubicBezTo>
                  <a:cubicBezTo>
                    <a:pt x="7" y="13"/>
                    <a:pt x="0" y="27"/>
                    <a:pt x="9" y="29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8" name="Freeform 1293"/>
            <p:cNvSpPr>
              <a:spLocks/>
            </p:cNvSpPr>
            <p:nvPr/>
          </p:nvSpPr>
          <p:spPr bwMode="auto">
            <a:xfrm>
              <a:off x="1591" y="1697"/>
              <a:ext cx="23" cy="27"/>
            </a:xfrm>
            <a:custGeom>
              <a:avLst/>
              <a:gdLst>
                <a:gd name="T0" fmla="*/ 0 w 36"/>
                <a:gd name="T1" fmla="*/ 6 h 41"/>
                <a:gd name="T2" fmla="*/ 6 w 36"/>
                <a:gd name="T3" fmla="*/ 17 h 41"/>
                <a:gd name="T4" fmla="*/ 23 w 36"/>
                <a:gd name="T5" fmla="*/ 38 h 41"/>
                <a:gd name="T6" fmla="*/ 27 w 36"/>
                <a:gd name="T7" fmla="*/ 40 h 41"/>
                <a:gd name="T8" fmla="*/ 18 w 36"/>
                <a:gd name="T9" fmla="*/ 31 h 41"/>
                <a:gd name="T10" fmla="*/ 16 w 36"/>
                <a:gd name="T11" fmla="*/ 29 h 41"/>
                <a:gd name="T12" fmla="*/ 26 w 36"/>
                <a:gd name="T13" fmla="*/ 27 h 41"/>
                <a:gd name="T14" fmla="*/ 14 w 36"/>
                <a:gd name="T15" fmla="*/ 15 h 41"/>
                <a:gd name="T16" fmla="*/ 20 w 36"/>
                <a:gd name="T17" fmla="*/ 17 h 41"/>
                <a:gd name="T18" fmla="*/ 22 w 36"/>
                <a:gd name="T19" fmla="*/ 14 h 41"/>
                <a:gd name="T20" fmla="*/ 22 w 36"/>
                <a:gd name="T21" fmla="*/ 14 h 41"/>
                <a:gd name="T22" fmla="*/ 14 w 36"/>
                <a:gd name="T23" fmla="*/ 11 h 41"/>
                <a:gd name="T24" fmla="*/ 5 w 36"/>
                <a:gd name="T25" fmla="*/ 10 h 41"/>
                <a:gd name="T26" fmla="*/ 5 w 36"/>
                <a:gd name="T27" fmla="*/ 9 h 41"/>
                <a:gd name="T28" fmla="*/ 7 w 36"/>
                <a:gd name="T29" fmla="*/ 3 h 41"/>
                <a:gd name="T30" fmla="*/ 0 w 36"/>
                <a:gd name="T31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41">
                  <a:moveTo>
                    <a:pt x="0" y="6"/>
                  </a:moveTo>
                  <a:cubicBezTo>
                    <a:pt x="0" y="9"/>
                    <a:pt x="3" y="13"/>
                    <a:pt x="6" y="17"/>
                  </a:cubicBezTo>
                  <a:cubicBezTo>
                    <a:pt x="14" y="28"/>
                    <a:pt x="13" y="28"/>
                    <a:pt x="23" y="38"/>
                  </a:cubicBezTo>
                  <a:cubicBezTo>
                    <a:pt x="24" y="39"/>
                    <a:pt x="26" y="41"/>
                    <a:pt x="27" y="40"/>
                  </a:cubicBezTo>
                  <a:cubicBezTo>
                    <a:pt x="36" y="34"/>
                    <a:pt x="19" y="31"/>
                    <a:pt x="18" y="31"/>
                  </a:cubicBezTo>
                  <a:cubicBezTo>
                    <a:pt x="18" y="30"/>
                    <a:pt x="15" y="29"/>
                    <a:pt x="16" y="29"/>
                  </a:cubicBezTo>
                  <a:cubicBezTo>
                    <a:pt x="16" y="28"/>
                    <a:pt x="25" y="29"/>
                    <a:pt x="26" y="27"/>
                  </a:cubicBezTo>
                  <a:cubicBezTo>
                    <a:pt x="26" y="26"/>
                    <a:pt x="14" y="15"/>
                    <a:pt x="14" y="15"/>
                  </a:cubicBezTo>
                  <a:cubicBezTo>
                    <a:pt x="15" y="14"/>
                    <a:pt x="19" y="17"/>
                    <a:pt x="20" y="17"/>
                  </a:cubicBezTo>
                  <a:cubicBezTo>
                    <a:pt x="23" y="18"/>
                    <a:pt x="23" y="16"/>
                    <a:pt x="22" y="14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0" y="11"/>
                    <a:pt x="16" y="14"/>
                    <a:pt x="14" y="11"/>
                  </a:cubicBezTo>
                  <a:cubicBezTo>
                    <a:pt x="12" y="7"/>
                    <a:pt x="6" y="12"/>
                    <a:pt x="5" y="10"/>
                  </a:cubicBezTo>
                  <a:cubicBezTo>
                    <a:pt x="4" y="9"/>
                    <a:pt x="5" y="9"/>
                    <a:pt x="5" y="9"/>
                  </a:cubicBezTo>
                  <a:cubicBezTo>
                    <a:pt x="8" y="6"/>
                    <a:pt x="9" y="5"/>
                    <a:pt x="7" y="3"/>
                  </a:cubicBezTo>
                  <a:cubicBezTo>
                    <a:pt x="6" y="0"/>
                    <a:pt x="0" y="4"/>
                    <a:pt x="0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19" name="Freeform 1294"/>
            <p:cNvSpPr>
              <a:spLocks/>
            </p:cNvSpPr>
            <p:nvPr/>
          </p:nvSpPr>
          <p:spPr bwMode="auto">
            <a:xfrm>
              <a:off x="1585" y="1626"/>
              <a:ext cx="31" cy="33"/>
            </a:xfrm>
            <a:custGeom>
              <a:avLst/>
              <a:gdLst>
                <a:gd name="T0" fmla="*/ 27 w 48"/>
                <a:gd name="T1" fmla="*/ 40 h 51"/>
                <a:gd name="T2" fmla="*/ 32 w 48"/>
                <a:gd name="T3" fmla="*/ 45 h 51"/>
                <a:gd name="T4" fmla="*/ 27 w 48"/>
                <a:gd name="T5" fmla="*/ 30 h 51"/>
                <a:gd name="T6" fmla="*/ 36 w 48"/>
                <a:gd name="T7" fmla="*/ 48 h 51"/>
                <a:gd name="T8" fmla="*/ 39 w 48"/>
                <a:gd name="T9" fmla="*/ 50 h 51"/>
                <a:gd name="T10" fmla="*/ 39 w 48"/>
                <a:gd name="T11" fmla="*/ 44 h 51"/>
                <a:gd name="T12" fmla="*/ 44 w 48"/>
                <a:gd name="T13" fmla="*/ 41 h 51"/>
                <a:gd name="T14" fmla="*/ 38 w 48"/>
                <a:gd name="T15" fmla="*/ 37 h 51"/>
                <a:gd name="T16" fmla="*/ 47 w 48"/>
                <a:gd name="T17" fmla="*/ 39 h 51"/>
                <a:gd name="T18" fmla="*/ 33 w 48"/>
                <a:gd name="T19" fmla="*/ 32 h 51"/>
                <a:gd name="T20" fmla="*/ 44 w 48"/>
                <a:gd name="T21" fmla="*/ 31 h 51"/>
                <a:gd name="T22" fmla="*/ 28 w 48"/>
                <a:gd name="T23" fmla="*/ 24 h 51"/>
                <a:gd name="T24" fmla="*/ 32 w 48"/>
                <a:gd name="T25" fmla="*/ 22 h 51"/>
                <a:gd name="T26" fmla="*/ 18 w 48"/>
                <a:gd name="T27" fmla="*/ 16 h 51"/>
                <a:gd name="T28" fmla="*/ 17 w 48"/>
                <a:gd name="T29" fmla="*/ 23 h 51"/>
                <a:gd name="T30" fmla="*/ 16 w 48"/>
                <a:gd name="T31" fmla="*/ 22 h 51"/>
                <a:gd name="T32" fmla="*/ 10 w 48"/>
                <a:gd name="T33" fmla="*/ 9 h 51"/>
                <a:gd name="T34" fmla="*/ 9 w 48"/>
                <a:gd name="T35" fmla="*/ 10 h 51"/>
                <a:gd name="T36" fmla="*/ 2 w 48"/>
                <a:gd name="T37" fmla="*/ 11 h 51"/>
                <a:gd name="T38" fmla="*/ 15 w 48"/>
                <a:gd name="T39" fmla="*/ 32 h 51"/>
                <a:gd name="T40" fmla="*/ 27 w 48"/>
                <a:gd name="T41" fmla="*/ 4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51">
                  <a:moveTo>
                    <a:pt x="27" y="40"/>
                  </a:moveTo>
                  <a:cubicBezTo>
                    <a:pt x="29" y="40"/>
                    <a:pt x="30" y="45"/>
                    <a:pt x="32" y="45"/>
                  </a:cubicBezTo>
                  <a:cubicBezTo>
                    <a:pt x="39" y="43"/>
                    <a:pt x="26" y="30"/>
                    <a:pt x="27" y="30"/>
                  </a:cubicBezTo>
                  <a:cubicBezTo>
                    <a:pt x="39" y="34"/>
                    <a:pt x="31" y="43"/>
                    <a:pt x="36" y="48"/>
                  </a:cubicBezTo>
                  <a:cubicBezTo>
                    <a:pt x="37" y="49"/>
                    <a:pt x="38" y="51"/>
                    <a:pt x="39" y="50"/>
                  </a:cubicBezTo>
                  <a:cubicBezTo>
                    <a:pt x="40" y="50"/>
                    <a:pt x="39" y="45"/>
                    <a:pt x="39" y="44"/>
                  </a:cubicBezTo>
                  <a:cubicBezTo>
                    <a:pt x="40" y="43"/>
                    <a:pt x="47" y="45"/>
                    <a:pt x="44" y="41"/>
                  </a:cubicBezTo>
                  <a:cubicBezTo>
                    <a:pt x="43" y="41"/>
                    <a:pt x="38" y="37"/>
                    <a:pt x="38" y="37"/>
                  </a:cubicBezTo>
                  <a:cubicBezTo>
                    <a:pt x="40" y="37"/>
                    <a:pt x="47" y="40"/>
                    <a:pt x="47" y="39"/>
                  </a:cubicBezTo>
                  <a:cubicBezTo>
                    <a:pt x="48" y="38"/>
                    <a:pt x="34" y="33"/>
                    <a:pt x="33" y="32"/>
                  </a:cubicBezTo>
                  <a:cubicBezTo>
                    <a:pt x="32" y="27"/>
                    <a:pt x="43" y="33"/>
                    <a:pt x="44" y="31"/>
                  </a:cubicBezTo>
                  <a:cubicBezTo>
                    <a:pt x="46" y="27"/>
                    <a:pt x="29" y="26"/>
                    <a:pt x="28" y="24"/>
                  </a:cubicBezTo>
                  <a:cubicBezTo>
                    <a:pt x="28" y="23"/>
                    <a:pt x="31" y="24"/>
                    <a:pt x="32" y="22"/>
                  </a:cubicBezTo>
                  <a:cubicBezTo>
                    <a:pt x="34" y="19"/>
                    <a:pt x="24" y="15"/>
                    <a:pt x="18" y="16"/>
                  </a:cubicBezTo>
                  <a:cubicBezTo>
                    <a:pt x="15" y="17"/>
                    <a:pt x="18" y="23"/>
                    <a:pt x="17" y="23"/>
                  </a:cubicBezTo>
                  <a:cubicBezTo>
                    <a:pt x="17" y="23"/>
                    <a:pt x="16" y="22"/>
                    <a:pt x="16" y="22"/>
                  </a:cubicBezTo>
                  <a:cubicBezTo>
                    <a:pt x="14" y="19"/>
                    <a:pt x="24" y="0"/>
                    <a:pt x="10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12"/>
                    <a:pt x="3" y="10"/>
                    <a:pt x="2" y="11"/>
                  </a:cubicBezTo>
                  <a:cubicBezTo>
                    <a:pt x="0" y="12"/>
                    <a:pt x="13" y="29"/>
                    <a:pt x="15" y="32"/>
                  </a:cubicBezTo>
                  <a:cubicBezTo>
                    <a:pt x="17" y="34"/>
                    <a:pt x="24" y="38"/>
                    <a:pt x="27" y="4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0" name="Freeform 1295"/>
            <p:cNvSpPr>
              <a:spLocks/>
            </p:cNvSpPr>
            <p:nvPr/>
          </p:nvSpPr>
          <p:spPr bwMode="auto">
            <a:xfrm>
              <a:off x="1608" y="1627"/>
              <a:ext cx="11" cy="13"/>
            </a:xfrm>
            <a:custGeom>
              <a:avLst/>
              <a:gdLst>
                <a:gd name="T0" fmla="*/ 10 w 16"/>
                <a:gd name="T1" fmla="*/ 20 h 21"/>
                <a:gd name="T2" fmla="*/ 6 w 16"/>
                <a:gd name="T3" fmla="*/ 3 h 21"/>
                <a:gd name="T4" fmla="*/ 6 w 16"/>
                <a:gd name="T5" fmla="*/ 3 h 21"/>
                <a:gd name="T6" fmla="*/ 10 w 16"/>
                <a:gd name="T7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1">
                  <a:moveTo>
                    <a:pt x="10" y="20"/>
                  </a:moveTo>
                  <a:cubicBezTo>
                    <a:pt x="16" y="19"/>
                    <a:pt x="8" y="5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0"/>
                    <a:pt x="0" y="21"/>
                    <a:pt x="10" y="2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1" name="Freeform 1296"/>
            <p:cNvSpPr>
              <a:spLocks/>
            </p:cNvSpPr>
            <p:nvPr/>
          </p:nvSpPr>
          <p:spPr bwMode="auto">
            <a:xfrm>
              <a:off x="1619" y="1625"/>
              <a:ext cx="10" cy="15"/>
            </a:xfrm>
            <a:custGeom>
              <a:avLst/>
              <a:gdLst>
                <a:gd name="T0" fmla="*/ 10 w 14"/>
                <a:gd name="T1" fmla="*/ 19 h 22"/>
                <a:gd name="T2" fmla="*/ 14 w 14"/>
                <a:gd name="T3" fmla="*/ 15 h 22"/>
                <a:gd name="T4" fmla="*/ 11 w 14"/>
                <a:gd name="T5" fmla="*/ 13 h 22"/>
                <a:gd name="T6" fmla="*/ 8 w 14"/>
                <a:gd name="T7" fmla="*/ 15 h 22"/>
                <a:gd name="T8" fmla="*/ 8 w 14"/>
                <a:gd name="T9" fmla="*/ 11 h 22"/>
                <a:gd name="T10" fmla="*/ 1 w 14"/>
                <a:gd name="T11" fmla="*/ 2 h 22"/>
                <a:gd name="T12" fmla="*/ 1 w 14"/>
                <a:gd name="T13" fmla="*/ 2 h 22"/>
                <a:gd name="T14" fmla="*/ 10 w 14"/>
                <a:gd name="T15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2">
                  <a:moveTo>
                    <a:pt x="10" y="19"/>
                  </a:moveTo>
                  <a:cubicBezTo>
                    <a:pt x="12" y="18"/>
                    <a:pt x="14" y="17"/>
                    <a:pt x="14" y="15"/>
                  </a:cubicBezTo>
                  <a:cubicBezTo>
                    <a:pt x="14" y="15"/>
                    <a:pt x="12" y="14"/>
                    <a:pt x="11" y="13"/>
                  </a:cubicBezTo>
                  <a:cubicBezTo>
                    <a:pt x="9" y="13"/>
                    <a:pt x="9" y="15"/>
                    <a:pt x="8" y="15"/>
                  </a:cubicBezTo>
                  <a:cubicBezTo>
                    <a:pt x="7" y="15"/>
                    <a:pt x="8" y="12"/>
                    <a:pt x="8" y="11"/>
                  </a:cubicBezTo>
                  <a:cubicBezTo>
                    <a:pt x="5" y="8"/>
                    <a:pt x="4" y="5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0"/>
                    <a:pt x="0" y="22"/>
                    <a:pt x="10" y="19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2" name="Freeform 1297"/>
            <p:cNvSpPr>
              <a:spLocks/>
            </p:cNvSpPr>
            <p:nvPr/>
          </p:nvSpPr>
          <p:spPr bwMode="auto">
            <a:xfrm>
              <a:off x="2493" y="2135"/>
              <a:ext cx="27" cy="37"/>
            </a:xfrm>
            <a:custGeom>
              <a:avLst/>
              <a:gdLst>
                <a:gd name="T0" fmla="*/ 5 w 42"/>
                <a:gd name="T1" fmla="*/ 34 h 56"/>
                <a:gd name="T2" fmla="*/ 13 w 42"/>
                <a:gd name="T3" fmla="*/ 35 h 56"/>
                <a:gd name="T4" fmla="*/ 34 w 42"/>
                <a:gd name="T5" fmla="*/ 15 h 56"/>
                <a:gd name="T6" fmla="*/ 42 w 42"/>
                <a:gd name="T7" fmla="*/ 1 h 56"/>
                <a:gd name="T8" fmla="*/ 42 w 42"/>
                <a:gd name="T9" fmla="*/ 1 h 56"/>
                <a:gd name="T10" fmla="*/ 30 w 42"/>
                <a:gd name="T11" fmla="*/ 10 h 56"/>
                <a:gd name="T12" fmla="*/ 18 w 42"/>
                <a:gd name="T13" fmla="*/ 24 h 56"/>
                <a:gd name="T14" fmla="*/ 5 w 42"/>
                <a:gd name="T15" fmla="*/ 3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56">
                  <a:moveTo>
                    <a:pt x="5" y="34"/>
                  </a:moveTo>
                  <a:cubicBezTo>
                    <a:pt x="6" y="35"/>
                    <a:pt x="11" y="33"/>
                    <a:pt x="13" y="35"/>
                  </a:cubicBezTo>
                  <a:cubicBezTo>
                    <a:pt x="37" y="56"/>
                    <a:pt x="31" y="24"/>
                    <a:pt x="34" y="15"/>
                  </a:cubicBezTo>
                  <a:cubicBezTo>
                    <a:pt x="35" y="13"/>
                    <a:pt x="41" y="13"/>
                    <a:pt x="42" y="1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2" y="0"/>
                    <a:pt x="31" y="10"/>
                    <a:pt x="30" y="10"/>
                  </a:cubicBezTo>
                  <a:cubicBezTo>
                    <a:pt x="14" y="9"/>
                    <a:pt x="19" y="24"/>
                    <a:pt x="18" y="24"/>
                  </a:cubicBezTo>
                  <a:cubicBezTo>
                    <a:pt x="17" y="25"/>
                    <a:pt x="0" y="30"/>
                    <a:pt x="5" y="3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3" name="Freeform 1298"/>
            <p:cNvSpPr>
              <a:spLocks/>
            </p:cNvSpPr>
            <p:nvPr/>
          </p:nvSpPr>
          <p:spPr bwMode="auto">
            <a:xfrm>
              <a:off x="2560" y="2302"/>
              <a:ext cx="29" cy="26"/>
            </a:xfrm>
            <a:custGeom>
              <a:avLst/>
              <a:gdLst>
                <a:gd name="T0" fmla="*/ 15 w 44"/>
                <a:gd name="T1" fmla="*/ 31 h 40"/>
                <a:gd name="T2" fmla="*/ 25 w 44"/>
                <a:gd name="T3" fmla="*/ 31 h 40"/>
                <a:gd name="T4" fmla="*/ 25 w 44"/>
                <a:gd name="T5" fmla="*/ 36 h 40"/>
                <a:gd name="T6" fmla="*/ 33 w 44"/>
                <a:gd name="T7" fmla="*/ 19 h 40"/>
                <a:gd name="T8" fmla="*/ 33 w 44"/>
                <a:gd name="T9" fmla="*/ 18 h 40"/>
                <a:gd name="T10" fmla="*/ 2 w 44"/>
                <a:gd name="T11" fmla="*/ 11 h 40"/>
                <a:gd name="T12" fmla="*/ 20 w 44"/>
                <a:gd name="T13" fmla="*/ 23 h 40"/>
                <a:gd name="T14" fmla="*/ 12 w 44"/>
                <a:gd name="T15" fmla="*/ 25 h 40"/>
                <a:gd name="T16" fmla="*/ 14 w 44"/>
                <a:gd name="T17" fmla="*/ 29 h 40"/>
                <a:gd name="T18" fmla="*/ 15 w 44"/>
                <a:gd name="T19" fmla="*/ 3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0">
                  <a:moveTo>
                    <a:pt x="15" y="31"/>
                  </a:moveTo>
                  <a:cubicBezTo>
                    <a:pt x="19" y="35"/>
                    <a:pt x="22" y="30"/>
                    <a:pt x="25" y="31"/>
                  </a:cubicBezTo>
                  <a:cubicBezTo>
                    <a:pt x="43" y="33"/>
                    <a:pt x="22" y="35"/>
                    <a:pt x="25" y="36"/>
                  </a:cubicBezTo>
                  <a:cubicBezTo>
                    <a:pt x="41" y="40"/>
                    <a:pt x="44" y="30"/>
                    <a:pt x="33" y="19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0" y="15"/>
                    <a:pt x="5" y="0"/>
                    <a:pt x="2" y="11"/>
                  </a:cubicBezTo>
                  <a:cubicBezTo>
                    <a:pt x="0" y="16"/>
                    <a:pt x="20" y="16"/>
                    <a:pt x="20" y="23"/>
                  </a:cubicBezTo>
                  <a:cubicBezTo>
                    <a:pt x="20" y="25"/>
                    <a:pt x="13" y="23"/>
                    <a:pt x="12" y="25"/>
                  </a:cubicBezTo>
                  <a:cubicBezTo>
                    <a:pt x="13" y="27"/>
                    <a:pt x="14" y="28"/>
                    <a:pt x="14" y="29"/>
                  </a:cubicBezTo>
                  <a:cubicBezTo>
                    <a:pt x="14" y="30"/>
                    <a:pt x="15" y="31"/>
                    <a:pt x="15" y="3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4" name="Freeform 1299"/>
            <p:cNvSpPr>
              <a:spLocks/>
            </p:cNvSpPr>
            <p:nvPr/>
          </p:nvSpPr>
          <p:spPr bwMode="auto">
            <a:xfrm>
              <a:off x="2634" y="2212"/>
              <a:ext cx="105" cy="142"/>
            </a:xfrm>
            <a:custGeom>
              <a:avLst/>
              <a:gdLst>
                <a:gd name="T0" fmla="*/ 7 w 160"/>
                <a:gd name="T1" fmla="*/ 55 h 217"/>
                <a:gd name="T2" fmla="*/ 18 w 160"/>
                <a:gd name="T3" fmla="*/ 64 h 217"/>
                <a:gd name="T4" fmla="*/ 11 w 160"/>
                <a:gd name="T5" fmla="*/ 68 h 217"/>
                <a:gd name="T6" fmla="*/ 19 w 160"/>
                <a:gd name="T7" fmla="*/ 87 h 217"/>
                <a:gd name="T8" fmla="*/ 31 w 160"/>
                <a:gd name="T9" fmla="*/ 103 h 217"/>
                <a:gd name="T10" fmla="*/ 29 w 160"/>
                <a:gd name="T11" fmla="*/ 112 h 217"/>
                <a:gd name="T12" fmla="*/ 34 w 160"/>
                <a:gd name="T13" fmla="*/ 129 h 217"/>
                <a:gd name="T14" fmla="*/ 55 w 160"/>
                <a:gd name="T15" fmla="*/ 128 h 217"/>
                <a:gd name="T16" fmla="*/ 76 w 160"/>
                <a:gd name="T17" fmla="*/ 136 h 217"/>
                <a:gd name="T18" fmla="*/ 86 w 160"/>
                <a:gd name="T19" fmla="*/ 150 h 217"/>
                <a:gd name="T20" fmla="*/ 83 w 160"/>
                <a:gd name="T21" fmla="*/ 154 h 217"/>
                <a:gd name="T22" fmla="*/ 93 w 160"/>
                <a:gd name="T23" fmla="*/ 213 h 217"/>
                <a:gd name="T24" fmla="*/ 98 w 160"/>
                <a:gd name="T25" fmla="*/ 198 h 217"/>
                <a:gd name="T26" fmla="*/ 113 w 160"/>
                <a:gd name="T27" fmla="*/ 175 h 217"/>
                <a:gd name="T28" fmla="*/ 92 w 160"/>
                <a:gd name="T29" fmla="*/ 158 h 217"/>
                <a:gd name="T30" fmla="*/ 101 w 160"/>
                <a:gd name="T31" fmla="*/ 161 h 217"/>
                <a:gd name="T32" fmla="*/ 102 w 160"/>
                <a:gd name="T33" fmla="*/ 134 h 217"/>
                <a:gd name="T34" fmla="*/ 119 w 160"/>
                <a:gd name="T35" fmla="*/ 125 h 217"/>
                <a:gd name="T36" fmla="*/ 118 w 160"/>
                <a:gd name="T37" fmla="*/ 91 h 217"/>
                <a:gd name="T38" fmla="*/ 155 w 160"/>
                <a:gd name="T39" fmla="*/ 16 h 217"/>
                <a:gd name="T40" fmla="*/ 128 w 160"/>
                <a:gd name="T41" fmla="*/ 1 h 217"/>
                <a:gd name="T42" fmla="*/ 102 w 160"/>
                <a:gd name="T43" fmla="*/ 25 h 217"/>
                <a:gd name="T44" fmla="*/ 102 w 160"/>
                <a:gd name="T45" fmla="*/ 62 h 217"/>
                <a:gd name="T46" fmla="*/ 96 w 160"/>
                <a:gd name="T47" fmla="*/ 62 h 217"/>
                <a:gd name="T48" fmla="*/ 95 w 160"/>
                <a:gd name="T49" fmla="*/ 36 h 217"/>
                <a:gd name="T50" fmla="*/ 77 w 160"/>
                <a:gd name="T51" fmla="*/ 58 h 217"/>
                <a:gd name="T52" fmla="*/ 71 w 160"/>
                <a:gd name="T53" fmla="*/ 44 h 217"/>
                <a:gd name="T54" fmla="*/ 72 w 160"/>
                <a:gd name="T55" fmla="*/ 32 h 217"/>
                <a:gd name="T56" fmla="*/ 78 w 160"/>
                <a:gd name="T57" fmla="*/ 31 h 217"/>
                <a:gd name="T58" fmla="*/ 65 w 160"/>
                <a:gd name="T59" fmla="*/ 28 h 217"/>
                <a:gd name="T60" fmla="*/ 43 w 160"/>
                <a:gd name="T61" fmla="*/ 26 h 217"/>
                <a:gd name="T62" fmla="*/ 45 w 160"/>
                <a:gd name="T63" fmla="*/ 51 h 217"/>
                <a:gd name="T64" fmla="*/ 21 w 160"/>
                <a:gd name="T65" fmla="*/ 5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217">
                  <a:moveTo>
                    <a:pt x="21" y="55"/>
                  </a:moveTo>
                  <a:cubicBezTo>
                    <a:pt x="16" y="57"/>
                    <a:pt x="13" y="56"/>
                    <a:pt x="7" y="55"/>
                  </a:cubicBezTo>
                  <a:cubicBezTo>
                    <a:pt x="7" y="55"/>
                    <a:pt x="0" y="55"/>
                    <a:pt x="0" y="56"/>
                  </a:cubicBezTo>
                  <a:cubicBezTo>
                    <a:pt x="1" y="62"/>
                    <a:pt x="12" y="62"/>
                    <a:pt x="18" y="64"/>
                  </a:cubicBezTo>
                  <a:cubicBezTo>
                    <a:pt x="22" y="65"/>
                    <a:pt x="8" y="63"/>
                    <a:pt x="5" y="65"/>
                  </a:cubicBezTo>
                  <a:cubicBezTo>
                    <a:pt x="4" y="66"/>
                    <a:pt x="11" y="68"/>
                    <a:pt x="11" y="68"/>
                  </a:cubicBezTo>
                  <a:cubicBezTo>
                    <a:pt x="17" y="68"/>
                    <a:pt x="22" y="72"/>
                    <a:pt x="25" y="77"/>
                  </a:cubicBezTo>
                  <a:cubicBezTo>
                    <a:pt x="28" y="85"/>
                    <a:pt x="18" y="81"/>
                    <a:pt x="19" y="87"/>
                  </a:cubicBezTo>
                  <a:cubicBezTo>
                    <a:pt x="19" y="88"/>
                    <a:pt x="24" y="86"/>
                    <a:pt x="25" y="87"/>
                  </a:cubicBezTo>
                  <a:cubicBezTo>
                    <a:pt x="28" y="90"/>
                    <a:pt x="33" y="98"/>
                    <a:pt x="31" y="103"/>
                  </a:cubicBezTo>
                  <a:cubicBezTo>
                    <a:pt x="29" y="107"/>
                    <a:pt x="15" y="104"/>
                    <a:pt x="21" y="111"/>
                  </a:cubicBezTo>
                  <a:cubicBezTo>
                    <a:pt x="24" y="114"/>
                    <a:pt x="25" y="107"/>
                    <a:pt x="29" y="112"/>
                  </a:cubicBezTo>
                  <a:cubicBezTo>
                    <a:pt x="32" y="115"/>
                    <a:pt x="34" y="118"/>
                    <a:pt x="37" y="122"/>
                  </a:cubicBezTo>
                  <a:cubicBezTo>
                    <a:pt x="39" y="124"/>
                    <a:pt x="30" y="124"/>
                    <a:pt x="34" y="129"/>
                  </a:cubicBezTo>
                  <a:cubicBezTo>
                    <a:pt x="35" y="130"/>
                    <a:pt x="43" y="131"/>
                    <a:pt x="39" y="130"/>
                  </a:cubicBezTo>
                  <a:cubicBezTo>
                    <a:pt x="34" y="127"/>
                    <a:pt x="51" y="125"/>
                    <a:pt x="55" y="128"/>
                  </a:cubicBezTo>
                  <a:cubicBezTo>
                    <a:pt x="63" y="134"/>
                    <a:pt x="72" y="126"/>
                    <a:pt x="77" y="129"/>
                  </a:cubicBezTo>
                  <a:cubicBezTo>
                    <a:pt x="80" y="130"/>
                    <a:pt x="73" y="134"/>
                    <a:pt x="76" y="136"/>
                  </a:cubicBezTo>
                  <a:cubicBezTo>
                    <a:pt x="77" y="136"/>
                    <a:pt x="91" y="140"/>
                    <a:pt x="79" y="140"/>
                  </a:cubicBezTo>
                  <a:cubicBezTo>
                    <a:pt x="70" y="139"/>
                    <a:pt x="87" y="148"/>
                    <a:pt x="86" y="150"/>
                  </a:cubicBezTo>
                  <a:cubicBezTo>
                    <a:pt x="85" y="151"/>
                    <a:pt x="69" y="143"/>
                    <a:pt x="67" y="145"/>
                  </a:cubicBezTo>
                  <a:cubicBezTo>
                    <a:pt x="62" y="150"/>
                    <a:pt x="77" y="150"/>
                    <a:pt x="83" y="154"/>
                  </a:cubicBezTo>
                  <a:cubicBezTo>
                    <a:pt x="97" y="164"/>
                    <a:pt x="77" y="161"/>
                    <a:pt x="77" y="164"/>
                  </a:cubicBezTo>
                  <a:cubicBezTo>
                    <a:pt x="79" y="181"/>
                    <a:pt x="98" y="193"/>
                    <a:pt x="93" y="213"/>
                  </a:cubicBezTo>
                  <a:cubicBezTo>
                    <a:pt x="93" y="214"/>
                    <a:pt x="96" y="216"/>
                    <a:pt x="98" y="216"/>
                  </a:cubicBezTo>
                  <a:cubicBezTo>
                    <a:pt x="99" y="217"/>
                    <a:pt x="97" y="200"/>
                    <a:pt x="98" y="198"/>
                  </a:cubicBezTo>
                  <a:cubicBezTo>
                    <a:pt x="100" y="194"/>
                    <a:pt x="116" y="181"/>
                    <a:pt x="116" y="178"/>
                  </a:cubicBezTo>
                  <a:cubicBezTo>
                    <a:pt x="116" y="178"/>
                    <a:pt x="114" y="176"/>
                    <a:pt x="113" y="175"/>
                  </a:cubicBezTo>
                  <a:cubicBezTo>
                    <a:pt x="108" y="168"/>
                    <a:pt x="87" y="166"/>
                    <a:pt x="91" y="162"/>
                  </a:cubicBezTo>
                  <a:cubicBezTo>
                    <a:pt x="93" y="160"/>
                    <a:pt x="91" y="159"/>
                    <a:pt x="92" y="158"/>
                  </a:cubicBezTo>
                  <a:cubicBezTo>
                    <a:pt x="95" y="153"/>
                    <a:pt x="97" y="159"/>
                    <a:pt x="101" y="161"/>
                  </a:cubicBezTo>
                  <a:cubicBezTo>
                    <a:pt x="101" y="161"/>
                    <a:pt x="101" y="161"/>
                    <a:pt x="101" y="161"/>
                  </a:cubicBezTo>
                  <a:cubicBezTo>
                    <a:pt x="114" y="163"/>
                    <a:pt x="118" y="144"/>
                    <a:pt x="117" y="140"/>
                  </a:cubicBezTo>
                  <a:cubicBezTo>
                    <a:pt x="116" y="138"/>
                    <a:pt x="99" y="139"/>
                    <a:pt x="102" y="134"/>
                  </a:cubicBezTo>
                  <a:cubicBezTo>
                    <a:pt x="107" y="127"/>
                    <a:pt x="110" y="136"/>
                    <a:pt x="111" y="135"/>
                  </a:cubicBezTo>
                  <a:cubicBezTo>
                    <a:pt x="113" y="134"/>
                    <a:pt x="113" y="128"/>
                    <a:pt x="119" y="125"/>
                  </a:cubicBezTo>
                  <a:cubicBezTo>
                    <a:pt x="124" y="123"/>
                    <a:pt x="141" y="125"/>
                    <a:pt x="142" y="117"/>
                  </a:cubicBezTo>
                  <a:cubicBezTo>
                    <a:pt x="144" y="99"/>
                    <a:pt x="117" y="105"/>
                    <a:pt x="118" y="91"/>
                  </a:cubicBezTo>
                  <a:cubicBezTo>
                    <a:pt x="119" y="74"/>
                    <a:pt x="142" y="78"/>
                    <a:pt x="145" y="74"/>
                  </a:cubicBezTo>
                  <a:cubicBezTo>
                    <a:pt x="160" y="52"/>
                    <a:pt x="143" y="37"/>
                    <a:pt x="155" y="16"/>
                  </a:cubicBezTo>
                  <a:cubicBezTo>
                    <a:pt x="155" y="15"/>
                    <a:pt x="156" y="14"/>
                    <a:pt x="156" y="13"/>
                  </a:cubicBezTo>
                  <a:cubicBezTo>
                    <a:pt x="153" y="7"/>
                    <a:pt x="134" y="2"/>
                    <a:pt x="128" y="1"/>
                  </a:cubicBezTo>
                  <a:cubicBezTo>
                    <a:pt x="120" y="0"/>
                    <a:pt x="87" y="21"/>
                    <a:pt x="87" y="26"/>
                  </a:cubicBezTo>
                  <a:cubicBezTo>
                    <a:pt x="87" y="32"/>
                    <a:pt x="100" y="22"/>
                    <a:pt x="102" y="25"/>
                  </a:cubicBezTo>
                  <a:cubicBezTo>
                    <a:pt x="105" y="30"/>
                    <a:pt x="113" y="64"/>
                    <a:pt x="106" y="67"/>
                  </a:cubicBezTo>
                  <a:cubicBezTo>
                    <a:pt x="100" y="69"/>
                    <a:pt x="105" y="63"/>
                    <a:pt x="102" y="62"/>
                  </a:cubicBezTo>
                  <a:cubicBezTo>
                    <a:pt x="102" y="62"/>
                    <a:pt x="94" y="69"/>
                    <a:pt x="93" y="67"/>
                  </a:cubicBezTo>
                  <a:cubicBezTo>
                    <a:pt x="92" y="65"/>
                    <a:pt x="95" y="63"/>
                    <a:pt x="96" y="62"/>
                  </a:cubicBezTo>
                  <a:cubicBezTo>
                    <a:pt x="104" y="55"/>
                    <a:pt x="108" y="32"/>
                    <a:pt x="93" y="30"/>
                  </a:cubicBezTo>
                  <a:cubicBezTo>
                    <a:pt x="90" y="30"/>
                    <a:pt x="94" y="34"/>
                    <a:pt x="95" y="36"/>
                  </a:cubicBezTo>
                  <a:cubicBezTo>
                    <a:pt x="95" y="37"/>
                    <a:pt x="86" y="66"/>
                    <a:pt x="82" y="66"/>
                  </a:cubicBezTo>
                  <a:cubicBezTo>
                    <a:pt x="79" y="66"/>
                    <a:pt x="80" y="56"/>
                    <a:pt x="77" y="58"/>
                  </a:cubicBezTo>
                  <a:cubicBezTo>
                    <a:pt x="60" y="65"/>
                    <a:pt x="88" y="45"/>
                    <a:pt x="76" y="47"/>
                  </a:cubicBezTo>
                  <a:cubicBezTo>
                    <a:pt x="70" y="49"/>
                    <a:pt x="61" y="49"/>
                    <a:pt x="71" y="44"/>
                  </a:cubicBezTo>
                  <a:cubicBezTo>
                    <a:pt x="73" y="43"/>
                    <a:pt x="75" y="46"/>
                    <a:pt x="77" y="44"/>
                  </a:cubicBezTo>
                  <a:cubicBezTo>
                    <a:pt x="80" y="39"/>
                    <a:pt x="68" y="36"/>
                    <a:pt x="72" y="32"/>
                  </a:cubicBezTo>
                  <a:cubicBezTo>
                    <a:pt x="74" y="29"/>
                    <a:pt x="75" y="32"/>
                    <a:pt x="76" y="33"/>
                  </a:cubicBezTo>
                  <a:cubicBezTo>
                    <a:pt x="78" y="35"/>
                    <a:pt x="78" y="31"/>
                    <a:pt x="78" y="31"/>
                  </a:cubicBezTo>
                  <a:cubicBezTo>
                    <a:pt x="77" y="28"/>
                    <a:pt x="81" y="28"/>
                    <a:pt x="81" y="25"/>
                  </a:cubicBezTo>
                  <a:cubicBezTo>
                    <a:pt x="81" y="23"/>
                    <a:pt x="67" y="28"/>
                    <a:pt x="65" y="28"/>
                  </a:cubicBezTo>
                  <a:cubicBezTo>
                    <a:pt x="60" y="26"/>
                    <a:pt x="42" y="19"/>
                    <a:pt x="36" y="20"/>
                  </a:cubicBezTo>
                  <a:cubicBezTo>
                    <a:pt x="34" y="21"/>
                    <a:pt x="43" y="25"/>
                    <a:pt x="43" y="26"/>
                  </a:cubicBezTo>
                  <a:cubicBezTo>
                    <a:pt x="49" y="29"/>
                    <a:pt x="65" y="29"/>
                    <a:pt x="55" y="41"/>
                  </a:cubicBezTo>
                  <a:cubicBezTo>
                    <a:pt x="45" y="53"/>
                    <a:pt x="52" y="31"/>
                    <a:pt x="45" y="51"/>
                  </a:cubicBezTo>
                  <a:cubicBezTo>
                    <a:pt x="42" y="58"/>
                    <a:pt x="19" y="65"/>
                    <a:pt x="26" y="55"/>
                  </a:cubicBezTo>
                  <a:cubicBezTo>
                    <a:pt x="27" y="54"/>
                    <a:pt x="22" y="54"/>
                    <a:pt x="21" y="55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5" name="Freeform 1300"/>
            <p:cNvSpPr>
              <a:spLocks/>
            </p:cNvSpPr>
            <p:nvPr/>
          </p:nvSpPr>
          <p:spPr bwMode="auto">
            <a:xfrm>
              <a:off x="2592" y="2130"/>
              <a:ext cx="9" cy="5"/>
            </a:xfrm>
            <a:custGeom>
              <a:avLst/>
              <a:gdLst>
                <a:gd name="T0" fmla="*/ 14 w 14"/>
                <a:gd name="T1" fmla="*/ 6 h 7"/>
                <a:gd name="T2" fmla="*/ 0 w 14"/>
                <a:gd name="T3" fmla="*/ 0 h 7"/>
                <a:gd name="T4" fmla="*/ 14 w 14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7">
                  <a:moveTo>
                    <a:pt x="14" y="6"/>
                  </a:moveTo>
                  <a:cubicBezTo>
                    <a:pt x="12" y="5"/>
                    <a:pt x="6" y="3"/>
                    <a:pt x="0" y="0"/>
                  </a:cubicBezTo>
                  <a:cubicBezTo>
                    <a:pt x="4" y="4"/>
                    <a:pt x="8" y="7"/>
                    <a:pt x="14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6" name="Freeform 1301"/>
            <p:cNvSpPr>
              <a:spLocks/>
            </p:cNvSpPr>
            <p:nvPr/>
          </p:nvSpPr>
          <p:spPr bwMode="auto">
            <a:xfrm>
              <a:off x="2470" y="2061"/>
              <a:ext cx="170" cy="270"/>
            </a:xfrm>
            <a:custGeom>
              <a:avLst/>
              <a:gdLst>
                <a:gd name="T0" fmla="*/ 123 w 259"/>
                <a:gd name="T1" fmla="*/ 410 h 411"/>
                <a:gd name="T2" fmla="*/ 138 w 259"/>
                <a:gd name="T3" fmla="*/ 400 h 411"/>
                <a:gd name="T4" fmla="*/ 146 w 259"/>
                <a:gd name="T5" fmla="*/ 400 h 411"/>
                <a:gd name="T6" fmla="*/ 152 w 259"/>
                <a:gd name="T7" fmla="*/ 396 h 411"/>
                <a:gd name="T8" fmla="*/ 136 w 259"/>
                <a:gd name="T9" fmla="*/ 379 h 411"/>
                <a:gd name="T10" fmla="*/ 133 w 259"/>
                <a:gd name="T11" fmla="*/ 375 h 411"/>
                <a:gd name="T12" fmla="*/ 145 w 259"/>
                <a:gd name="T13" fmla="*/ 354 h 411"/>
                <a:gd name="T14" fmla="*/ 137 w 259"/>
                <a:gd name="T15" fmla="*/ 335 h 411"/>
                <a:gd name="T16" fmla="*/ 128 w 259"/>
                <a:gd name="T17" fmla="*/ 319 h 411"/>
                <a:gd name="T18" fmla="*/ 149 w 259"/>
                <a:gd name="T19" fmla="*/ 300 h 411"/>
                <a:gd name="T20" fmla="*/ 132 w 259"/>
                <a:gd name="T21" fmla="*/ 289 h 411"/>
                <a:gd name="T22" fmla="*/ 174 w 259"/>
                <a:gd name="T23" fmla="*/ 289 h 411"/>
                <a:gd name="T24" fmla="*/ 168 w 259"/>
                <a:gd name="T25" fmla="*/ 272 h 411"/>
                <a:gd name="T26" fmla="*/ 188 w 259"/>
                <a:gd name="T27" fmla="*/ 272 h 411"/>
                <a:gd name="T28" fmla="*/ 208 w 259"/>
                <a:gd name="T29" fmla="*/ 208 h 411"/>
                <a:gd name="T30" fmla="*/ 204 w 259"/>
                <a:gd name="T31" fmla="*/ 221 h 411"/>
                <a:gd name="T32" fmla="*/ 219 w 259"/>
                <a:gd name="T33" fmla="*/ 234 h 411"/>
                <a:gd name="T34" fmla="*/ 234 w 259"/>
                <a:gd name="T35" fmla="*/ 220 h 411"/>
                <a:gd name="T36" fmla="*/ 256 w 259"/>
                <a:gd name="T37" fmla="*/ 184 h 411"/>
                <a:gd name="T38" fmla="*/ 201 w 259"/>
                <a:gd name="T39" fmla="*/ 165 h 411"/>
                <a:gd name="T40" fmla="*/ 203 w 259"/>
                <a:gd name="T41" fmla="*/ 152 h 411"/>
                <a:gd name="T42" fmla="*/ 177 w 259"/>
                <a:gd name="T43" fmla="*/ 154 h 411"/>
                <a:gd name="T44" fmla="*/ 155 w 259"/>
                <a:gd name="T45" fmla="*/ 159 h 411"/>
                <a:gd name="T46" fmla="*/ 197 w 259"/>
                <a:gd name="T47" fmla="*/ 151 h 411"/>
                <a:gd name="T48" fmla="*/ 197 w 259"/>
                <a:gd name="T49" fmla="*/ 128 h 411"/>
                <a:gd name="T50" fmla="*/ 200 w 259"/>
                <a:gd name="T51" fmla="*/ 111 h 411"/>
                <a:gd name="T52" fmla="*/ 173 w 259"/>
                <a:gd name="T53" fmla="*/ 97 h 411"/>
                <a:gd name="T54" fmla="*/ 200 w 259"/>
                <a:gd name="T55" fmla="*/ 111 h 411"/>
                <a:gd name="T56" fmla="*/ 209 w 259"/>
                <a:gd name="T57" fmla="*/ 89 h 411"/>
                <a:gd name="T58" fmla="*/ 221 w 259"/>
                <a:gd name="T59" fmla="*/ 49 h 411"/>
                <a:gd name="T60" fmla="*/ 223 w 259"/>
                <a:gd name="T61" fmla="*/ 11 h 411"/>
                <a:gd name="T62" fmla="*/ 198 w 259"/>
                <a:gd name="T63" fmla="*/ 23 h 411"/>
                <a:gd name="T64" fmla="*/ 118 w 259"/>
                <a:gd name="T65" fmla="*/ 88 h 411"/>
                <a:gd name="T66" fmla="*/ 16 w 259"/>
                <a:gd name="T67" fmla="*/ 151 h 411"/>
                <a:gd name="T68" fmla="*/ 43 w 259"/>
                <a:gd name="T69" fmla="*/ 167 h 411"/>
                <a:gd name="T70" fmla="*/ 47 w 259"/>
                <a:gd name="T71" fmla="*/ 156 h 411"/>
                <a:gd name="T72" fmla="*/ 38 w 259"/>
                <a:gd name="T73" fmla="*/ 155 h 411"/>
                <a:gd name="T74" fmla="*/ 41 w 259"/>
                <a:gd name="T75" fmla="*/ 152 h 411"/>
                <a:gd name="T76" fmla="*/ 94 w 259"/>
                <a:gd name="T77" fmla="*/ 102 h 411"/>
                <a:gd name="T78" fmla="*/ 165 w 259"/>
                <a:gd name="T79" fmla="*/ 101 h 411"/>
                <a:gd name="T80" fmla="*/ 138 w 259"/>
                <a:gd name="T81" fmla="*/ 114 h 411"/>
                <a:gd name="T82" fmla="*/ 105 w 259"/>
                <a:gd name="T83" fmla="*/ 145 h 411"/>
                <a:gd name="T84" fmla="*/ 110 w 259"/>
                <a:gd name="T85" fmla="*/ 151 h 411"/>
                <a:gd name="T86" fmla="*/ 114 w 259"/>
                <a:gd name="T87" fmla="*/ 173 h 411"/>
                <a:gd name="T88" fmla="*/ 97 w 259"/>
                <a:gd name="T89" fmla="*/ 157 h 411"/>
                <a:gd name="T90" fmla="*/ 87 w 259"/>
                <a:gd name="T91" fmla="*/ 166 h 411"/>
                <a:gd name="T92" fmla="*/ 79 w 259"/>
                <a:gd name="T93" fmla="*/ 137 h 411"/>
                <a:gd name="T94" fmla="*/ 76 w 259"/>
                <a:gd name="T95" fmla="*/ 151 h 411"/>
                <a:gd name="T96" fmla="*/ 52 w 259"/>
                <a:gd name="T97" fmla="*/ 183 h 411"/>
                <a:gd name="T98" fmla="*/ 27 w 259"/>
                <a:gd name="T99" fmla="*/ 168 h 411"/>
                <a:gd name="T100" fmla="*/ 13 w 259"/>
                <a:gd name="T101" fmla="*/ 160 h 411"/>
                <a:gd name="T102" fmla="*/ 4 w 259"/>
                <a:gd name="T103" fmla="*/ 244 h 411"/>
                <a:gd name="T104" fmla="*/ 7 w 259"/>
                <a:gd name="T105" fmla="*/ 233 h 411"/>
                <a:gd name="T106" fmla="*/ 6 w 259"/>
                <a:gd name="T107" fmla="*/ 250 h 411"/>
                <a:gd name="T108" fmla="*/ 11 w 259"/>
                <a:gd name="T109" fmla="*/ 280 h 411"/>
                <a:gd name="T110" fmla="*/ 14 w 259"/>
                <a:gd name="T111" fmla="*/ 315 h 411"/>
                <a:gd name="T112" fmla="*/ 16 w 259"/>
                <a:gd name="T113" fmla="*/ 308 h 411"/>
                <a:gd name="T114" fmla="*/ 50 w 259"/>
                <a:gd name="T115" fmla="*/ 327 h 411"/>
                <a:gd name="T116" fmla="*/ 36 w 259"/>
                <a:gd name="T117" fmla="*/ 366 h 411"/>
                <a:gd name="T118" fmla="*/ 44 w 259"/>
                <a:gd name="T119" fmla="*/ 374 h 411"/>
                <a:gd name="T120" fmla="*/ 51 w 259"/>
                <a:gd name="T121" fmla="*/ 370 h 411"/>
                <a:gd name="T122" fmla="*/ 67 w 259"/>
                <a:gd name="T123" fmla="*/ 40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59" h="411">
                  <a:moveTo>
                    <a:pt x="67" y="400"/>
                  </a:moveTo>
                  <a:cubicBezTo>
                    <a:pt x="85" y="398"/>
                    <a:pt x="106" y="411"/>
                    <a:pt x="123" y="410"/>
                  </a:cubicBezTo>
                  <a:cubicBezTo>
                    <a:pt x="126" y="405"/>
                    <a:pt x="138" y="395"/>
                    <a:pt x="140" y="396"/>
                  </a:cubicBezTo>
                  <a:cubicBezTo>
                    <a:pt x="144" y="398"/>
                    <a:pt x="137" y="399"/>
                    <a:pt x="138" y="400"/>
                  </a:cubicBezTo>
                  <a:cubicBezTo>
                    <a:pt x="139" y="402"/>
                    <a:pt x="137" y="405"/>
                    <a:pt x="139" y="406"/>
                  </a:cubicBezTo>
                  <a:cubicBezTo>
                    <a:pt x="156" y="410"/>
                    <a:pt x="143" y="403"/>
                    <a:pt x="146" y="400"/>
                  </a:cubicBezTo>
                  <a:cubicBezTo>
                    <a:pt x="147" y="399"/>
                    <a:pt x="151" y="402"/>
                    <a:pt x="152" y="400"/>
                  </a:cubicBezTo>
                  <a:cubicBezTo>
                    <a:pt x="152" y="399"/>
                    <a:pt x="152" y="398"/>
                    <a:pt x="152" y="396"/>
                  </a:cubicBezTo>
                  <a:cubicBezTo>
                    <a:pt x="150" y="394"/>
                    <a:pt x="150" y="393"/>
                    <a:pt x="150" y="392"/>
                  </a:cubicBezTo>
                  <a:cubicBezTo>
                    <a:pt x="147" y="386"/>
                    <a:pt x="140" y="379"/>
                    <a:pt x="136" y="379"/>
                  </a:cubicBezTo>
                  <a:cubicBezTo>
                    <a:pt x="135" y="379"/>
                    <a:pt x="122" y="385"/>
                    <a:pt x="122" y="381"/>
                  </a:cubicBezTo>
                  <a:cubicBezTo>
                    <a:pt x="122" y="380"/>
                    <a:pt x="131" y="378"/>
                    <a:pt x="133" y="375"/>
                  </a:cubicBezTo>
                  <a:cubicBezTo>
                    <a:pt x="135" y="372"/>
                    <a:pt x="127" y="370"/>
                    <a:pt x="125" y="370"/>
                  </a:cubicBezTo>
                  <a:cubicBezTo>
                    <a:pt x="121" y="369"/>
                    <a:pt x="143" y="358"/>
                    <a:pt x="145" y="354"/>
                  </a:cubicBezTo>
                  <a:cubicBezTo>
                    <a:pt x="146" y="354"/>
                    <a:pt x="147" y="353"/>
                    <a:pt x="147" y="352"/>
                  </a:cubicBezTo>
                  <a:cubicBezTo>
                    <a:pt x="148" y="348"/>
                    <a:pt x="138" y="339"/>
                    <a:pt x="137" y="335"/>
                  </a:cubicBezTo>
                  <a:cubicBezTo>
                    <a:pt x="135" y="330"/>
                    <a:pt x="147" y="319"/>
                    <a:pt x="138" y="318"/>
                  </a:cubicBezTo>
                  <a:cubicBezTo>
                    <a:pt x="136" y="318"/>
                    <a:pt x="128" y="321"/>
                    <a:pt x="128" y="319"/>
                  </a:cubicBezTo>
                  <a:cubicBezTo>
                    <a:pt x="128" y="316"/>
                    <a:pt x="162" y="308"/>
                    <a:pt x="159" y="301"/>
                  </a:cubicBezTo>
                  <a:cubicBezTo>
                    <a:pt x="158" y="298"/>
                    <a:pt x="151" y="301"/>
                    <a:pt x="149" y="300"/>
                  </a:cubicBezTo>
                  <a:cubicBezTo>
                    <a:pt x="147" y="300"/>
                    <a:pt x="144" y="292"/>
                    <a:pt x="140" y="290"/>
                  </a:cubicBezTo>
                  <a:cubicBezTo>
                    <a:pt x="139" y="290"/>
                    <a:pt x="132" y="291"/>
                    <a:pt x="132" y="289"/>
                  </a:cubicBezTo>
                  <a:cubicBezTo>
                    <a:pt x="133" y="288"/>
                    <a:pt x="138" y="288"/>
                    <a:pt x="139" y="288"/>
                  </a:cubicBezTo>
                  <a:cubicBezTo>
                    <a:pt x="148" y="287"/>
                    <a:pt x="164" y="298"/>
                    <a:pt x="174" y="289"/>
                  </a:cubicBezTo>
                  <a:cubicBezTo>
                    <a:pt x="175" y="288"/>
                    <a:pt x="172" y="287"/>
                    <a:pt x="173" y="286"/>
                  </a:cubicBezTo>
                  <a:cubicBezTo>
                    <a:pt x="175" y="281"/>
                    <a:pt x="181" y="275"/>
                    <a:pt x="168" y="272"/>
                  </a:cubicBezTo>
                  <a:cubicBezTo>
                    <a:pt x="167" y="272"/>
                    <a:pt x="160" y="271"/>
                    <a:pt x="161" y="269"/>
                  </a:cubicBezTo>
                  <a:cubicBezTo>
                    <a:pt x="164" y="259"/>
                    <a:pt x="185" y="270"/>
                    <a:pt x="188" y="272"/>
                  </a:cubicBezTo>
                  <a:cubicBezTo>
                    <a:pt x="189" y="272"/>
                    <a:pt x="189" y="272"/>
                    <a:pt x="189" y="272"/>
                  </a:cubicBezTo>
                  <a:cubicBezTo>
                    <a:pt x="201" y="256"/>
                    <a:pt x="182" y="217"/>
                    <a:pt x="208" y="208"/>
                  </a:cubicBezTo>
                  <a:cubicBezTo>
                    <a:pt x="218" y="205"/>
                    <a:pt x="217" y="217"/>
                    <a:pt x="216" y="220"/>
                  </a:cubicBezTo>
                  <a:cubicBezTo>
                    <a:pt x="214" y="223"/>
                    <a:pt x="204" y="217"/>
                    <a:pt x="204" y="221"/>
                  </a:cubicBezTo>
                  <a:cubicBezTo>
                    <a:pt x="204" y="225"/>
                    <a:pt x="222" y="226"/>
                    <a:pt x="218" y="228"/>
                  </a:cubicBezTo>
                  <a:cubicBezTo>
                    <a:pt x="216" y="229"/>
                    <a:pt x="216" y="234"/>
                    <a:pt x="219" y="234"/>
                  </a:cubicBezTo>
                  <a:cubicBezTo>
                    <a:pt x="227" y="236"/>
                    <a:pt x="218" y="217"/>
                    <a:pt x="229" y="216"/>
                  </a:cubicBezTo>
                  <a:cubicBezTo>
                    <a:pt x="231" y="216"/>
                    <a:pt x="235" y="217"/>
                    <a:pt x="234" y="220"/>
                  </a:cubicBezTo>
                  <a:cubicBezTo>
                    <a:pt x="232" y="239"/>
                    <a:pt x="257" y="200"/>
                    <a:pt x="258" y="187"/>
                  </a:cubicBezTo>
                  <a:cubicBezTo>
                    <a:pt x="259" y="186"/>
                    <a:pt x="257" y="185"/>
                    <a:pt x="256" y="184"/>
                  </a:cubicBezTo>
                  <a:cubicBezTo>
                    <a:pt x="239" y="169"/>
                    <a:pt x="216" y="186"/>
                    <a:pt x="204" y="166"/>
                  </a:cubicBezTo>
                  <a:cubicBezTo>
                    <a:pt x="203" y="165"/>
                    <a:pt x="202" y="165"/>
                    <a:pt x="201" y="165"/>
                  </a:cubicBezTo>
                  <a:cubicBezTo>
                    <a:pt x="194" y="166"/>
                    <a:pt x="192" y="186"/>
                    <a:pt x="189" y="184"/>
                  </a:cubicBezTo>
                  <a:cubicBezTo>
                    <a:pt x="180" y="177"/>
                    <a:pt x="215" y="157"/>
                    <a:pt x="203" y="152"/>
                  </a:cubicBezTo>
                  <a:cubicBezTo>
                    <a:pt x="201" y="151"/>
                    <a:pt x="199" y="151"/>
                    <a:pt x="197" y="151"/>
                  </a:cubicBezTo>
                  <a:cubicBezTo>
                    <a:pt x="192" y="151"/>
                    <a:pt x="185" y="152"/>
                    <a:pt x="177" y="154"/>
                  </a:cubicBezTo>
                  <a:cubicBezTo>
                    <a:pt x="175" y="154"/>
                    <a:pt x="174" y="155"/>
                    <a:pt x="173" y="156"/>
                  </a:cubicBezTo>
                  <a:cubicBezTo>
                    <a:pt x="171" y="159"/>
                    <a:pt x="155" y="160"/>
                    <a:pt x="155" y="159"/>
                  </a:cubicBezTo>
                  <a:cubicBezTo>
                    <a:pt x="156" y="157"/>
                    <a:pt x="166" y="155"/>
                    <a:pt x="177" y="154"/>
                  </a:cubicBezTo>
                  <a:cubicBezTo>
                    <a:pt x="182" y="151"/>
                    <a:pt x="191" y="150"/>
                    <a:pt x="197" y="151"/>
                  </a:cubicBezTo>
                  <a:cubicBezTo>
                    <a:pt x="201" y="150"/>
                    <a:pt x="203" y="150"/>
                    <a:pt x="203" y="149"/>
                  </a:cubicBezTo>
                  <a:cubicBezTo>
                    <a:pt x="207" y="143"/>
                    <a:pt x="198" y="136"/>
                    <a:pt x="197" y="128"/>
                  </a:cubicBezTo>
                  <a:cubicBezTo>
                    <a:pt x="197" y="123"/>
                    <a:pt x="204" y="116"/>
                    <a:pt x="200" y="112"/>
                  </a:cubicBezTo>
                  <a:cubicBezTo>
                    <a:pt x="200" y="112"/>
                    <a:pt x="200" y="111"/>
                    <a:pt x="200" y="111"/>
                  </a:cubicBezTo>
                  <a:cubicBezTo>
                    <a:pt x="194" y="112"/>
                    <a:pt x="190" y="109"/>
                    <a:pt x="186" y="105"/>
                  </a:cubicBezTo>
                  <a:cubicBezTo>
                    <a:pt x="174" y="101"/>
                    <a:pt x="160" y="96"/>
                    <a:pt x="173" y="97"/>
                  </a:cubicBezTo>
                  <a:cubicBezTo>
                    <a:pt x="178" y="97"/>
                    <a:pt x="182" y="102"/>
                    <a:pt x="186" y="105"/>
                  </a:cubicBezTo>
                  <a:cubicBezTo>
                    <a:pt x="192" y="108"/>
                    <a:pt x="198" y="110"/>
                    <a:pt x="200" y="111"/>
                  </a:cubicBezTo>
                  <a:cubicBezTo>
                    <a:pt x="201" y="111"/>
                    <a:pt x="202" y="111"/>
                    <a:pt x="203" y="111"/>
                  </a:cubicBezTo>
                  <a:cubicBezTo>
                    <a:pt x="206" y="109"/>
                    <a:pt x="208" y="93"/>
                    <a:pt x="209" y="89"/>
                  </a:cubicBezTo>
                  <a:cubicBezTo>
                    <a:pt x="211" y="84"/>
                    <a:pt x="220" y="82"/>
                    <a:pt x="221" y="77"/>
                  </a:cubicBezTo>
                  <a:cubicBezTo>
                    <a:pt x="223" y="71"/>
                    <a:pt x="221" y="55"/>
                    <a:pt x="221" y="49"/>
                  </a:cubicBezTo>
                  <a:cubicBezTo>
                    <a:pt x="221" y="42"/>
                    <a:pt x="212" y="37"/>
                    <a:pt x="211" y="30"/>
                  </a:cubicBezTo>
                  <a:cubicBezTo>
                    <a:pt x="210" y="23"/>
                    <a:pt x="218" y="15"/>
                    <a:pt x="223" y="11"/>
                  </a:cubicBezTo>
                  <a:cubicBezTo>
                    <a:pt x="224" y="10"/>
                    <a:pt x="230" y="6"/>
                    <a:pt x="230" y="6"/>
                  </a:cubicBezTo>
                  <a:cubicBezTo>
                    <a:pt x="222" y="0"/>
                    <a:pt x="205" y="19"/>
                    <a:pt x="198" y="23"/>
                  </a:cubicBezTo>
                  <a:cubicBezTo>
                    <a:pt x="191" y="27"/>
                    <a:pt x="172" y="23"/>
                    <a:pt x="168" y="28"/>
                  </a:cubicBezTo>
                  <a:cubicBezTo>
                    <a:pt x="151" y="46"/>
                    <a:pt x="143" y="78"/>
                    <a:pt x="118" y="88"/>
                  </a:cubicBezTo>
                  <a:cubicBezTo>
                    <a:pt x="105" y="94"/>
                    <a:pt x="56" y="87"/>
                    <a:pt x="48" y="94"/>
                  </a:cubicBezTo>
                  <a:cubicBezTo>
                    <a:pt x="39" y="100"/>
                    <a:pt x="4" y="147"/>
                    <a:pt x="16" y="151"/>
                  </a:cubicBezTo>
                  <a:cubicBezTo>
                    <a:pt x="20" y="152"/>
                    <a:pt x="15" y="141"/>
                    <a:pt x="17" y="141"/>
                  </a:cubicBezTo>
                  <a:cubicBezTo>
                    <a:pt x="22" y="139"/>
                    <a:pt x="36" y="167"/>
                    <a:pt x="43" y="167"/>
                  </a:cubicBezTo>
                  <a:cubicBezTo>
                    <a:pt x="46" y="168"/>
                    <a:pt x="48" y="164"/>
                    <a:pt x="48" y="161"/>
                  </a:cubicBezTo>
                  <a:cubicBezTo>
                    <a:pt x="48" y="158"/>
                    <a:pt x="45" y="159"/>
                    <a:pt x="47" y="156"/>
                  </a:cubicBezTo>
                  <a:cubicBezTo>
                    <a:pt x="48" y="151"/>
                    <a:pt x="45" y="153"/>
                    <a:pt x="42" y="154"/>
                  </a:cubicBezTo>
                  <a:cubicBezTo>
                    <a:pt x="41" y="155"/>
                    <a:pt x="39" y="156"/>
                    <a:pt x="38" y="155"/>
                  </a:cubicBezTo>
                  <a:cubicBezTo>
                    <a:pt x="36" y="151"/>
                    <a:pt x="32" y="157"/>
                    <a:pt x="30" y="154"/>
                  </a:cubicBezTo>
                  <a:cubicBezTo>
                    <a:pt x="30" y="153"/>
                    <a:pt x="41" y="152"/>
                    <a:pt x="41" y="152"/>
                  </a:cubicBezTo>
                  <a:cubicBezTo>
                    <a:pt x="41" y="152"/>
                    <a:pt x="35" y="144"/>
                    <a:pt x="38" y="139"/>
                  </a:cubicBezTo>
                  <a:cubicBezTo>
                    <a:pt x="45" y="124"/>
                    <a:pt x="89" y="100"/>
                    <a:pt x="94" y="102"/>
                  </a:cubicBezTo>
                  <a:cubicBezTo>
                    <a:pt x="98" y="104"/>
                    <a:pt x="102" y="111"/>
                    <a:pt x="107" y="110"/>
                  </a:cubicBezTo>
                  <a:cubicBezTo>
                    <a:pt x="123" y="106"/>
                    <a:pt x="154" y="90"/>
                    <a:pt x="165" y="101"/>
                  </a:cubicBezTo>
                  <a:cubicBezTo>
                    <a:pt x="170" y="106"/>
                    <a:pt x="150" y="100"/>
                    <a:pt x="145" y="104"/>
                  </a:cubicBezTo>
                  <a:cubicBezTo>
                    <a:pt x="142" y="105"/>
                    <a:pt x="142" y="113"/>
                    <a:pt x="138" y="114"/>
                  </a:cubicBezTo>
                  <a:cubicBezTo>
                    <a:pt x="132" y="115"/>
                    <a:pt x="103" y="97"/>
                    <a:pt x="98" y="124"/>
                  </a:cubicBezTo>
                  <a:cubicBezTo>
                    <a:pt x="97" y="129"/>
                    <a:pt x="105" y="141"/>
                    <a:pt x="105" y="145"/>
                  </a:cubicBezTo>
                  <a:cubicBezTo>
                    <a:pt x="105" y="148"/>
                    <a:pt x="97" y="152"/>
                    <a:pt x="98" y="154"/>
                  </a:cubicBezTo>
                  <a:cubicBezTo>
                    <a:pt x="100" y="158"/>
                    <a:pt x="108" y="149"/>
                    <a:pt x="110" y="151"/>
                  </a:cubicBezTo>
                  <a:cubicBezTo>
                    <a:pt x="121" y="162"/>
                    <a:pt x="99" y="159"/>
                    <a:pt x="116" y="169"/>
                  </a:cubicBezTo>
                  <a:cubicBezTo>
                    <a:pt x="120" y="171"/>
                    <a:pt x="115" y="173"/>
                    <a:pt x="114" y="173"/>
                  </a:cubicBezTo>
                  <a:cubicBezTo>
                    <a:pt x="113" y="173"/>
                    <a:pt x="113" y="175"/>
                    <a:pt x="112" y="175"/>
                  </a:cubicBezTo>
                  <a:cubicBezTo>
                    <a:pt x="104" y="175"/>
                    <a:pt x="109" y="155"/>
                    <a:pt x="97" y="157"/>
                  </a:cubicBezTo>
                  <a:cubicBezTo>
                    <a:pt x="92" y="158"/>
                    <a:pt x="93" y="173"/>
                    <a:pt x="89" y="170"/>
                  </a:cubicBezTo>
                  <a:cubicBezTo>
                    <a:pt x="88" y="170"/>
                    <a:pt x="87" y="167"/>
                    <a:pt x="87" y="166"/>
                  </a:cubicBezTo>
                  <a:cubicBezTo>
                    <a:pt x="85" y="153"/>
                    <a:pt x="110" y="147"/>
                    <a:pt x="88" y="137"/>
                  </a:cubicBezTo>
                  <a:cubicBezTo>
                    <a:pt x="85" y="135"/>
                    <a:pt x="82" y="135"/>
                    <a:pt x="79" y="137"/>
                  </a:cubicBezTo>
                  <a:cubicBezTo>
                    <a:pt x="75" y="139"/>
                    <a:pt x="70" y="144"/>
                    <a:pt x="69" y="149"/>
                  </a:cubicBezTo>
                  <a:cubicBezTo>
                    <a:pt x="69" y="149"/>
                    <a:pt x="78" y="150"/>
                    <a:pt x="76" y="151"/>
                  </a:cubicBezTo>
                  <a:cubicBezTo>
                    <a:pt x="72" y="154"/>
                    <a:pt x="58" y="156"/>
                    <a:pt x="55" y="162"/>
                  </a:cubicBezTo>
                  <a:cubicBezTo>
                    <a:pt x="53" y="166"/>
                    <a:pt x="73" y="181"/>
                    <a:pt x="52" y="183"/>
                  </a:cubicBezTo>
                  <a:cubicBezTo>
                    <a:pt x="45" y="183"/>
                    <a:pt x="49" y="168"/>
                    <a:pt x="44" y="169"/>
                  </a:cubicBezTo>
                  <a:cubicBezTo>
                    <a:pt x="41" y="169"/>
                    <a:pt x="31" y="167"/>
                    <a:pt x="27" y="168"/>
                  </a:cubicBezTo>
                  <a:cubicBezTo>
                    <a:pt x="24" y="169"/>
                    <a:pt x="22" y="173"/>
                    <a:pt x="21" y="172"/>
                  </a:cubicBezTo>
                  <a:cubicBezTo>
                    <a:pt x="17" y="168"/>
                    <a:pt x="22" y="164"/>
                    <a:pt x="13" y="160"/>
                  </a:cubicBezTo>
                  <a:cubicBezTo>
                    <a:pt x="10" y="159"/>
                    <a:pt x="15" y="147"/>
                    <a:pt x="13" y="150"/>
                  </a:cubicBezTo>
                  <a:cubicBezTo>
                    <a:pt x="2" y="165"/>
                    <a:pt x="1" y="226"/>
                    <a:pt x="4" y="244"/>
                  </a:cubicBezTo>
                  <a:cubicBezTo>
                    <a:pt x="4" y="245"/>
                    <a:pt x="4" y="248"/>
                    <a:pt x="5" y="249"/>
                  </a:cubicBezTo>
                  <a:cubicBezTo>
                    <a:pt x="9" y="250"/>
                    <a:pt x="6" y="233"/>
                    <a:pt x="7" y="233"/>
                  </a:cubicBezTo>
                  <a:cubicBezTo>
                    <a:pt x="27" y="232"/>
                    <a:pt x="38" y="275"/>
                    <a:pt x="11" y="275"/>
                  </a:cubicBezTo>
                  <a:cubicBezTo>
                    <a:pt x="11" y="275"/>
                    <a:pt x="10" y="250"/>
                    <a:pt x="6" y="250"/>
                  </a:cubicBezTo>
                  <a:cubicBezTo>
                    <a:pt x="5" y="250"/>
                    <a:pt x="7" y="258"/>
                    <a:pt x="7" y="259"/>
                  </a:cubicBezTo>
                  <a:cubicBezTo>
                    <a:pt x="8" y="266"/>
                    <a:pt x="10" y="273"/>
                    <a:pt x="11" y="280"/>
                  </a:cubicBezTo>
                  <a:cubicBezTo>
                    <a:pt x="11" y="289"/>
                    <a:pt x="0" y="303"/>
                    <a:pt x="2" y="310"/>
                  </a:cubicBezTo>
                  <a:cubicBezTo>
                    <a:pt x="3" y="313"/>
                    <a:pt x="12" y="313"/>
                    <a:pt x="14" y="315"/>
                  </a:cubicBezTo>
                  <a:cubicBezTo>
                    <a:pt x="15" y="316"/>
                    <a:pt x="23" y="324"/>
                    <a:pt x="23" y="321"/>
                  </a:cubicBezTo>
                  <a:cubicBezTo>
                    <a:pt x="25" y="317"/>
                    <a:pt x="11" y="313"/>
                    <a:pt x="16" y="308"/>
                  </a:cubicBezTo>
                  <a:cubicBezTo>
                    <a:pt x="23" y="302"/>
                    <a:pt x="24" y="312"/>
                    <a:pt x="30" y="319"/>
                  </a:cubicBezTo>
                  <a:cubicBezTo>
                    <a:pt x="35" y="324"/>
                    <a:pt x="46" y="321"/>
                    <a:pt x="50" y="327"/>
                  </a:cubicBezTo>
                  <a:cubicBezTo>
                    <a:pt x="52" y="330"/>
                    <a:pt x="57" y="367"/>
                    <a:pt x="55" y="367"/>
                  </a:cubicBezTo>
                  <a:cubicBezTo>
                    <a:pt x="42" y="371"/>
                    <a:pt x="44" y="344"/>
                    <a:pt x="36" y="366"/>
                  </a:cubicBezTo>
                  <a:cubicBezTo>
                    <a:pt x="35" y="369"/>
                    <a:pt x="36" y="370"/>
                    <a:pt x="36" y="373"/>
                  </a:cubicBezTo>
                  <a:cubicBezTo>
                    <a:pt x="36" y="379"/>
                    <a:pt x="41" y="376"/>
                    <a:pt x="44" y="374"/>
                  </a:cubicBezTo>
                  <a:cubicBezTo>
                    <a:pt x="46" y="372"/>
                    <a:pt x="43" y="369"/>
                    <a:pt x="44" y="367"/>
                  </a:cubicBezTo>
                  <a:cubicBezTo>
                    <a:pt x="45" y="366"/>
                    <a:pt x="47" y="370"/>
                    <a:pt x="51" y="370"/>
                  </a:cubicBezTo>
                  <a:cubicBezTo>
                    <a:pt x="56" y="370"/>
                    <a:pt x="52" y="386"/>
                    <a:pt x="51" y="399"/>
                  </a:cubicBezTo>
                  <a:cubicBezTo>
                    <a:pt x="57" y="400"/>
                    <a:pt x="65" y="401"/>
                    <a:pt x="67" y="40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7" name="Freeform 1302"/>
            <p:cNvSpPr>
              <a:spLocks/>
            </p:cNvSpPr>
            <p:nvPr/>
          </p:nvSpPr>
          <p:spPr bwMode="auto">
            <a:xfrm>
              <a:off x="2707" y="2305"/>
              <a:ext cx="25" cy="19"/>
            </a:xfrm>
            <a:custGeom>
              <a:avLst/>
              <a:gdLst>
                <a:gd name="T0" fmla="*/ 0 w 39"/>
                <a:gd name="T1" fmla="*/ 28 h 30"/>
                <a:gd name="T2" fmla="*/ 38 w 39"/>
                <a:gd name="T3" fmla="*/ 15 h 30"/>
                <a:gd name="T4" fmla="*/ 38 w 39"/>
                <a:gd name="T5" fmla="*/ 14 h 30"/>
                <a:gd name="T6" fmla="*/ 35 w 39"/>
                <a:gd name="T7" fmla="*/ 12 h 30"/>
                <a:gd name="T8" fmla="*/ 7 w 39"/>
                <a:gd name="T9" fmla="*/ 17 h 30"/>
                <a:gd name="T10" fmla="*/ 3 w 39"/>
                <a:gd name="T11" fmla="*/ 23 h 30"/>
                <a:gd name="T12" fmla="*/ 0 w 39"/>
                <a:gd name="T1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0">
                  <a:moveTo>
                    <a:pt x="0" y="28"/>
                  </a:moveTo>
                  <a:cubicBezTo>
                    <a:pt x="1" y="30"/>
                    <a:pt x="39" y="20"/>
                    <a:pt x="38" y="1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7" y="13"/>
                    <a:pt x="36" y="13"/>
                    <a:pt x="35" y="12"/>
                  </a:cubicBezTo>
                  <a:cubicBezTo>
                    <a:pt x="1" y="0"/>
                    <a:pt x="23" y="20"/>
                    <a:pt x="7" y="17"/>
                  </a:cubicBezTo>
                  <a:cubicBezTo>
                    <a:pt x="5" y="16"/>
                    <a:pt x="2" y="20"/>
                    <a:pt x="3" y="23"/>
                  </a:cubicBezTo>
                  <a:cubicBezTo>
                    <a:pt x="3" y="23"/>
                    <a:pt x="0" y="26"/>
                    <a:pt x="0" y="28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8" name="Freeform 1303"/>
            <p:cNvSpPr>
              <a:spLocks/>
            </p:cNvSpPr>
            <p:nvPr/>
          </p:nvSpPr>
          <p:spPr bwMode="auto">
            <a:xfrm>
              <a:off x="2586" y="2160"/>
              <a:ext cx="13" cy="2"/>
            </a:xfrm>
            <a:custGeom>
              <a:avLst/>
              <a:gdLst>
                <a:gd name="T0" fmla="*/ 0 w 20"/>
                <a:gd name="T1" fmla="*/ 4 h 4"/>
                <a:gd name="T2" fmla="*/ 20 w 20"/>
                <a:gd name="T3" fmla="*/ 1 h 4"/>
                <a:gd name="T4" fmla="*/ 0 w 20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4">
                  <a:moveTo>
                    <a:pt x="0" y="4"/>
                  </a:moveTo>
                  <a:cubicBezTo>
                    <a:pt x="8" y="2"/>
                    <a:pt x="15" y="1"/>
                    <a:pt x="20" y="1"/>
                  </a:cubicBezTo>
                  <a:cubicBezTo>
                    <a:pt x="14" y="0"/>
                    <a:pt x="5" y="1"/>
                    <a:pt x="0" y="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29" name="Freeform 1304"/>
            <p:cNvSpPr>
              <a:spLocks/>
            </p:cNvSpPr>
            <p:nvPr/>
          </p:nvSpPr>
          <p:spPr bwMode="auto">
            <a:xfrm>
              <a:off x="2566" y="2273"/>
              <a:ext cx="4" cy="1"/>
            </a:xfrm>
            <a:custGeom>
              <a:avLst/>
              <a:gdLst>
                <a:gd name="T0" fmla="*/ 3 w 5"/>
                <a:gd name="T1" fmla="*/ 1 h 2"/>
                <a:gd name="T2" fmla="*/ 0 w 5"/>
                <a:gd name="T3" fmla="*/ 0 h 2"/>
                <a:gd name="T4" fmla="*/ 3 w 5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2">
                  <a:moveTo>
                    <a:pt x="3" y="1"/>
                  </a:moveTo>
                  <a:cubicBezTo>
                    <a:pt x="2" y="1"/>
                    <a:pt x="1" y="0"/>
                    <a:pt x="0" y="0"/>
                  </a:cubicBezTo>
                  <a:cubicBezTo>
                    <a:pt x="2" y="1"/>
                    <a:pt x="5" y="2"/>
                    <a:pt x="3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0" name="Freeform 1305"/>
            <p:cNvSpPr>
              <a:spLocks/>
            </p:cNvSpPr>
            <p:nvPr/>
          </p:nvSpPr>
          <p:spPr bwMode="auto">
            <a:xfrm>
              <a:off x="2588" y="2316"/>
              <a:ext cx="20" cy="14"/>
            </a:xfrm>
            <a:custGeom>
              <a:avLst/>
              <a:gdLst>
                <a:gd name="T0" fmla="*/ 30 w 31"/>
                <a:gd name="T1" fmla="*/ 20 h 21"/>
                <a:gd name="T2" fmla="*/ 31 w 31"/>
                <a:gd name="T3" fmla="*/ 20 h 21"/>
                <a:gd name="T4" fmla="*/ 3 w 31"/>
                <a:gd name="T5" fmla="*/ 4 h 21"/>
                <a:gd name="T6" fmla="*/ 3 w 31"/>
                <a:gd name="T7" fmla="*/ 4 h 21"/>
                <a:gd name="T8" fmla="*/ 3 w 31"/>
                <a:gd name="T9" fmla="*/ 7 h 21"/>
                <a:gd name="T10" fmla="*/ 30 w 31"/>
                <a:gd name="T11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21">
                  <a:moveTo>
                    <a:pt x="30" y="20"/>
                  </a:moveTo>
                  <a:cubicBezTo>
                    <a:pt x="30" y="20"/>
                    <a:pt x="31" y="21"/>
                    <a:pt x="31" y="20"/>
                  </a:cubicBezTo>
                  <a:cubicBezTo>
                    <a:pt x="21" y="10"/>
                    <a:pt x="19" y="21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0" y="0"/>
                    <a:pt x="2" y="5"/>
                    <a:pt x="3" y="7"/>
                  </a:cubicBezTo>
                  <a:cubicBezTo>
                    <a:pt x="14" y="19"/>
                    <a:pt x="16" y="21"/>
                    <a:pt x="30" y="2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1" name="Freeform 1306"/>
            <p:cNvSpPr>
              <a:spLocks/>
            </p:cNvSpPr>
            <p:nvPr/>
          </p:nvSpPr>
          <p:spPr bwMode="auto">
            <a:xfrm>
              <a:off x="2612" y="2221"/>
              <a:ext cx="9" cy="26"/>
            </a:xfrm>
            <a:custGeom>
              <a:avLst/>
              <a:gdLst>
                <a:gd name="T0" fmla="*/ 10 w 14"/>
                <a:gd name="T1" fmla="*/ 38 h 39"/>
                <a:gd name="T2" fmla="*/ 12 w 14"/>
                <a:gd name="T3" fmla="*/ 30 h 39"/>
                <a:gd name="T4" fmla="*/ 14 w 14"/>
                <a:gd name="T5" fmla="*/ 21 h 39"/>
                <a:gd name="T6" fmla="*/ 6 w 14"/>
                <a:gd name="T7" fmla="*/ 8 h 39"/>
                <a:gd name="T8" fmla="*/ 6 w 14"/>
                <a:gd name="T9" fmla="*/ 8 h 39"/>
                <a:gd name="T10" fmla="*/ 10 w 14"/>
                <a:gd name="T11" fmla="*/ 3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39">
                  <a:moveTo>
                    <a:pt x="10" y="38"/>
                  </a:moveTo>
                  <a:cubicBezTo>
                    <a:pt x="13" y="37"/>
                    <a:pt x="12" y="31"/>
                    <a:pt x="12" y="30"/>
                  </a:cubicBezTo>
                  <a:cubicBezTo>
                    <a:pt x="12" y="27"/>
                    <a:pt x="13" y="23"/>
                    <a:pt x="14" y="21"/>
                  </a:cubicBezTo>
                  <a:cubicBezTo>
                    <a:pt x="12" y="19"/>
                    <a:pt x="7" y="12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0"/>
                    <a:pt x="0" y="39"/>
                    <a:pt x="10" y="38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2" name="Freeform 1307"/>
            <p:cNvSpPr>
              <a:spLocks/>
            </p:cNvSpPr>
            <p:nvPr/>
          </p:nvSpPr>
          <p:spPr bwMode="auto">
            <a:xfrm>
              <a:off x="2602" y="2311"/>
              <a:ext cx="15" cy="14"/>
            </a:xfrm>
            <a:custGeom>
              <a:avLst/>
              <a:gdLst>
                <a:gd name="T0" fmla="*/ 20 w 24"/>
                <a:gd name="T1" fmla="*/ 9 h 22"/>
                <a:gd name="T2" fmla="*/ 21 w 24"/>
                <a:gd name="T3" fmla="*/ 8 h 22"/>
                <a:gd name="T4" fmla="*/ 13 w 24"/>
                <a:gd name="T5" fmla="*/ 6 h 22"/>
                <a:gd name="T6" fmla="*/ 20 w 24"/>
                <a:gd name="T7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2">
                  <a:moveTo>
                    <a:pt x="20" y="9"/>
                  </a:moveTo>
                  <a:cubicBezTo>
                    <a:pt x="21" y="8"/>
                    <a:pt x="21" y="8"/>
                    <a:pt x="21" y="8"/>
                  </a:cubicBezTo>
                  <a:cubicBezTo>
                    <a:pt x="24" y="0"/>
                    <a:pt x="17" y="5"/>
                    <a:pt x="13" y="6"/>
                  </a:cubicBezTo>
                  <a:cubicBezTo>
                    <a:pt x="0" y="12"/>
                    <a:pt x="24" y="22"/>
                    <a:pt x="20" y="9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3" name="Freeform 1308"/>
            <p:cNvSpPr>
              <a:spLocks/>
            </p:cNvSpPr>
            <p:nvPr/>
          </p:nvSpPr>
          <p:spPr bwMode="auto">
            <a:xfrm>
              <a:off x="2621" y="2234"/>
              <a:ext cx="1" cy="2"/>
            </a:xfrm>
            <a:custGeom>
              <a:avLst/>
              <a:gdLst>
                <a:gd name="T0" fmla="*/ 2 w 2"/>
                <a:gd name="T1" fmla="*/ 1 h 3"/>
                <a:gd name="T2" fmla="*/ 0 w 2"/>
                <a:gd name="T3" fmla="*/ 2 h 3"/>
                <a:gd name="T4" fmla="*/ 2 w 2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1"/>
                  </a:moveTo>
                  <a:cubicBezTo>
                    <a:pt x="2" y="0"/>
                    <a:pt x="1" y="1"/>
                    <a:pt x="0" y="2"/>
                  </a:cubicBezTo>
                  <a:cubicBezTo>
                    <a:pt x="1" y="3"/>
                    <a:pt x="2" y="3"/>
                    <a:pt x="2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4" name="Freeform 1309"/>
            <p:cNvSpPr>
              <a:spLocks/>
            </p:cNvSpPr>
            <p:nvPr/>
          </p:nvSpPr>
          <p:spPr bwMode="auto">
            <a:xfrm>
              <a:off x="2612" y="2292"/>
              <a:ext cx="29" cy="55"/>
            </a:xfrm>
            <a:custGeom>
              <a:avLst/>
              <a:gdLst>
                <a:gd name="T0" fmla="*/ 16 w 44"/>
                <a:gd name="T1" fmla="*/ 66 h 84"/>
                <a:gd name="T2" fmla="*/ 28 w 44"/>
                <a:gd name="T3" fmla="*/ 38 h 84"/>
                <a:gd name="T4" fmla="*/ 28 w 44"/>
                <a:gd name="T5" fmla="*/ 37 h 84"/>
                <a:gd name="T6" fmla="*/ 9 w 44"/>
                <a:gd name="T7" fmla="*/ 49 h 84"/>
                <a:gd name="T8" fmla="*/ 8 w 44"/>
                <a:gd name="T9" fmla="*/ 55 h 84"/>
                <a:gd name="T10" fmla="*/ 3 w 44"/>
                <a:gd name="T11" fmla="*/ 61 h 84"/>
                <a:gd name="T12" fmla="*/ 16 w 44"/>
                <a:gd name="T13" fmla="*/ 6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84">
                  <a:moveTo>
                    <a:pt x="16" y="66"/>
                  </a:moveTo>
                  <a:cubicBezTo>
                    <a:pt x="19" y="56"/>
                    <a:pt x="22" y="46"/>
                    <a:pt x="28" y="38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44" y="0"/>
                    <a:pt x="17" y="33"/>
                    <a:pt x="9" y="49"/>
                  </a:cubicBezTo>
                  <a:cubicBezTo>
                    <a:pt x="8" y="51"/>
                    <a:pt x="8" y="53"/>
                    <a:pt x="8" y="55"/>
                  </a:cubicBezTo>
                  <a:cubicBezTo>
                    <a:pt x="7" y="58"/>
                    <a:pt x="0" y="59"/>
                    <a:pt x="3" y="61"/>
                  </a:cubicBezTo>
                  <a:cubicBezTo>
                    <a:pt x="11" y="66"/>
                    <a:pt x="9" y="84"/>
                    <a:pt x="16" y="6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5" name="Freeform 1310"/>
            <p:cNvSpPr>
              <a:spLocks/>
            </p:cNvSpPr>
            <p:nvPr/>
          </p:nvSpPr>
          <p:spPr bwMode="auto">
            <a:xfrm>
              <a:off x="2849" y="2286"/>
              <a:ext cx="45" cy="36"/>
            </a:xfrm>
            <a:custGeom>
              <a:avLst/>
              <a:gdLst>
                <a:gd name="T0" fmla="*/ 46 w 69"/>
                <a:gd name="T1" fmla="*/ 43 h 54"/>
                <a:gd name="T2" fmla="*/ 47 w 69"/>
                <a:gd name="T3" fmla="*/ 42 h 54"/>
                <a:gd name="T4" fmla="*/ 19 w 69"/>
                <a:gd name="T5" fmla="*/ 1 h 54"/>
                <a:gd name="T6" fmla="*/ 46 w 69"/>
                <a:gd name="T7" fmla="*/ 43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54">
                  <a:moveTo>
                    <a:pt x="46" y="43"/>
                  </a:moveTo>
                  <a:cubicBezTo>
                    <a:pt x="47" y="42"/>
                    <a:pt x="47" y="42"/>
                    <a:pt x="47" y="42"/>
                  </a:cubicBezTo>
                  <a:cubicBezTo>
                    <a:pt x="69" y="33"/>
                    <a:pt x="26" y="0"/>
                    <a:pt x="19" y="1"/>
                  </a:cubicBezTo>
                  <a:cubicBezTo>
                    <a:pt x="0" y="4"/>
                    <a:pt x="21" y="54"/>
                    <a:pt x="46" y="4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6" name="Freeform 1311"/>
            <p:cNvSpPr>
              <a:spLocks/>
            </p:cNvSpPr>
            <p:nvPr/>
          </p:nvSpPr>
          <p:spPr bwMode="auto">
            <a:xfrm>
              <a:off x="2631" y="2093"/>
              <a:ext cx="25" cy="21"/>
            </a:xfrm>
            <a:custGeom>
              <a:avLst/>
              <a:gdLst>
                <a:gd name="T0" fmla="*/ 16 w 38"/>
                <a:gd name="T1" fmla="*/ 17 h 31"/>
                <a:gd name="T2" fmla="*/ 16 w 38"/>
                <a:gd name="T3" fmla="*/ 18 h 31"/>
                <a:gd name="T4" fmla="*/ 15 w 38"/>
                <a:gd name="T5" fmla="*/ 29 h 31"/>
                <a:gd name="T6" fmla="*/ 16 w 38"/>
                <a:gd name="T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1">
                  <a:moveTo>
                    <a:pt x="16" y="17"/>
                  </a:moveTo>
                  <a:cubicBezTo>
                    <a:pt x="16" y="18"/>
                    <a:pt x="16" y="18"/>
                    <a:pt x="16" y="18"/>
                  </a:cubicBezTo>
                  <a:cubicBezTo>
                    <a:pt x="0" y="19"/>
                    <a:pt x="4" y="31"/>
                    <a:pt x="15" y="29"/>
                  </a:cubicBezTo>
                  <a:cubicBezTo>
                    <a:pt x="28" y="27"/>
                    <a:pt x="38" y="0"/>
                    <a:pt x="16" y="1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7" name="Freeform 1312"/>
            <p:cNvSpPr>
              <a:spLocks/>
            </p:cNvSpPr>
            <p:nvPr/>
          </p:nvSpPr>
          <p:spPr bwMode="auto">
            <a:xfrm>
              <a:off x="2640" y="2311"/>
              <a:ext cx="52" cy="42"/>
            </a:xfrm>
            <a:custGeom>
              <a:avLst/>
              <a:gdLst>
                <a:gd name="T0" fmla="*/ 79 w 80"/>
                <a:gd name="T1" fmla="*/ 47 h 63"/>
                <a:gd name="T2" fmla="*/ 60 w 80"/>
                <a:gd name="T3" fmla="*/ 17 h 63"/>
                <a:gd name="T4" fmla="*/ 55 w 80"/>
                <a:gd name="T5" fmla="*/ 31 h 63"/>
                <a:gd name="T6" fmla="*/ 6 w 80"/>
                <a:gd name="T7" fmla="*/ 15 h 63"/>
                <a:gd name="T8" fmla="*/ 8 w 80"/>
                <a:gd name="T9" fmla="*/ 26 h 63"/>
                <a:gd name="T10" fmla="*/ 2 w 80"/>
                <a:gd name="T11" fmla="*/ 34 h 63"/>
                <a:gd name="T12" fmla="*/ 3 w 80"/>
                <a:gd name="T13" fmla="*/ 35 h 63"/>
                <a:gd name="T14" fmla="*/ 79 w 80"/>
                <a:gd name="T15" fmla="*/ 4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63">
                  <a:moveTo>
                    <a:pt x="79" y="47"/>
                  </a:moveTo>
                  <a:cubicBezTo>
                    <a:pt x="80" y="44"/>
                    <a:pt x="68" y="18"/>
                    <a:pt x="60" y="17"/>
                  </a:cubicBezTo>
                  <a:cubicBezTo>
                    <a:pt x="56" y="17"/>
                    <a:pt x="59" y="33"/>
                    <a:pt x="55" y="31"/>
                  </a:cubicBezTo>
                  <a:cubicBezTo>
                    <a:pt x="43" y="25"/>
                    <a:pt x="19" y="0"/>
                    <a:pt x="6" y="15"/>
                  </a:cubicBezTo>
                  <a:cubicBezTo>
                    <a:pt x="2" y="20"/>
                    <a:pt x="6" y="21"/>
                    <a:pt x="8" y="26"/>
                  </a:cubicBezTo>
                  <a:cubicBezTo>
                    <a:pt x="12" y="33"/>
                    <a:pt x="0" y="32"/>
                    <a:pt x="2" y="34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14" y="48"/>
                    <a:pt x="75" y="63"/>
                    <a:pt x="79" y="4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8" name="Freeform 1313"/>
            <p:cNvSpPr>
              <a:spLocks/>
            </p:cNvSpPr>
            <p:nvPr/>
          </p:nvSpPr>
          <p:spPr bwMode="auto">
            <a:xfrm>
              <a:off x="2726" y="2252"/>
              <a:ext cx="16" cy="14"/>
            </a:xfrm>
            <a:custGeom>
              <a:avLst/>
              <a:gdLst>
                <a:gd name="T0" fmla="*/ 12 w 24"/>
                <a:gd name="T1" fmla="*/ 20 h 22"/>
                <a:gd name="T2" fmla="*/ 17 w 24"/>
                <a:gd name="T3" fmla="*/ 2 h 22"/>
                <a:gd name="T4" fmla="*/ 17 w 24"/>
                <a:gd name="T5" fmla="*/ 2 h 22"/>
                <a:gd name="T6" fmla="*/ 12 w 24"/>
                <a:gd name="T7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2">
                  <a:moveTo>
                    <a:pt x="12" y="20"/>
                  </a:moveTo>
                  <a:cubicBezTo>
                    <a:pt x="24" y="22"/>
                    <a:pt x="22" y="7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0"/>
                    <a:pt x="0" y="18"/>
                    <a:pt x="12" y="2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39" name="Freeform 1314"/>
            <p:cNvSpPr>
              <a:spLocks/>
            </p:cNvSpPr>
            <p:nvPr/>
          </p:nvSpPr>
          <p:spPr bwMode="auto">
            <a:xfrm>
              <a:off x="2564" y="2257"/>
              <a:ext cx="71" cy="59"/>
            </a:xfrm>
            <a:custGeom>
              <a:avLst/>
              <a:gdLst>
                <a:gd name="T0" fmla="*/ 36 w 109"/>
                <a:gd name="T1" fmla="*/ 74 h 90"/>
                <a:gd name="T2" fmla="*/ 36 w 109"/>
                <a:gd name="T3" fmla="*/ 75 h 90"/>
                <a:gd name="T4" fmla="*/ 41 w 109"/>
                <a:gd name="T5" fmla="*/ 75 h 90"/>
                <a:gd name="T6" fmla="*/ 96 w 109"/>
                <a:gd name="T7" fmla="*/ 77 h 90"/>
                <a:gd name="T8" fmla="*/ 93 w 109"/>
                <a:gd name="T9" fmla="*/ 28 h 90"/>
                <a:gd name="T10" fmla="*/ 81 w 109"/>
                <a:gd name="T11" fmla="*/ 28 h 90"/>
                <a:gd name="T12" fmla="*/ 95 w 109"/>
                <a:gd name="T13" fmla="*/ 22 h 90"/>
                <a:gd name="T14" fmla="*/ 84 w 109"/>
                <a:gd name="T15" fmla="*/ 3 h 90"/>
                <a:gd name="T16" fmla="*/ 84 w 109"/>
                <a:gd name="T17" fmla="*/ 3 h 90"/>
                <a:gd name="T18" fmla="*/ 80 w 109"/>
                <a:gd name="T19" fmla="*/ 21 h 90"/>
                <a:gd name="T20" fmla="*/ 78 w 109"/>
                <a:gd name="T21" fmla="*/ 15 h 90"/>
                <a:gd name="T22" fmla="*/ 76 w 109"/>
                <a:gd name="T23" fmla="*/ 14 h 90"/>
                <a:gd name="T24" fmla="*/ 55 w 109"/>
                <a:gd name="T25" fmla="*/ 2 h 90"/>
                <a:gd name="T26" fmla="*/ 20 w 109"/>
                <a:gd name="T27" fmla="*/ 17 h 90"/>
                <a:gd name="T28" fmla="*/ 7 w 109"/>
                <a:gd name="T29" fmla="*/ 14 h 90"/>
                <a:gd name="T30" fmla="*/ 1 w 109"/>
                <a:gd name="T31" fmla="*/ 18 h 90"/>
                <a:gd name="T32" fmla="*/ 4 w 109"/>
                <a:gd name="T33" fmla="*/ 23 h 90"/>
                <a:gd name="T34" fmla="*/ 7 w 109"/>
                <a:gd name="T35" fmla="*/ 24 h 90"/>
                <a:gd name="T36" fmla="*/ 4 w 109"/>
                <a:gd name="T37" fmla="*/ 23 h 90"/>
                <a:gd name="T38" fmla="*/ 3 w 109"/>
                <a:gd name="T39" fmla="*/ 23 h 90"/>
                <a:gd name="T40" fmla="*/ 11 w 109"/>
                <a:gd name="T41" fmla="*/ 28 h 90"/>
                <a:gd name="T42" fmla="*/ 15 w 109"/>
                <a:gd name="T43" fmla="*/ 32 h 90"/>
                <a:gd name="T44" fmla="*/ 10 w 109"/>
                <a:gd name="T45" fmla="*/ 35 h 90"/>
                <a:gd name="T46" fmla="*/ 19 w 109"/>
                <a:gd name="T47" fmla="*/ 40 h 90"/>
                <a:gd name="T48" fmla="*/ 28 w 109"/>
                <a:gd name="T49" fmla="*/ 69 h 90"/>
                <a:gd name="T50" fmla="*/ 39 w 109"/>
                <a:gd name="T51" fmla="*/ 61 h 90"/>
                <a:gd name="T52" fmla="*/ 36 w 109"/>
                <a:gd name="T53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9" h="90">
                  <a:moveTo>
                    <a:pt x="36" y="74"/>
                  </a:moveTo>
                  <a:cubicBezTo>
                    <a:pt x="36" y="74"/>
                    <a:pt x="36" y="75"/>
                    <a:pt x="36" y="75"/>
                  </a:cubicBezTo>
                  <a:cubicBezTo>
                    <a:pt x="37" y="76"/>
                    <a:pt x="40" y="75"/>
                    <a:pt x="41" y="75"/>
                  </a:cubicBezTo>
                  <a:cubicBezTo>
                    <a:pt x="46" y="75"/>
                    <a:pt x="85" y="90"/>
                    <a:pt x="96" y="77"/>
                  </a:cubicBezTo>
                  <a:cubicBezTo>
                    <a:pt x="109" y="61"/>
                    <a:pt x="101" y="40"/>
                    <a:pt x="93" y="28"/>
                  </a:cubicBezTo>
                  <a:cubicBezTo>
                    <a:pt x="88" y="21"/>
                    <a:pt x="81" y="28"/>
                    <a:pt x="81" y="28"/>
                  </a:cubicBezTo>
                  <a:cubicBezTo>
                    <a:pt x="74" y="27"/>
                    <a:pt x="93" y="23"/>
                    <a:pt x="95" y="22"/>
                  </a:cubicBezTo>
                  <a:cubicBezTo>
                    <a:pt x="99" y="19"/>
                    <a:pt x="84" y="1"/>
                    <a:pt x="84" y="3"/>
                  </a:cubicBezTo>
                  <a:cubicBezTo>
                    <a:pt x="84" y="3"/>
                    <a:pt x="84" y="3"/>
                    <a:pt x="84" y="3"/>
                  </a:cubicBezTo>
                  <a:cubicBezTo>
                    <a:pt x="79" y="8"/>
                    <a:pt x="87" y="19"/>
                    <a:pt x="80" y="21"/>
                  </a:cubicBezTo>
                  <a:cubicBezTo>
                    <a:pt x="62" y="27"/>
                    <a:pt x="69" y="18"/>
                    <a:pt x="78" y="15"/>
                  </a:cubicBezTo>
                  <a:cubicBezTo>
                    <a:pt x="78" y="14"/>
                    <a:pt x="77" y="14"/>
                    <a:pt x="76" y="14"/>
                  </a:cubicBezTo>
                  <a:cubicBezTo>
                    <a:pt x="74" y="12"/>
                    <a:pt x="57" y="0"/>
                    <a:pt x="55" y="2"/>
                  </a:cubicBezTo>
                  <a:cubicBezTo>
                    <a:pt x="52" y="6"/>
                    <a:pt x="26" y="17"/>
                    <a:pt x="20" y="17"/>
                  </a:cubicBezTo>
                  <a:cubicBezTo>
                    <a:pt x="18" y="17"/>
                    <a:pt x="11" y="8"/>
                    <a:pt x="7" y="14"/>
                  </a:cubicBezTo>
                  <a:cubicBezTo>
                    <a:pt x="4" y="17"/>
                    <a:pt x="1" y="16"/>
                    <a:pt x="1" y="18"/>
                  </a:cubicBezTo>
                  <a:cubicBezTo>
                    <a:pt x="0" y="20"/>
                    <a:pt x="2" y="21"/>
                    <a:pt x="4" y="23"/>
                  </a:cubicBezTo>
                  <a:cubicBezTo>
                    <a:pt x="5" y="23"/>
                    <a:pt x="6" y="24"/>
                    <a:pt x="7" y="24"/>
                  </a:cubicBezTo>
                  <a:cubicBezTo>
                    <a:pt x="9" y="25"/>
                    <a:pt x="6" y="24"/>
                    <a:pt x="4" y="23"/>
                  </a:cubicBezTo>
                  <a:cubicBezTo>
                    <a:pt x="4" y="23"/>
                    <a:pt x="3" y="23"/>
                    <a:pt x="3" y="23"/>
                  </a:cubicBezTo>
                  <a:cubicBezTo>
                    <a:pt x="1" y="24"/>
                    <a:pt x="10" y="28"/>
                    <a:pt x="11" y="28"/>
                  </a:cubicBezTo>
                  <a:cubicBezTo>
                    <a:pt x="11" y="28"/>
                    <a:pt x="15" y="30"/>
                    <a:pt x="15" y="32"/>
                  </a:cubicBezTo>
                  <a:cubicBezTo>
                    <a:pt x="16" y="35"/>
                    <a:pt x="10" y="33"/>
                    <a:pt x="10" y="35"/>
                  </a:cubicBezTo>
                  <a:cubicBezTo>
                    <a:pt x="11" y="40"/>
                    <a:pt x="18" y="37"/>
                    <a:pt x="19" y="40"/>
                  </a:cubicBezTo>
                  <a:cubicBezTo>
                    <a:pt x="24" y="49"/>
                    <a:pt x="24" y="61"/>
                    <a:pt x="28" y="69"/>
                  </a:cubicBezTo>
                  <a:cubicBezTo>
                    <a:pt x="28" y="70"/>
                    <a:pt x="30" y="56"/>
                    <a:pt x="39" y="61"/>
                  </a:cubicBezTo>
                  <a:cubicBezTo>
                    <a:pt x="50" y="67"/>
                    <a:pt x="36" y="71"/>
                    <a:pt x="36" y="7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0" name="Freeform 1315"/>
            <p:cNvSpPr>
              <a:spLocks/>
            </p:cNvSpPr>
            <p:nvPr/>
          </p:nvSpPr>
          <p:spPr bwMode="auto">
            <a:xfrm>
              <a:off x="2984" y="2716"/>
              <a:ext cx="10" cy="17"/>
            </a:xfrm>
            <a:custGeom>
              <a:avLst/>
              <a:gdLst>
                <a:gd name="T0" fmla="*/ 16 w 16"/>
                <a:gd name="T1" fmla="*/ 26 h 26"/>
                <a:gd name="T2" fmla="*/ 16 w 16"/>
                <a:gd name="T3" fmla="*/ 26 h 26"/>
                <a:gd name="T4" fmla="*/ 2 w 16"/>
                <a:gd name="T5" fmla="*/ 0 h 26"/>
                <a:gd name="T6" fmla="*/ 16 w 16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26">
                  <a:moveTo>
                    <a:pt x="16" y="26"/>
                  </a:moveTo>
                  <a:cubicBezTo>
                    <a:pt x="16" y="26"/>
                    <a:pt x="16" y="26"/>
                    <a:pt x="16" y="26"/>
                  </a:cubicBezTo>
                  <a:cubicBezTo>
                    <a:pt x="16" y="25"/>
                    <a:pt x="0" y="3"/>
                    <a:pt x="2" y="0"/>
                  </a:cubicBezTo>
                  <a:cubicBezTo>
                    <a:pt x="0" y="3"/>
                    <a:pt x="16" y="25"/>
                    <a:pt x="16" y="2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1" name="Freeform 1316"/>
            <p:cNvSpPr>
              <a:spLocks/>
            </p:cNvSpPr>
            <p:nvPr/>
          </p:nvSpPr>
          <p:spPr bwMode="auto">
            <a:xfrm>
              <a:off x="2947" y="2706"/>
              <a:ext cx="12" cy="8"/>
            </a:xfrm>
            <a:custGeom>
              <a:avLst/>
              <a:gdLst>
                <a:gd name="T0" fmla="*/ 0 w 18"/>
                <a:gd name="T1" fmla="*/ 12 h 12"/>
                <a:gd name="T2" fmla="*/ 18 w 18"/>
                <a:gd name="T3" fmla="*/ 0 h 12"/>
                <a:gd name="T4" fmla="*/ 0 w 18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0" y="12"/>
                  </a:moveTo>
                  <a:cubicBezTo>
                    <a:pt x="4" y="7"/>
                    <a:pt x="13" y="5"/>
                    <a:pt x="18" y="0"/>
                  </a:cubicBezTo>
                  <a:cubicBezTo>
                    <a:pt x="13" y="5"/>
                    <a:pt x="4" y="7"/>
                    <a:pt x="0" y="1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2" name="Freeform 1317"/>
            <p:cNvSpPr>
              <a:spLocks/>
            </p:cNvSpPr>
            <p:nvPr/>
          </p:nvSpPr>
          <p:spPr bwMode="auto">
            <a:xfrm>
              <a:off x="3032" y="2726"/>
              <a:ext cx="2" cy="3"/>
            </a:xfrm>
            <a:custGeom>
              <a:avLst/>
              <a:gdLst>
                <a:gd name="T0" fmla="*/ 3 w 3"/>
                <a:gd name="T1" fmla="*/ 0 h 5"/>
                <a:gd name="T2" fmla="*/ 0 w 3"/>
                <a:gd name="T3" fmla="*/ 5 h 5"/>
                <a:gd name="T4" fmla="*/ 3 w 3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5">
                  <a:moveTo>
                    <a:pt x="3" y="0"/>
                  </a:moveTo>
                  <a:cubicBezTo>
                    <a:pt x="3" y="1"/>
                    <a:pt x="2" y="4"/>
                    <a:pt x="0" y="5"/>
                  </a:cubicBezTo>
                  <a:cubicBezTo>
                    <a:pt x="2" y="4"/>
                    <a:pt x="3" y="1"/>
                    <a:pt x="3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3" name="Freeform 1318"/>
            <p:cNvSpPr>
              <a:spLocks/>
            </p:cNvSpPr>
            <p:nvPr/>
          </p:nvSpPr>
          <p:spPr bwMode="auto">
            <a:xfrm>
              <a:off x="2864" y="2679"/>
              <a:ext cx="2" cy="3"/>
            </a:xfrm>
            <a:custGeom>
              <a:avLst/>
              <a:gdLst>
                <a:gd name="T0" fmla="*/ 3 w 3"/>
                <a:gd name="T1" fmla="*/ 0 h 6"/>
                <a:gd name="T2" fmla="*/ 0 w 3"/>
                <a:gd name="T3" fmla="*/ 6 h 6"/>
                <a:gd name="T4" fmla="*/ 3 w 3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6">
                  <a:moveTo>
                    <a:pt x="3" y="0"/>
                  </a:moveTo>
                  <a:cubicBezTo>
                    <a:pt x="1" y="4"/>
                    <a:pt x="0" y="5"/>
                    <a:pt x="0" y="6"/>
                  </a:cubicBezTo>
                  <a:cubicBezTo>
                    <a:pt x="0" y="5"/>
                    <a:pt x="1" y="4"/>
                    <a:pt x="3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4" name="Freeform 1319"/>
            <p:cNvSpPr>
              <a:spLocks/>
            </p:cNvSpPr>
            <p:nvPr/>
          </p:nvSpPr>
          <p:spPr bwMode="auto">
            <a:xfrm>
              <a:off x="2874" y="2667"/>
              <a:ext cx="3" cy="10"/>
            </a:xfrm>
            <a:custGeom>
              <a:avLst/>
              <a:gdLst>
                <a:gd name="T0" fmla="*/ 0 w 4"/>
                <a:gd name="T1" fmla="*/ 15 h 15"/>
                <a:gd name="T2" fmla="*/ 4 w 4"/>
                <a:gd name="T3" fmla="*/ 0 h 15"/>
                <a:gd name="T4" fmla="*/ 0 w 4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5">
                  <a:moveTo>
                    <a:pt x="0" y="15"/>
                  </a:moveTo>
                  <a:cubicBezTo>
                    <a:pt x="4" y="11"/>
                    <a:pt x="0" y="4"/>
                    <a:pt x="4" y="0"/>
                  </a:cubicBezTo>
                  <a:cubicBezTo>
                    <a:pt x="0" y="4"/>
                    <a:pt x="4" y="11"/>
                    <a:pt x="0" y="15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5" name="Freeform 1320"/>
            <p:cNvSpPr>
              <a:spLocks noEditPoints="1"/>
            </p:cNvSpPr>
            <p:nvPr/>
          </p:nvSpPr>
          <p:spPr bwMode="auto">
            <a:xfrm>
              <a:off x="2705" y="2650"/>
              <a:ext cx="395" cy="230"/>
            </a:xfrm>
            <a:custGeom>
              <a:avLst/>
              <a:gdLst>
                <a:gd name="T0" fmla="*/ 195 w 603"/>
                <a:gd name="T1" fmla="*/ 25 h 350"/>
                <a:gd name="T2" fmla="*/ 132 w 603"/>
                <a:gd name="T3" fmla="*/ 62 h 350"/>
                <a:gd name="T4" fmla="*/ 116 w 603"/>
                <a:gd name="T5" fmla="*/ 73 h 350"/>
                <a:gd name="T6" fmla="*/ 92 w 603"/>
                <a:gd name="T7" fmla="*/ 91 h 350"/>
                <a:gd name="T8" fmla="*/ 82 w 603"/>
                <a:gd name="T9" fmla="*/ 102 h 350"/>
                <a:gd name="T10" fmla="*/ 23 w 603"/>
                <a:gd name="T11" fmla="*/ 135 h 350"/>
                <a:gd name="T12" fmla="*/ 2 w 603"/>
                <a:gd name="T13" fmla="*/ 115 h 350"/>
                <a:gd name="T14" fmla="*/ 37 w 603"/>
                <a:gd name="T15" fmla="*/ 159 h 350"/>
                <a:gd name="T16" fmla="*/ 52 w 603"/>
                <a:gd name="T17" fmla="*/ 231 h 350"/>
                <a:gd name="T18" fmla="*/ 100 w 603"/>
                <a:gd name="T19" fmla="*/ 272 h 350"/>
                <a:gd name="T20" fmla="*/ 174 w 603"/>
                <a:gd name="T21" fmla="*/ 337 h 350"/>
                <a:gd name="T22" fmla="*/ 234 w 603"/>
                <a:gd name="T23" fmla="*/ 341 h 350"/>
                <a:gd name="T24" fmla="*/ 251 w 603"/>
                <a:gd name="T25" fmla="*/ 316 h 350"/>
                <a:gd name="T26" fmla="*/ 260 w 603"/>
                <a:gd name="T27" fmla="*/ 285 h 350"/>
                <a:gd name="T28" fmla="*/ 300 w 603"/>
                <a:gd name="T29" fmla="*/ 293 h 350"/>
                <a:gd name="T30" fmla="*/ 397 w 603"/>
                <a:gd name="T31" fmla="*/ 311 h 350"/>
                <a:gd name="T32" fmla="*/ 428 w 603"/>
                <a:gd name="T33" fmla="*/ 322 h 350"/>
                <a:gd name="T34" fmla="*/ 519 w 603"/>
                <a:gd name="T35" fmla="*/ 296 h 350"/>
                <a:gd name="T36" fmla="*/ 522 w 603"/>
                <a:gd name="T37" fmla="*/ 285 h 350"/>
                <a:gd name="T38" fmla="*/ 529 w 603"/>
                <a:gd name="T39" fmla="*/ 283 h 350"/>
                <a:gd name="T40" fmla="*/ 532 w 603"/>
                <a:gd name="T41" fmla="*/ 282 h 350"/>
                <a:gd name="T42" fmla="*/ 547 w 603"/>
                <a:gd name="T43" fmla="*/ 250 h 350"/>
                <a:gd name="T44" fmla="*/ 601 w 603"/>
                <a:gd name="T45" fmla="*/ 200 h 350"/>
                <a:gd name="T46" fmla="*/ 577 w 603"/>
                <a:gd name="T47" fmla="*/ 168 h 350"/>
                <a:gd name="T48" fmla="*/ 532 w 603"/>
                <a:gd name="T49" fmla="*/ 148 h 350"/>
                <a:gd name="T50" fmla="*/ 525 w 603"/>
                <a:gd name="T51" fmla="*/ 155 h 350"/>
                <a:gd name="T52" fmla="*/ 505 w 603"/>
                <a:gd name="T53" fmla="*/ 143 h 350"/>
                <a:gd name="T54" fmla="*/ 493 w 603"/>
                <a:gd name="T55" fmla="*/ 133 h 350"/>
                <a:gd name="T56" fmla="*/ 504 w 603"/>
                <a:gd name="T57" fmla="*/ 115 h 350"/>
                <a:gd name="T58" fmla="*/ 499 w 603"/>
                <a:gd name="T59" fmla="*/ 120 h 350"/>
                <a:gd name="T60" fmla="*/ 470 w 603"/>
                <a:gd name="T61" fmla="*/ 119 h 350"/>
                <a:gd name="T62" fmla="*/ 428 w 603"/>
                <a:gd name="T63" fmla="*/ 100 h 350"/>
                <a:gd name="T64" fmla="*/ 442 w 603"/>
                <a:gd name="T65" fmla="*/ 126 h 350"/>
                <a:gd name="T66" fmla="*/ 401 w 603"/>
                <a:gd name="T67" fmla="*/ 139 h 350"/>
                <a:gd name="T68" fmla="*/ 369 w 603"/>
                <a:gd name="T69" fmla="*/ 102 h 350"/>
                <a:gd name="T70" fmla="*/ 388 w 603"/>
                <a:gd name="T71" fmla="*/ 85 h 350"/>
                <a:gd name="T72" fmla="*/ 351 w 603"/>
                <a:gd name="T73" fmla="*/ 78 h 350"/>
                <a:gd name="T74" fmla="*/ 342 w 603"/>
                <a:gd name="T75" fmla="*/ 67 h 350"/>
                <a:gd name="T76" fmla="*/ 333 w 603"/>
                <a:gd name="T77" fmla="*/ 58 h 350"/>
                <a:gd name="T78" fmla="*/ 275 w 603"/>
                <a:gd name="T79" fmla="*/ 23 h 350"/>
                <a:gd name="T80" fmla="*/ 259 w 603"/>
                <a:gd name="T81" fmla="*/ 40 h 350"/>
                <a:gd name="T82" fmla="*/ 243 w 603"/>
                <a:gd name="T83" fmla="*/ 49 h 350"/>
                <a:gd name="T84" fmla="*/ 190 w 603"/>
                <a:gd name="T85" fmla="*/ 320 h 350"/>
                <a:gd name="T86" fmla="*/ 169 w 603"/>
                <a:gd name="T87" fmla="*/ 302 h 350"/>
                <a:gd name="T88" fmla="*/ 170 w 603"/>
                <a:gd name="T89" fmla="*/ 303 h 350"/>
                <a:gd name="T90" fmla="*/ 184 w 603"/>
                <a:gd name="T91" fmla="*/ 317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03" h="350">
                  <a:moveTo>
                    <a:pt x="242" y="49"/>
                  </a:moveTo>
                  <a:cubicBezTo>
                    <a:pt x="234" y="53"/>
                    <a:pt x="206" y="0"/>
                    <a:pt x="195" y="25"/>
                  </a:cubicBezTo>
                  <a:cubicBezTo>
                    <a:pt x="194" y="28"/>
                    <a:pt x="213" y="32"/>
                    <a:pt x="207" y="38"/>
                  </a:cubicBezTo>
                  <a:cubicBezTo>
                    <a:pt x="195" y="50"/>
                    <a:pt x="136" y="60"/>
                    <a:pt x="132" y="62"/>
                  </a:cubicBezTo>
                  <a:cubicBezTo>
                    <a:pt x="132" y="62"/>
                    <a:pt x="124" y="78"/>
                    <a:pt x="124" y="78"/>
                  </a:cubicBezTo>
                  <a:cubicBezTo>
                    <a:pt x="121" y="79"/>
                    <a:pt x="119" y="73"/>
                    <a:pt x="116" y="73"/>
                  </a:cubicBezTo>
                  <a:cubicBezTo>
                    <a:pt x="106" y="75"/>
                    <a:pt x="105" y="87"/>
                    <a:pt x="98" y="91"/>
                  </a:cubicBezTo>
                  <a:cubicBezTo>
                    <a:pt x="96" y="92"/>
                    <a:pt x="94" y="91"/>
                    <a:pt x="92" y="91"/>
                  </a:cubicBezTo>
                  <a:cubicBezTo>
                    <a:pt x="89" y="91"/>
                    <a:pt x="87" y="90"/>
                    <a:pt x="85" y="91"/>
                  </a:cubicBezTo>
                  <a:cubicBezTo>
                    <a:pt x="82" y="93"/>
                    <a:pt x="85" y="100"/>
                    <a:pt x="82" y="102"/>
                  </a:cubicBezTo>
                  <a:cubicBezTo>
                    <a:pt x="77" y="105"/>
                    <a:pt x="58" y="96"/>
                    <a:pt x="36" y="111"/>
                  </a:cubicBezTo>
                  <a:cubicBezTo>
                    <a:pt x="25" y="118"/>
                    <a:pt x="29" y="128"/>
                    <a:pt x="23" y="135"/>
                  </a:cubicBezTo>
                  <a:cubicBezTo>
                    <a:pt x="21" y="136"/>
                    <a:pt x="19" y="134"/>
                    <a:pt x="18" y="133"/>
                  </a:cubicBezTo>
                  <a:cubicBezTo>
                    <a:pt x="14" y="127"/>
                    <a:pt x="15" y="112"/>
                    <a:pt x="2" y="115"/>
                  </a:cubicBezTo>
                  <a:cubicBezTo>
                    <a:pt x="0" y="115"/>
                    <a:pt x="5" y="118"/>
                    <a:pt x="5" y="119"/>
                  </a:cubicBezTo>
                  <a:cubicBezTo>
                    <a:pt x="5" y="143"/>
                    <a:pt x="28" y="145"/>
                    <a:pt x="37" y="159"/>
                  </a:cubicBezTo>
                  <a:cubicBezTo>
                    <a:pt x="49" y="177"/>
                    <a:pt x="28" y="182"/>
                    <a:pt x="28" y="187"/>
                  </a:cubicBezTo>
                  <a:cubicBezTo>
                    <a:pt x="28" y="193"/>
                    <a:pt x="48" y="225"/>
                    <a:pt x="52" y="231"/>
                  </a:cubicBezTo>
                  <a:cubicBezTo>
                    <a:pt x="61" y="241"/>
                    <a:pt x="76" y="240"/>
                    <a:pt x="85" y="248"/>
                  </a:cubicBezTo>
                  <a:cubicBezTo>
                    <a:pt x="92" y="254"/>
                    <a:pt x="94" y="266"/>
                    <a:pt x="100" y="272"/>
                  </a:cubicBezTo>
                  <a:cubicBezTo>
                    <a:pt x="110" y="282"/>
                    <a:pt x="153" y="301"/>
                    <a:pt x="155" y="315"/>
                  </a:cubicBezTo>
                  <a:cubicBezTo>
                    <a:pt x="178" y="327"/>
                    <a:pt x="167" y="325"/>
                    <a:pt x="174" y="337"/>
                  </a:cubicBezTo>
                  <a:cubicBezTo>
                    <a:pt x="182" y="350"/>
                    <a:pt x="213" y="332"/>
                    <a:pt x="218" y="335"/>
                  </a:cubicBezTo>
                  <a:cubicBezTo>
                    <a:pt x="220" y="335"/>
                    <a:pt x="232" y="342"/>
                    <a:pt x="234" y="341"/>
                  </a:cubicBezTo>
                  <a:cubicBezTo>
                    <a:pt x="240" y="338"/>
                    <a:pt x="238" y="319"/>
                    <a:pt x="244" y="315"/>
                  </a:cubicBezTo>
                  <a:cubicBezTo>
                    <a:pt x="246" y="314"/>
                    <a:pt x="248" y="316"/>
                    <a:pt x="251" y="316"/>
                  </a:cubicBezTo>
                  <a:cubicBezTo>
                    <a:pt x="253" y="317"/>
                    <a:pt x="256" y="319"/>
                    <a:pt x="257" y="317"/>
                  </a:cubicBezTo>
                  <a:cubicBezTo>
                    <a:pt x="263" y="312"/>
                    <a:pt x="254" y="291"/>
                    <a:pt x="260" y="285"/>
                  </a:cubicBezTo>
                  <a:cubicBezTo>
                    <a:pt x="267" y="278"/>
                    <a:pt x="275" y="293"/>
                    <a:pt x="275" y="294"/>
                  </a:cubicBezTo>
                  <a:cubicBezTo>
                    <a:pt x="279" y="295"/>
                    <a:pt x="294" y="290"/>
                    <a:pt x="300" y="293"/>
                  </a:cubicBezTo>
                  <a:cubicBezTo>
                    <a:pt x="321" y="299"/>
                    <a:pt x="337" y="309"/>
                    <a:pt x="355" y="317"/>
                  </a:cubicBezTo>
                  <a:cubicBezTo>
                    <a:pt x="375" y="326"/>
                    <a:pt x="381" y="315"/>
                    <a:pt x="397" y="311"/>
                  </a:cubicBezTo>
                  <a:cubicBezTo>
                    <a:pt x="405" y="309"/>
                    <a:pt x="412" y="323"/>
                    <a:pt x="418" y="324"/>
                  </a:cubicBezTo>
                  <a:cubicBezTo>
                    <a:pt x="421" y="324"/>
                    <a:pt x="425" y="320"/>
                    <a:pt x="428" y="322"/>
                  </a:cubicBezTo>
                  <a:cubicBezTo>
                    <a:pt x="435" y="324"/>
                    <a:pt x="436" y="330"/>
                    <a:pt x="434" y="337"/>
                  </a:cubicBezTo>
                  <a:cubicBezTo>
                    <a:pt x="454" y="279"/>
                    <a:pt x="486" y="328"/>
                    <a:pt x="519" y="296"/>
                  </a:cubicBezTo>
                  <a:cubicBezTo>
                    <a:pt x="519" y="296"/>
                    <a:pt x="519" y="296"/>
                    <a:pt x="519" y="296"/>
                  </a:cubicBezTo>
                  <a:cubicBezTo>
                    <a:pt x="519" y="294"/>
                    <a:pt x="522" y="285"/>
                    <a:pt x="522" y="285"/>
                  </a:cubicBezTo>
                  <a:cubicBezTo>
                    <a:pt x="522" y="285"/>
                    <a:pt x="525" y="284"/>
                    <a:pt x="528" y="283"/>
                  </a:cubicBezTo>
                  <a:cubicBezTo>
                    <a:pt x="528" y="283"/>
                    <a:pt x="529" y="283"/>
                    <a:pt x="529" y="283"/>
                  </a:cubicBezTo>
                  <a:cubicBezTo>
                    <a:pt x="529" y="282"/>
                    <a:pt x="530" y="282"/>
                    <a:pt x="530" y="282"/>
                  </a:cubicBezTo>
                  <a:cubicBezTo>
                    <a:pt x="531" y="282"/>
                    <a:pt x="532" y="282"/>
                    <a:pt x="532" y="282"/>
                  </a:cubicBezTo>
                  <a:cubicBezTo>
                    <a:pt x="534" y="281"/>
                    <a:pt x="535" y="281"/>
                    <a:pt x="535" y="281"/>
                  </a:cubicBezTo>
                  <a:cubicBezTo>
                    <a:pt x="542" y="274"/>
                    <a:pt x="540" y="257"/>
                    <a:pt x="547" y="250"/>
                  </a:cubicBezTo>
                  <a:cubicBezTo>
                    <a:pt x="563" y="236"/>
                    <a:pt x="583" y="226"/>
                    <a:pt x="603" y="220"/>
                  </a:cubicBezTo>
                  <a:cubicBezTo>
                    <a:pt x="603" y="220"/>
                    <a:pt x="601" y="200"/>
                    <a:pt x="601" y="200"/>
                  </a:cubicBezTo>
                  <a:cubicBezTo>
                    <a:pt x="597" y="195"/>
                    <a:pt x="588" y="198"/>
                    <a:pt x="584" y="194"/>
                  </a:cubicBezTo>
                  <a:cubicBezTo>
                    <a:pt x="579" y="189"/>
                    <a:pt x="582" y="171"/>
                    <a:pt x="577" y="168"/>
                  </a:cubicBezTo>
                  <a:cubicBezTo>
                    <a:pt x="569" y="163"/>
                    <a:pt x="552" y="162"/>
                    <a:pt x="543" y="157"/>
                  </a:cubicBezTo>
                  <a:cubicBezTo>
                    <a:pt x="539" y="155"/>
                    <a:pt x="537" y="147"/>
                    <a:pt x="532" y="148"/>
                  </a:cubicBezTo>
                  <a:cubicBezTo>
                    <a:pt x="531" y="148"/>
                    <a:pt x="531" y="149"/>
                    <a:pt x="530" y="149"/>
                  </a:cubicBezTo>
                  <a:cubicBezTo>
                    <a:pt x="528" y="151"/>
                    <a:pt x="527" y="153"/>
                    <a:pt x="525" y="155"/>
                  </a:cubicBezTo>
                  <a:cubicBezTo>
                    <a:pt x="523" y="158"/>
                    <a:pt x="521" y="159"/>
                    <a:pt x="517" y="159"/>
                  </a:cubicBezTo>
                  <a:cubicBezTo>
                    <a:pt x="506" y="157"/>
                    <a:pt x="511" y="149"/>
                    <a:pt x="505" y="143"/>
                  </a:cubicBezTo>
                  <a:cubicBezTo>
                    <a:pt x="504" y="143"/>
                    <a:pt x="489" y="139"/>
                    <a:pt x="492" y="135"/>
                  </a:cubicBezTo>
                  <a:cubicBezTo>
                    <a:pt x="492" y="134"/>
                    <a:pt x="493" y="134"/>
                    <a:pt x="493" y="133"/>
                  </a:cubicBezTo>
                  <a:cubicBezTo>
                    <a:pt x="497" y="130"/>
                    <a:pt x="504" y="130"/>
                    <a:pt x="507" y="127"/>
                  </a:cubicBezTo>
                  <a:cubicBezTo>
                    <a:pt x="508" y="126"/>
                    <a:pt x="508" y="122"/>
                    <a:pt x="504" y="115"/>
                  </a:cubicBezTo>
                  <a:cubicBezTo>
                    <a:pt x="503" y="114"/>
                    <a:pt x="503" y="114"/>
                    <a:pt x="502" y="115"/>
                  </a:cubicBezTo>
                  <a:cubicBezTo>
                    <a:pt x="502" y="116"/>
                    <a:pt x="501" y="119"/>
                    <a:pt x="499" y="120"/>
                  </a:cubicBezTo>
                  <a:cubicBezTo>
                    <a:pt x="499" y="121"/>
                    <a:pt x="498" y="121"/>
                    <a:pt x="498" y="122"/>
                  </a:cubicBezTo>
                  <a:cubicBezTo>
                    <a:pt x="496" y="123"/>
                    <a:pt x="472" y="121"/>
                    <a:pt x="470" y="119"/>
                  </a:cubicBezTo>
                  <a:cubicBezTo>
                    <a:pt x="462" y="114"/>
                    <a:pt x="443" y="100"/>
                    <a:pt x="428" y="100"/>
                  </a:cubicBezTo>
                  <a:cubicBezTo>
                    <a:pt x="428" y="100"/>
                    <a:pt x="428" y="100"/>
                    <a:pt x="428" y="100"/>
                  </a:cubicBezTo>
                  <a:cubicBezTo>
                    <a:pt x="426" y="103"/>
                    <a:pt x="442" y="125"/>
                    <a:pt x="442" y="126"/>
                  </a:cubicBezTo>
                  <a:cubicBezTo>
                    <a:pt x="442" y="126"/>
                    <a:pt x="442" y="126"/>
                    <a:pt x="442" y="126"/>
                  </a:cubicBezTo>
                  <a:cubicBezTo>
                    <a:pt x="442" y="126"/>
                    <a:pt x="442" y="126"/>
                    <a:pt x="442" y="126"/>
                  </a:cubicBezTo>
                  <a:cubicBezTo>
                    <a:pt x="438" y="131"/>
                    <a:pt x="408" y="144"/>
                    <a:pt x="401" y="139"/>
                  </a:cubicBezTo>
                  <a:cubicBezTo>
                    <a:pt x="396" y="135"/>
                    <a:pt x="396" y="123"/>
                    <a:pt x="391" y="117"/>
                  </a:cubicBezTo>
                  <a:cubicBezTo>
                    <a:pt x="388" y="114"/>
                    <a:pt x="369" y="106"/>
                    <a:pt x="369" y="102"/>
                  </a:cubicBezTo>
                  <a:cubicBezTo>
                    <a:pt x="368" y="100"/>
                    <a:pt x="369" y="98"/>
                    <a:pt x="370" y="97"/>
                  </a:cubicBezTo>
                  <a:cubicBezTo>
                    <a:pt x="374" y="92"/>
                    <a:pt x="383" y="90"/>
                    <a:pt x="388" y="85"/>
                  </a:cubicBezTo>
                  <a:cubicBezTo>
                    <a:pt x="389" y="84"/>
                    <a:pt x="390" y="82"/>
                    <a:pt x="390" y="80"/>
                  </a:cubicBezTo>
                  <a:cubicBezTo>
                    <a:pt x="390" y="57"/>
                    <a:pt x="356" y="81"/>
                    <a:pt x="351" y="78"/>
                  </a:cubicBezTo>
                  <a:cubicBezTo>
                    <a:pt x="348" y="76"/>
                    <a:pt x="352" y="69"/>
                    <a:pt x="349" y="67"/>
                  </a:cubicBezTo>
                  <a:cubicBezTo>
                    <a:pt x="347" y="65"/>
                    <a:pt x="344" y="66"/>
                    <a:pt x="342" y="67"/>
                  </a:cubicBezTo>
                  <a:cubicBezTo>
                    <a:pt x="340" y="67"/>
                    <a:pt x="339" y="70"/>
                    <a:pt x="338" y="69"/>
                  </a:cubicBezTo>
                  <a:cubicBezTo>
                    <a:pt x="334" y="67"/>
                    <a:pt x="336" y="60"/>
                    <a:pt x="333" y="58"/>
                  </a:cubicBezTo>
                  <a:cubicBezTo>
                    <a:pt x="320" y="49"/>
                    <a:pt x="303" y="56"/>
                    <a:pt x="288" y="43"/>
                  </a:cubicBezTo>
                  <a:cubicBezTo>
                    <a:pt x="282" y="36"/>
                    <a:pt x="288" y="24"/>
                    <a:pt x="275" y="23"/>
                  </a:cubicBezTo>
                  <a:cubicBezTo>
                    <a:pt x="268" y="22"/>
                    <a:pt x="265" y="23"/>
                    <a:pt x="263" y="25"/>
                  </a:cubicBezTo>
                  <a:cubicBezTo>
                    <a:pt x="259" y="29"/>
                    <a:pt x="263" y="36"/>
                    <a:pt x="259" y="40"/>
                  </a:cubicBezTo>
                  <a:cubicBezTo>
                    <a:pt x="257" y="42"/>
                    <a:pt x="253" y="43"/>
                    <a:pt x="246" y="43"/>
                  </a:cubicBezTo>
                  <a:cubicBezTo>
                    <a:pt x="244" y="47"/>
                    <a:pt x="243" y="48"/>
                    <a:pt x="243" y="49"/>
                  </a:cubicBezTo>
                  <a:cubicBezTo>
                    <a:pt x="243" y="49"/>
                    <a:pt x="243" y="49"/>
                    <a:pt x="242" y="49"/>
                  </a:cubicBezTo>
                  <a:close/>
                  <a:moveTo>
                    <a:pt x="190" y="320"/>
                  </a:moveTo>
                  <a:cubicBezTo>
                    <a:pt x="183" y="328"/>
                    <a:pt x="172" y="308"/>
                    <a:pt x="170" y="303"/>
                  </a:cubicBezTo>
                  <a:cubicBezTo>
                    <a:pt x="168" y="303"/>
                    <a:pt x="167" y="302"/>
                    <a:pt x="169" y="302"/>
                  </a:cubicBezTo>
                  <a:cubicBezTo>
                    <a:pt x="170" y="303"/>
                    <a:pt x="170" y="303"/>
                    <a:pt x="170" y="303"/>
                  </a:cubicBezTo>
                  <a:cubicBezTo>
                    <a:pt x="170" y="303"/>
                    <a:pt x="170" y="303"/>
                    <a:pt x="170" y="303"/>
                  </a:cubicBezTo>
                  <a:cubicBezTo>
                    <a:pt x="172" y="304"/>
                    <a:pt x="174" y="305"/>
                    <a:pt x="175" y="305"/>
                  </a:cubicBezTo>
                  <a:cubicBezTo>
                    <a:pt x="177" y="306"/>
                    <a:pt x="184" y="315"/>
                    <a:pt x="184" y="317"/>
                  </a:cubicBezTo>
                  <a:cubicBezTo>
                    <a:pt x="185" y="319"/>
                    <a:pt x="191" y="318"/>
                    <a:pt x="190" y="32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6" name="Freeform 1321"/>
            <p:cNvSpPr>
              <a:spLocks/>
            </p:cNvSpPr>
            <p:nvPr/>
          </p:nvSpPr>
          <p:spPr bwMode="auto">
            <a:xfrm>
              <a:off x="3028" y="2734"/>
              <a:ext cx="9" cy="4"/>
            </a:xfrm>
            <a:custGeom>
              <a:avLst/>
              <a:gdLst>
                <a:gd name="T0" fmla="*/ 0 w 14"/>
                <a:gd name="T1" fmla="*/ 6 h 6"/>
                <a:gd name="T2" fmla="*/ 14 w 14"/>
                <a:gd name="T3" fmla="*/ 0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0" y="6"/>
                  </a:moveTo>
                  <a:cubicBezTo>
                    <a:pt x="4" y="3"/>
                    <a:pt x="11" y="3"/>
                    <a:pt x="14" y="0"/>
                  </a:cubicBezTo>
                  <a:cubicBezTo>
                    <a:pt x="11" y="3"/>
                    <a:pt x="4" y="3"/>
                    <a:pt x="0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7" name="Freeform 1322"/>
            <p:cNvSpPr>
              <a:spLocks/>
            </p:cNvSpPr>
            <p:nvPr/>
          </p:nvSpPr>
          <p:spPr bwMode="auto">
            <a:xfrm>
              <a:off x="3049" y="2748"/>
              <a:ext cx="3" cy="4"/>
            </a:xfrm>
            <a:custGeom>
              <a:avLst/>
              <a:gdLst>
                <a:gd name="T0" fmla="*/ 5 w 5"/>
                <a:gd name="T1" fmla="*/ 0 h 6"/>
                <a:gd name="T2" fmla="*/ 0 w 5"/>
                <a:gd name="T3" fmla="*/ 6 h 6"/>
                <a:gd name="T4" fmla="*/ 5 w 5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cubicBezTo>
                    <a:pt x="3" y="2"/>
                    <a:pt x="2" y="4"/>
                    <a:pt x="0" y="6"/>
                  </a:cubicBezTo>
                  <a:cubicBezTo>
                    <a:pt x="2" y="4"/>
                    <a:pt x="3" y="2"/>
                    <a:pt x="5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8" name="Freeform 1323"/>
            <p:cNvSpPr>
              <a:spLocks/>
            </p:cNvSpPr>
            <p:nvPr/>
          </p:nvSpPr>
          <p:spPr bwMode="auto">
            <a:xfrm>
              <a:off x="3884" y="3921"/>
              <a:ext cx="135" cy="86"/>
            </a:xfrm>
            <a:custGeom>
              <a:avLst/>
              <a:gdLst>
                <a:gd name="T0" fmla="*/ 197 w 207"/>
                <a:gd name="T1" fmla="*/ 7 h 132"/>
                <a:gd name="T2" fmla="*/ 184 w 207"/>
                <a:gd name="T3" fmla="*/ 13 h 132"/>
                <a:gd name="T4" fmla="*/ 173 w 207"/>
                <a:gd name="T5" fmla="*/ 20 h 132"/>
                <a:gd name="T6" fmla="*/ 170 w 207"/>
                <a:gd name="T7" fmla="*/ 19 h 132"/>
                <a:gd name="T8" fmla="*/ 165 w 207"/>
                <a:gd name="T9" fmla="*/ 25 h 132"/>
                <a:gd name="T10" fmla="*/ 143 w 207"/>
                <a:gd name="T11" fmla="*/ 36 h 132"/>
                <a:gd name="T12" fmla="*/ 133 w 207"/>
                <a:gd name="T13" fmla="*/ 37 h 132"/>
                <a:gd name="T14" fmla="*/ 124 w 207"/>
                <a:gd name="T15" fmla="*/ 42 h 132"/>
                <a:gd name="T16" fmla="*/ 88 w 207"/>
                <a:gd name="T17" fmla="*/ 41 h 132"/>
                <a:gd name="T18" fmla="*/ 76 w 207"/>
                <a:gd name="T19" fmla="*/ 39 h 132"/>
                <a:gd name="T20" fmla="*/ 73 w 207"/>
                <a:gd name="T21" fmla="*/ 40 h 132"/>
                <a:gd name="T22" fmla="*/ 59 w 207"/>
                <a:gd name="T23" fmla="*/ 36 h 132"/>
                <a:gd name="T24" fmla="*/ 61 w 207"/>
                <a:gd name="T25" fmla="*/ 44 h 132"/>
                <a:gd name="T26" fmla="*/ 56 w 207"/>
                <a:gd name="T27" fmla="*/ 63 h 132"/>
                <a:gd name="T28" fmla="*/ 26 w 207"/>
                <a:gd name="T29" fmla="*/ 63 h 132"/>
                <a:gd name="T30" fmla="*/ 14 w 207"/>
                <a:gd name="T31" fmla="*/ 77 h 132"/>
                <a:gd name="T32" fmla="*/ 3 w 207"/>
                <a:gd name="T33" fmla="*/ 72 h 132"/>
                <a:gd name="T34" fmla="*/ 2 w 207"/>
                <a:gd name="T35" fmla="*/ 72 h 132"/>
                <a:gd name="T36" fmla="*/ 7 w 207"/>
                <a:gd name="T37" fmla="*/ 94 h 132"/>
                <a:gd name="T38" fmla="*/ 6 w 207"/>
                <a:gd name="T39" fmla="*/ 97 h 132"/>
                <a:gd name="T40" fmla="*/ 13 w 207"/>
                <a:gd name="T41" fmla="*/ 104 h 132"/>
                <a:gd name="T42" fmla="*/ 14 w 207"/>
                <a:gd name="T43" fmla="*/ 113 h 132"/>
                <a:gd name="T44" fmla="*/ 41 w 207"/>
                <a:gd name="T45" fmla="*/ 124 h 132"/>
                <a:gd name="T46" fmla="*/ 57 w 207"/>
                <a:gd name="T47" fmla="*/ 121 h 132"/>
                <a:gd name="T48" fmla="*/ 62 w 207"/>
                <a:gd name="T49" fmla="*/ 130 h 132"/>
                <a:gd name="T50" fmla="*/ 62 w 207"/>
                <a:gd name="T51" fmla="*/ 132 h 132"/>
                <a:gd name="T52" fmla="*/ 67 w 207"/>
                <a:gd name="T53" fmla="*/ 131 h 132"/>
                <a:gd name="T54" fmla="*/ 68 w 207"/>
                <a:gd name="T55" fmla="*/ 131 h 132"/>
                <a:gd name="T56" fmla="*/ 73 w 207"/>
                <a:gd name="T57" fmla="*/ 118 h 132"/>
                <a:gd name="T58" fmla="*/ 96 w 207"/>
                <a:gd name="T59" fmla="*/ 114 h 132"/>
                <a:gd name="T60" fmla="*/ 103 w 207"/>
                <a:gd name="T61" fmla="*/ 109 h 132"/>
                <a:gd name="T62" fmla="*/ 103 w 207"/>
                <a:gd name="T63" fmla="*/ 107 h 132"/>
                <a:gd name="T64" fmla="*/ 106 w 207"/>
                <a:gd name="T65" fmla="*/ 109 h 132"/>
                <a:gd name="T66" fmla="*/ 116 w 207"/>
                <a:gd name="T67" fmla="*/ 102 h 132"/>
                <a:gd name="T68" fmla="*/ 121 w 207"/>
                <a:gd name="T69" fmla="*/ 101 h 132"/>
                <a:gd name="T70" fmla="*/ 126 w 207"/>
                <a:gd name="T71" fmla="*/ 86 h 132"/>
                <a:gd name="T72" fmla="*/ 144 w 207"/>
                <a:gd name="T73" fmla="*/ 87 h 132"/>
                <a:gd name="T74" fmla="*/ 153 w 207"/>
                <a:gd name="T75" fmla="*/ 82 h 132"/>
                <a:gd name="T76" fmla="*/ 164 w 207"/>
                <a:gd name="T77" fmla="*/ 84 h 132"/>
                <a:gd name="T78" fmla="*/ 155 w 207"/>
                <a:gd name="T79" fmla="*/ 72 h 132"/>
                <a:gd name="T80" fmla="*/ 148 w 207"/>
                <a:gd name="T81" fmla="*/ 50 h 132"/>
                <a:gd name="T82" fmla="*/ 160 w 207"/>
                <a:gd name="T83" fmla="*/ 45 h 132"/>
                <a:gd name="T84" fmla="*/ 164 w 207"/>
                <a:gd name="T85" fmla="*/ 36 h 132"/>
                <a:gd name="T86" fmla="*/ 180 w 207"/>
                <a:gd name="T87" fmla="*/ 26 h 132"/>
                <a:gd name="T88" fmla="*/ 192 w 207"/>
                <a:gd name="T89" fmla="*/ 14 h 132"/>
                <a:gd name="T90" fmla="*/ 205 w 207"/>
                <a:gd name="T91" fmla="*/ 4 h 132"/>
                <a:gd name="T92" fmla="*/ 206 w 207"/>
                <a:gd name="T93" fmla="*/ 2 h 132"/>
                <a:gd name="T94" fmla="*/ 197 w 207"/>
                <a:gd name="T95" fmla="*/ 7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7" h="132">
                  <a:moveTo>
                    <a:pt x="197" y="7"/>
                  </a:moveTo>
                  <a:cubicBezTo>
                    <a:pt x="194" y="9"/>
                    <a:pt x="187" y="9"/>
                    <a:pt x="184" y="13"/>
                  </a:cubicBezTo>
                  <a:cubicBezTo>
                    <a:pt x="183" y="15"/>
                    <a:pt x="176" y="19"/>
                    <a:pt x="173" y="20"/>
                  </a:cubicBezTo>
                  <a:cubicBezTo>
                    <a:pt x="173" y="20"/>
                    <a:pt x="171" y="19"/>
                    <a:pt x="170" y="19"/>
                  </a:cubicBezTo>
                  <a:cubicBezTo>
                    <a:pt x="168" y="20"/>
                    <a:pt x="167" y="24"/>
                    <a:pt x="165" y="25"/>
                  </a:cubicBezTo>
                  <a:cubicBezTo>
                    <a:pt x="158" y="28"/>
                    <a:pt x="150" y="33"/>
                    <a:pt x="143" y="36"/>
                  </a:cubicBezTo>
                  <a:cubicBezTo>
                    <a:pt x="140" y="37"/>
                    <a:pt x="136" y="36"/>
                    <a:pt x="133" y="37"/>
                  </a:cubicBezTo>
                  <a:cubicBezTo>
                    <a:pt x="130" y="38"/>
                    <a:pt x="127" y="41"/>
                    <a:pt x="124" y="42"/>
                  </a:cubicBezTo>
                  <a:cubicBezTo>
                    <a:pt x="112" y="45"/>
                    <a:pt x="100" y="42"/>
                    <a:pt x="88" y="41"/>
                  </a:cubicBezTo>
                  <a:cubicBezTo>
                    <a:pt x="85" y="40"/>
                    <a:pt x="80" y="39"/>
                    <a:pt x="76" y="39"/>
                  </a:cubicBezTo>
                  <a:cubicBezTo>
                    <a:pt x="75" y="39"/>
                    <a:pt x="74" y="40"/>
                    <a:pt x="73" y="40"/>
                  </a:cubicBezTo>
                  <a:cubicBezTo>
                    <a:pt x="69" y="41"/>
                    <a:pt x="62" y="35"/>
                    <a:pt x="59" y="36"/>
                  </a:cubicBezTo>
                  <a:cubicBezTo>
                    <a:pt x="58" y="36"/>
                    <a:pt x="61" y="43"/>
                    <a:pt x="61" y="44"/>
                  </a:cubicBezTo>
                  <a:cubicBezTo>
                    <a:pt x="61" y="49"/>
                    <a:pt x="60" y="60"/>
                    <a:pt x="56" y="63"/>
                  </a:cubicBezTo>
                  <a:cubicBezTo>
                    <a:pt x="50" y="67"/>
                    <a:pt x="36" y="59"/>
                    <a:pt x="26" y="63"/>
                  </a:cubicBezTo>
                  <a:cubicBezTo>
                    <a:pt x="21" y="65"/>
                    <a:pt x="22" y="75"/>
                    <a:pt x="14" y="77"/>
                  </a:cubicBezTo>
                  <a:cubicBezTo>
                    <a:pt x="8" y="79"/>
                    <a:pt x="7" y="72"/>
                    <a:pt x="3" y="72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0" y="75"/>
                    <a:pt x="6" y="92"/>
                    <a:pt x="7" y="94"/>
                  </a:cubicBezTo>
                  <a:cubicBezTo>
                    <a:pt x="7" y="96"/>
                    <a:pt x="6" y="96"/>
                    <a:pt x="6" y="97"/>
                  </a:cubicBezTo>
                  <a:cubicBezTo>
                    <a:pt x="7" y="101"/>
                    <a:pt x="11" y="101"/>
                    <a:pt x="13" y="104"/>
                  </a:cubicBezTo>
                  <a:cubicBezTo>
                    <a:pt x="14" y="106"/>
                    <a:pt x="13" y="112"/>
                    <a:pt x="14" y="113"/>
                  </a:cubicBezTo>
                  <a:cubicBezTo>
                    <a:pt x="16" y="115"/>
                    <a:pt x="37" y="124"/>
                    <a:pt x="41" y="124"/>
                  </a:cubicBezTo>
                  <a:cubicBezTo>
                    <a:pt x="46" y="125"/>
                    <a:pt x="52" y="118"/>
                    <a:pt x="57" y="121"/>
                  </a:cubicBezTo>
                  <a:cubicBezTo>
                    <a:pt x="59" y="122"/>
                    <a:pt x="62" y="126"/>
                    <a:pt x="62" y="130"/>
                  </a:cubicBezTo>
                  <a:cubicBezTo>
                    <a:pt x="62" y="130"/>
                    <a:pt x="62" y="132"/>
                    <a:pt x="62" y="132"/>
                  </a:cubicBezTo>
                  <a:cubicBezTo>
                    <a:pt x="63" y="132"/>
                    <a:pt x="66" y="131"/>
                    <a:pt x="67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72" y="132"/>
                    <a:pt x="63" y="123"/>
                    <a:pt x="73" y="118"/>
                  </a:cubicBezTo>
                  <a:cubicBezTo>
                    <a:pt x="81" y="115"/>
                    <a:pt x="89" y="116"/>
                    <a:pt x="96" y="114"/>
                  </a:cubicBezTo>
                  <a:cubicBezTo>
                    <a:pt x="98" y="113"/>
                    <a:pt x="104" y="111"/>
                    <a:pt x="103" y="109"/>
                  </a:cubicBezTo>
                  <a:cubicBezTo>
                    <a:pt x="103" y="109"/>
                    <a:pt x="102" y="107"/>
                    <a:pt x="103" y="107"/>
                  </a:cubicBezTo>
                  <a:cubicBezTo>
                    <a:pt x="103" y="107"/>
                    <a:pt x="105" y="109"/>
                    <a:pt x="106" y="109"/>
                  </a:cubicBezTo>
                  <a:cubicBezTo>
                    <a:pt x="108" y="110"/>
                    <a:pt x="114" y="104"/>
                    <a:pt x="116" y="102"/>
                  </a:cubicBezTo>
                  <a:cubicBezTo>
                    <a:pt x="117" y="101"/>
                    <a:pt x="120" y="103"/>
                    <a:pt x="121" y="101"/>
                  </a:cubicBezTo>
                  <a:cubicBezTo>
                    <a:pt x="124" y="97"/>
                    <a:pt x="122" y="89"/>
                    <a:pt x="126" y="86"/>
                  </a:cubicBezTo>
                  <a:cubicBezTo>
                    <a:pt x="133" y="80"/>
                    <a:pt x="142" y="88"/>
                    <a:pt x="144" y="87"/>
                  </a:cubicBezTo>
                  <a:cubicBezTo>
                    <a:pt x="147" y="87"/>
                    <a:pt x="149" y="81"/>
                    <a:pt x="153" y="82"/>
                  </a:cubicBezTo>
                  <a:cubicBezTo>
                    <a:pt x="154" y="82"/>
                    <a:pt x="164" y="84"/>
                    <a:pt x="164" y="84"/>
                  </a:cubicBezTo>
                  <a:cubicBezTo>
                    <a:pt x="165" y="82"/>
                    <a:pt x="157" y="74"/>
                    <a:pt x="155" y="72"/>
                  </a:cubicBezTo>
                  <a:cubicBezTo>
                    <a:pt x="149" y="66"/>
                    <a:pt x="143" y="60"/>
                    <a:pt x="148" y="50"/>
                  </a:cubicBezTo>
                  <a:cubicBezTo>
                    <a:pt x="152" y="42"/>
                    <a:pt x="156" y="49"/>
                    <a:pt x="160" y="45"/>
                  </a:cubicBezTo>
                  <a:cubicBezTo>
                    <a:pt x="162" y="43"/>
                    <a:pt x="162" y="39"/>
                    <a:pt x="164" y="36"/>
                  </a:cubicBezTo>
                  <a:cubicBezTo>
                    <a:pt x="169" y="31"/>
                    <a:pt x="175" y="30"/>
                    <a:pt x="180" y="26"/>
                  </a:cubicBezTo>
                  <a:cubicBezTo>
                    <a:pt x="185" y="22"/>
                    <a:pt x="188" y="18"/>
                    <a:pt x="192" y="14"/>
                  </a:cubicBezTo>
                  <a:cubicBezTo>
                    <a:pt x="197" y="10"/>
                    <a:pt x="203" y="10"/>
                    <a:pt x="205" y="4"/>
                  </a:cubicBezTo>
                  <a:cubicBezTo>
                    <a:pt x="205" y="3"/>
                    <a:pt x="207" y="2"/>
                    <a:pt x="206" y="2"/>
                  </a:cubicBezTo>
                  <a:cubicBezTo>
                    <a:pt x="204" y="0"/>
                    <a:pt x="198" y="6"/>
                    <a:pt x="197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49" name="Freeform 1324"/>
            <p:cNvSpPr>
              <a:spLocks/>
            </p:cNvSpPr>
            <p:nvPr/>
          </p:nvSpPr>
          <p:spPr bwMode="auto">
            <a:xfrm>
              <a:off x="2863" y="3235"/>
              <a:ext cx="8" cy="6"/>
            </a:xfrm>
            <a:custGeom>
              <a:avLst/>
              <a:gdLst>
                <a:gd name="T0" fmla="*/ 4 w 12"/>
                <a:gd name="T1" fmla="*/ 7 h 9"/>
                <a:gd name="T2" fmla="*/ 5 w 12"/>
                <a:gd name="T3" fmla="*/ 6 h 9"/>
                <a:gd name="T4" fmla="*/ 7 w 12"/>
                <a:gd name="T5" fmla="*/ 7 h 9"/>
                <a:gd name="T6" fmla="*/ 10 w 12"/>
                <a:gd name="T7" fmla="*/ 7 h 9"/>
                <a:gd name="T8" fmla="*/ 9 w 12"/>
                <a:gd name="T9" fmla="*/ 5 h 9"/>
                <a:gd name="T10" fmla="*/ 6 w 12"/>
                <a:gd name="T11" fmla="*/ 3 h 9"/>
                <a:gd name="T12" fmla="*/ 1 w 12"/>
                <a:gd name="T13" fmla="*/ 1 h 9"/>
                <a:gd name="T14" fmla="*/ 3 w 12"/>
                <a:gd name="T15" fmla="*/ 6 h 9"/>
                <a:gd name="T16" fmla="*/ 4 w 12"/>
                <a:gd name="T17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9">
                  <a:moveTo>
                    <a:pt x="4" y="7"/>
                  </a:moveTo>
                  <a:cubicBezTo>
                    <a:pt x="3" y="6"/>
                    <a:pt x="4" y="3"/>
                    <a:pt x="5" y="6"/>
                  </a:cubicBezTo>
                  <a:cubicBezTo>
                    <a:pt x="6" y="7"/>
                    <a:pt x="7" y="5"/>
                    <a:pt x="7" y="7"/>
                  </a:cubicBezTo>
                  <a:cubicBezTo>
                    <a:pt x="8" y="8"/>
                    <a:pt x="9" y="8"/>
                    <a:pt x="10" y="7"/>
                  </a:cubicBezTo>
                  <a:cubicBezTo>
                    <a:pt x="12" y="6"/>
                    <a:pt x="10" y="4"/>
                    <a:pt x="9" y="5"/>
                  </a:cubicBezTo>
                  <a:cubicBezTo>
                    <a:pt x="8" y="6"/>
                    <a:pt x="8" y="4"/>
                    <a:pt x="6" y="3"/>
                  </a:cubicBezTo>
                  <a:cubicBezTo>
                    <a:pt x="3" y="3"/>
                    <a:pt x="3" y="0"/>
                    <a:pt x="1" y="1"/>
                  </a:cubicBezTo>
                  <a:cubicBezTo>
                    <a:pt x="0" y="1"/>
                    <a:pt x="2" y="4"/>
                    <a:pt x="3" y="6"/>
                  </a:cubicBezTo>
                  <a:cubicBezTo>
                    <a:pt x="3" y="9"/>
                    <a:pt x="6" y="8"/>
                    <a:pt x="4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0" name="Freeform 1325"/>
            <p:cNvSpPr>
              <a:spLocks/>
            </p:cNvSpPr>
            <p:nvPr/>
          </p:nvSpPr>
          <p:spPr bwMode="auto">
            <a:xfrm>
              <a:off x="2908" y="3269"/>
              <a:ext cx="7" cy="7"/>
            </a:xfrm>
            <a:custGeom>
              <a:avLst/>
              <a:gdLst>
                <a:gd name="T0" fmla="*/ 7 w 11"/>
                <a:gd name="T1" fmla="*/ 6 h 10"/>
                <a:gd name="T2" fmla="*/ 4 w 11"/>
                <a:gd name="T3" fmla="*/ 4 h 10"/>
                <a:gd name="T4" fmla="*/ 3 w 11"/>
                <a:gd name="T5" fmla="*/ 1 h 10"/>
                <a:gd name="T6" fmla="*/ 2 w 11"/>
                <a:gd name="T7" fmla="*/ 2 h 10"/>
                <a:gd name="T8" fmla="*/ 2 w 11"/>
                <a:gd name="T9" fmla="*/ 4 h 10"/>
                <a:gd name="T10" fmla="*/ 4 w 11"/>
                <a:gd name="T11" fmla="*/ 6 h 10"/>
                <a:gd name="T12" fmla="*/ 6 w 11"/>
                <a:gd name="T13" fmla="*/ 9 h 10"/>
                <a:gd name="T14" fmla="*/ 9 w 11"/>
                <a:gd name="T15" fmla="*/ 10 h 10"/>
                <a:gd name="T16" fmla="*/ 8 w 11"/>
                <a:gd name="T17" fmla="*/ 7 h 10"/>
                <a:gd name="T18" fmla="*/ 7 w 11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7" y="6"/>
                  </a:moveTo>
                  <a:cubicBezTo>
                    <a:pt x="6" y="6"/>
                    <a:pt x="6" y="5"/>
                    <a:pt x="4" y="4"/>
                  </a:cubicBezTo>
                  <a:cubicBezTo>
                    <a:pt x="3" y="3"/>
                    <a:pt x="4" y="1"/>
                    <a:pt x="3" y="1"/>
                  </a:cubicBezTo>
                  <a:cubicBezTo>
                    <a:pt x="3" y="1"/>
                    <a:pt x="3" y="3"/>
                    <a:pt x="2" y="2"/>
                  </a:cubicBezTo>
                  <a:cubicBezTo>
                    <a:pt x="0" y="0"/>
                    <a:pt x="0" y="1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5" y="6"/>
                    <a:pt x="5" y="9"/>
                    <a:pt x="6" y="9"/>
                  </a:cubicBezTo>
                  <a:cubicBezTo>
                    <a:pt x="7" y="9"/>
                    <a:pt x="7" y="10"/>
                    <a:pt x="9" y="10"/>
                  </a:cubicBezTo>
                  <a:cubicBezTo>
                    <a:pt x="11" y="10"/>
                    <a:pt x="8" y="8"/>
                    <a:pt x="8" y="7"/>
                  </a:cubicBezTo>
                  <a:cubicBezTo>
                    <a:pt x="8" y="7"/>
                    <a:pt x="7" y="6"/>
                    <a:pt x="7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1" name="Freeform 1326"/>
            <p:cNvSpPr>
              <a:spLocks/>
            </p:cNvSpPr>
            <p:nvPr/>
          </p:nvSpPr>
          <p:spPr bwMode="auto">
            <a:xfrm>
              <a:off x="2913" y="3279"/>
              <a:ext cx="5" cy="5"/>
            </a:xfrm>
            <a:custGeom>
              <a:avLst/>
              <a:gdLst>
                <a:gd name="T0" fmla="*/ 5 w 7"/>
                <a:gd name="T1" fmla="*/ 5 h 7"/>
                <a:gd name="T2" fmla="*/ 6 w 7"/>
                <a:gd name="T3" fmla="*/ 6 h 7"/>
                <a:gd name="T4" fmla="*/ 6 w 7"/>
                <a:gd name="T5" fmla="*/ 4 h 7"/>
                <a:gd name="T6" fmla="*/ 4 w 7"/>
                <a:gd name="T7" fmla="*/ 2 h 7"/>
                <a:gd name="T8" fmla="*/ 2 w 7"/>
                <a:gd name="T9" fmla="*/ 1 h 7"/>
                <a:gd name="T10" fmla="*/ 4 w 7"/>
                <a:gd name="T11" fmla="*/ 4 h 7"/>
                <a:gd name="T12" fmla="*/ 5 w 7"/>
                <a:gd name="T1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7">
                  <a:moveTo>
                    <a:pt x="5" y="5"/>
                  </a:moveTo>
                  <a:cubicBezTo>
                    <a:pt x="6" y="6"/>
                    <a:pt x="7" y="7"/>
                    <a:pt x="6" y="6"/>
                  </a:cubicBezTo>
                  <a:cubicBezTo>
                    <a:pt x="6" y="5"/>
                    <a:pt x="7" y="4"/>
                    <a:pt x="6" y="4"/>
                  </a:cubicBezTo>
                  <a:cubicBezTo>
                    <a:pt x="6" y="4"/>
                    <a:pt x="4" y="3"/>
                    <a:pt x="4" y="2"/>
                  </a:cubicBezTo>
                  <a:cubicBezTo>
                    <a:pt x="4" y="1"/>
                    <a:pt x="0" y="0"/>
                    <a:pt x="2" y="1"/>
                  </a:cubicBezTo>
                  <a:cubicBezTo>
                    <a:pt x="4" y="3"/>
                    <a:pt x="1" y="2"/>
                    <a:pt x="4" y="4"/>
                  </a:cubicBezTo>
                  <a:cubicBezTo>
                    <a:pt x="5" y="5"/>
                    <a:pt x="4" y="5"/>
                    <a:pt x="5" y="5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2" name="Freeform 1327"/>
            <p:cNvSpPr>
              <a:spLocks/>
            </p:cNvSpPr>
            <p:nvPr/>
          </p:nvSpPr>
          <p:spPr bwMode="auto">
            <a:xfrm>
              <a:off x="2918" y="3278"/>
              <a:ext cx="3" cy="3"/>
            </a:xfrm>
            <a:custGeom>
              <a:avLst/>
              <a:gdLst>
                <a:gd name="T0" fmla="*/ 3 w 4"/>
                <a:gd name="T1" fmla="*/ 2 h 5"/>
                <a:gd name="T2" fmla="*/ 1 w 4"/>
                <a:gd name="T3" fmla="*/ 2 h 5"/>
                <a:gd name="T4" fmla="*/ 3 w 4"/>
                <a:gd name="T5" fmla="*/ 4 h 5"/>
                <a:gd name="T6" fmla="*/ 3 w 4"/>
                <a:gd name="T7" fmla="*/ 3 h 5"/>
                <a:gd name="T8" fmla="*/ 3 w 4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3" y="2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2" y="3"/>
                    <a:pt x="2" y="4"/>
                    <a:pt x="3" y="4"/>
                  </a:cubicBezTo>
                  <a:cubicBezTo>
                    <a:pt x="4" y="5"/>
                    <a:pt x="3" y="3"/>
                    <a:pt x="3" y="3"/>
                  </a:cubicBezTo>
                  <a:cubicBezTo>
                    <a:pt x="4" y="4"/>
                    <a:pt x="4" y="4"/>
                    <a:pt x="3" y="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3" name="Freeform 1328"/>
            <p:cNvSpPr>
              <a:spLocks/>
            </p:cNvSpPr>
            <p:nvPr/>
          </p:nvSpPr>
          <p:spPr bwMode="auto">
            <a:xfrm>
              <a:off x="2970" y="3339"/>
              <a:ext cx="35" cy="8"/>
            </a:xfrm>
            <a:custGeom>
              <a:avLst/>
              <a:gdLst>
                <a:gd name="T0" fmla="*/ 43 w 54"/>
                <a:gd name="T1" fmla="*/ 11 h 13"/>
                <a:gd name="T2" fmla="*/ 51 w 54"/>
                <a:gd name="T3" fmla="*/ 11 h 13"/>
                <a:gd name="T4" fmla="*/ 51 w 54"/>
                <a:gd name="T5" fmla="*/ 9 h 13"/>
                <a:gd name="T6" fmla="*/ 46 w 54"/>
                <a:gd name="T7" fmla="*/ 4 h 13"/>
                <a:gd name="T8" fmla="*/ 39 w 54"/>
                <a:gd name="T9" fmla="*/ 3 h 13"/>
                <a:gd name="T10" fmla="*/ 32 w 54"/>
                <a:gd name="T11" fmla="*/ 3 h 13"/>
                <a:gd name="T12" fmla="*/ 23 w 54"/>
                <a:gd name="T13" fmla="*/ 5 h 13"/>
                <a:gd name="T14" fmla="*/ 13 w 54"/>
                <a:gd name="T15" fmla="*/ 3 h 13"/>
                <a:gd name="T16" fmla="*/ 9 w 54"/>
                <a:gd name="T17" fmla="*/ 1 h 13"/>
                <a:gd name="T18" fmla="*/ 6 w 54"/>
                <a:gd name="T19" fmla="*/ 1 h 13"/>
                <a:gd name="T20" fmla="*/ 2 w 54"/>
                <a:gd name="T21" fmla="*/ 2 h 13"/>
                <a:gd name="T22" fmla="*/ 3 w 54"/>
                <a:gd name="T23" fmla="*/ 2 h 13"/>
                <a:gd name="T24" fmla="*/ 7 w 54"/>
                <a:gd name="T25" fmla="*/ 4 h 13"/>
                <a:gd name="T26" fmla="*/ 4 w 54"/>
                <a:gd name="T27" fmla="*/ 6 h 13"/>
                <a:gd name="T28" fmla="*/ 3 w 54"/>
                <a:gd name="T29" fmla="*/ 9 h 13"/>
                <a:gd name="T30" fmla="*/ 6 w 54"/>
                <a:gd name="T31" fmla="*/ 9 h 13"/>
                <a:gd name="T32" fmla="*/ 11 w 54"/>
                <a:gd name="T33" fmla="*/ 10 h 13"/>
                <a:gd name="T34" fmla="*/ 17 w 54"/>
                <a:gd name="T35" fmla="*/ 11 h 13"/>
                <a:gd name="T36" fmla="*/ 21 w 54"/>
                <a:gd name="T37" fmla="*/ 12 h 13"/>
                <a:gd name="T38" fmla="*/ 26 w 54"/>
                <a:gd name="T39" fmla="*/ 12 h 13"/>
                <a:gd name="T40" fmla="*/ 30 w 54"/>
                <a:gd name="T41" fmla="*/ 10 h 13"/>
                <a:gd name="T42" fmla="*/ 38 w 54"/>
                <a:gd name="T43" fmla="*/ 10 h 13"/>
                <a:gd name="T44" fmla="*/ 43 w 54"/>
                <a:gd name="T4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13">
                  <a:moveTo>
                    <a:pt x="43" y="11"/>
                  </a:moveTo>
                  <a:cubicBezTo>
                    <a:pt x="47" y="12"/>
                    <a:pt x="49" y="10"/>
                    <a:pt x="51" y="11"/>
                  </a:cubicBezTo>
                  <a:cubicBezTo>
                    <a:pt x="52" y="11"/>
                    <a:pt x="54" y="10"/>
                    <a:pt x="51" y="9"/>
                  </a:cubicBezTo>
                  <a:cubicBezTo>
                    <a:pt x="48" y="9"/>
                    <a:pt x="48" y="5"/>
                    <a:pt x="46" y="4"/>
                  </a:cubicBezTo>
                  <a:cubicBezTo>
                    <a:pt x="43" y="4"/>
                    <a:pt x="41" y="4"/>
                    <a:pt x="39" y="3"/>
                  </a:cubicBezTo>
                  <a:cubicBezTo>
                    <a:pt x="37" y="1"/>
                    <a:pt x="38" y="4"/>
                    <a:pt x="32" y="3"/>
                  </a:cubicBezTo>
                  <a:cubicBezTo>
                    <a:pt x="26" y="3"/>
                    <a:pt x="24" y="4"/>
                    <a:pt x="23" y="5"/>
                  </a:cubicBezTo>
                  <a:cubicBezTo>
                    <a:pt x="22" y="6"/>
                    <a:pt x="17" y="3"/>
                    <a:pt x="13" y="3"/>
                  </a:cubicBezTo>
                  <a:cubicBezTo>
                    <a:pt x="10" y="3"/>
                    <a:pt x="11" y="1"/>
                    <a:pt x="9" y="1"/>
                  </a:cubicBezTo>
                  <a:cubicBezTo>
                    <a:pt x="7" y="2"/>
                    <a:pt x="8" y="0"/>
                    <a:pt x="6" y="1"/>
                  </a:cubicBezTo>
                  <a:cubicBezTo>
                    <a:pt x="3" y="1"/>
                    <a:pt x="0" y="0"/>
                    <a:pt x="2" y="2"/>
                  </a:cubicBezTo>
                  <a:cubicBezTo>
                    <a:pt x="2" y="3"/>
                    <a:pt x="2" y="3"/>
                    <a:pt x="3" y="2"/>
                  </a:cubicBezTo>
                  <a:cubicBezTo>
                    <a:pt x="4" y="2"/>
                    <a:pt x="3" y="2"/>
                    <a:pt x="7" y="4"/>
                  </a:cubicBezTo>
                  <a:cubicBezTo>
                    <a:pt x="10" y="6"/>
                    <a:pt x="4" y="4"/>
                    <a:pt x="4" y="6"/>
                  </a:cubicBezTo>
                  <a:cubicBezTo>
                    <a:pt x="4" y="7"/>
                    <a:pt x="0" y="7"/>
                    <a:pt x="3" y="9"/>
                  </a:cubicBezTo>
                  <a:cubicBezTo>
                    <a:pt x="5" y="11"/>
                    <a:pt x="3" y="8"/>
                    <a:pt x="6" y="9"/>
                  </a:cubicBezTo>
                  <a:cubicBezTo>
                    <a:pt x="10" y="11"/>
                    <a:pt x="9" y="9"/>
                    <a:pt x="11" y="10"/>
                  </a:cubicBezTo>
                  <a:cubicBezTo>
                    <a:pt x="13" y="12"/>
                    <a:pt x="13" y="11"/>
                    <a:pt x="17" y="11"/>
                  </a:cubicBezTo>
                  <a:cubicBezTo>
                    <a:pt x="21" y="12"/>
                    <a:pt x="23" y="10"/>
                    <a:pt x="21" y="12"/>
                  </a:cubicBezTo>
                  <a:cubicBezTo>
                    <a:pt x="20" y="13"/>
                    <a:pt x="25" y="13"/>
                    <a:pt x="26" y="12"/>
                  </a:cubicBezTo>
                  <a:cubicBezTo>
                    <a:pt x="27" y="10"/>
                    <a:pt x="29" y="11"/>
                    <a:pt x="30" y="10"/>
                  </a:cubicBezTo>
                  <a:cubicBezTo>
                    <a:pt x="31" y="9"/>
                    <a:pt x="36" y="9"/>
                    <a:pt x="38" y="10"/>
                  </a:cubicBezTo>
                  <a:cubicBezTo>
                    <a:pt x="40" y="11"/>
                    <a:pt x="40" y="9"/>
                    <a:pt x="43" y="1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4" name="Freeform 1329"/>
            <p:cNvSpPr>
              <a:spLocks/>
            </p:cNvSpPr>
            <p:nvPr/>
          </p:nvSpPr>
          <p:spPr bwMode="auto">
            <a:xfrm>
              <a:off x="2913" y="3281"/>
              <a:ext cx="3" cy="2"/>
            </a:xfrm>
            <a:custGeom>
              <a:avLst/>
              <a:gdLst>
                <a:gd name="T0" fmla="*/ 1 w 5"/>
                <a:gd name="T1" fmla="*/ 2 h 4"/>
                <a:gd name="T2" fmla="*/ 4 w 5"/>
                <a:gd name="T3" fmla="*/ 4 h 4"/>
                <a:gd name="T4" fmla="*/ 4 w 5"/>
                <a:gd name="T5" fmla="*/ 3 h 4"/>
                <a:gd name="T6" fmla="*/ 2 w 5"/>
                <a:gd name="T7" fmla="*/ 2 h 4"/>
                <a:gd name="T8" fmla="*/ 1 w 5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1" y="2"/>
                  </a:moveTo>
                  <a:cubicBezTo>
                    <a:pt x="1" y="2"/>
                    <a:pt x="3" y="4"/>
                    <a:pt x="4" y="4"/>
                  </a:cubicBezTo>
                  <a:cubicBezTo>
                    <a:pt x="5" y="4"/>
                    <a:pt x="5" y="4"/>
                    <a:pt x="4" y="3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1" y="1"/>
                    <a:pt x="0" y="0"/>
                    <a:pt x="1" y="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5" name="Freeform 1330"/>
            <p:cNvSpPr>
              <a:spLocks/>
            </p:cNvSpPr>
            <p:nvPr/>
          </p:nvSpPr>
          <p:spPr bwMode="auto">
            <a:xfrm>
              <a:off x="2922" y="3280"/>
              <a:ext cx="4" cy="5"/>
            </a:xfrm>
            <a:custGeom>
              <a:avLst/>
              <a:gdLst>
                <a:gd name="T0" fmla="*/ 5 w 6"/>
                <a:gd name="T1" fmla="*/ 3 h 7"/>
                <a:gd name="T2" fmla="*/ 2 w 6"/>
                <a:gd name="T3" fmla="*/ 2 h 7"/>
                <a:gd name="T4" fmla="*/ 1 w 6"/>
                <a:gd name="T5" fmla="*/ 3 h 7"/>
                <a:gd name="T6" fmla="*/ 5 w 6"/>
                <a:gd name="T7" fmla="*/ 6 h 7"/>
                <a:gd name="T8" fmla="*/ 6 w 6"/>
                <a:gd name="T9" fmla="*/ 6 h 7"/>
                <a:gd name="T10" fmla="*/ 5 w 6"/>
                <a:gd name="T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7">
                  <a:moveTo>
                    <a:pt x="5" y="3"/>
                  </a:moveTo>
                  <a:cubicBezTo>
                    <a:pt x="3" y="1"/>
                    <a:pt x="2" y="0"/>
                    <a:pt x="2" y="2"/>
                  </a:cubicBezTo>
                  <a:cubicBezTo>
                    <a:pt x="2" y="3"/>
                    <a:pt x="0" y="2"/>
                    <a:pt x="1" y="3"/>
                  </a:cubicBezTo>
                  <a:cubicBezTo>
                    <a:pt x="2" y="4"/>
                    <a:pt x="4" y="4"/>
                    <a:pt x="5" y="6"/>
                  </a:cubicBezTo>
                  <a:cubicBezTo>
                    <a:pt x="5" y="7"/>
                    <a:pt x="6" y="7"/>
                    <a:pt x="6" y="6"/>
                  </a:cubicBezTo>
                  <a:cubicBezTo>
                    <a:pt x="5" y="5"/>
                    <a:pt x="6" y="6"/>
                    <a:pt x="5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6" name="Freeform 1331"/>
            <p:cNvSpPr>
              <a:spLocks/>
            </p:cNvSpPr>
            <p:nvPr/>
          </p:nvSpPr>
          <p:spPr bwMode="auto">
            <a:xfrm>
              <a:off x="2864" y="3242"/>
              <a:ext cx="25" cy="28"/>
            </a:xfrm>
            <a:custGeom>
              <a:avLst/>
              <a:gdLst>
                <a:gd name="T0" fmla="*/ 30 w 38"/>
                <a:gd name="T1" fmla="*/ 32 h 43"/>
                <a:gd name="T2" fmla="*/ 33 w 38"/>
                <a:gd name="T3" fmla="*/ 35 h 43"/>
                <a:gd name="T4" fmla="*/ 36 w 38"/>
                <a:gd name="T5" fmla="*/ 36 h 43"/>
                <a:gd name="T6" fmla="*/ 35 w 38"/>
                <a:gd name="T7" fmla="*/ 33 h 43"/>
                <a:gd name="T8" fmla="*/ 29 w 38"/>
                <a:gd name="T9" fmla="*/ 29 h 43"/>
                <a:gd name="T10" fmla="*/ 26 w 38"/>
                <a:gd name="T11" fmla="*/ 24 h 43"/>
                <a:gd name="T12" fmla="*/ 23 w 38"/>
                <a:gd name="T13" fmla="*/ 23 h 43"/>
                <a:gd name="T14" fmla="*/ 19 w 38"/>
                <a:gd name="T15" fmla="*/ 15 h 43"/>
                <a:gd name="T16" fmla="*/ 17 w 38"/>
                <a:gd name="T17" fmla="*/ 13 h 43"/>
                <a:gd name="T18" fmla="*/ 13 w 38"/>
                <a:gd name="T19" fmla="*/ 9 h 43"/>
                <a:gd name="T20" fmla="*/ 10 w 38"/>
                <a:gd name="T21" fmla="*/ 7 h 43"/>
                <a:gd name="T22" fmla="*/ 6 w 38"/>
                <a:gd name="T23" fmla="*/ 2 h 43"/>
                <a:gd name="T24" fmla="*/ 6 w 38"/>
                <a:gd name="T25" fmla="*/ 4 h 43"/>
                <a:gd name="T26" fmla="*/ 4 w 38"/>
                <a:gd name="T27" fmla="*/ 5 h 43"/>
                <a:gd name="T28" fmla="*/ 1 w 38"/>
                <a:gd name="T29" fmla="*/ 3 h 43"/>
                <a:gd name="T30" fmla="*/ 5 w 38"/>
                <a:gd name="T31" fmla="*/ 7 h 43"/>
                <a:gd name="T32" fmla="*/ 8 w 38"/>
                <a:gd name="T33" fmla="*/ 8 h 43"/>
                <a:gd name="T34" fmla="*/ 10 w 38"/>
                <a:gd name="T35" fmla="*/ 11 h 43"/>
                <a:gd name="T36" fmla="*/ 15 w 38"/>
                <a:gd name="T37" fmla="*/ 15 h 43"/>
                <a:gd name="T38" fmla="*/ 20 w 38"/>
                <a:gd name="T39" fmla="*/ 22 h 43"/>
                <a:gd name="T40" fmla="*/ 29 w 38"/>
                <a:gd name="T41" fmla="*/ 35 h 43"/>
                <a:gd name="T42" fmla="*/ 34 w 38"/>
                <a:gd name="T43" fmla="*/ 37 h 43"/>
                <a:gd name="T44" fmla="*/ 32 w 38"/>
                <a:gd name="T45" fmla="*/ 36 h 43"/>
                <a:gd name="T46" fmla="*/ 30 w 38"/>
                <a:gd name="T47" fmla="*/ 34 h 43"/>
                <a:gd name="T48" fmla="*/ 30 w 38"/>
                <a:gd name="T49" fmla="*/ 3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" h="43">
                  <a:moveTo>
                    <a:pt x="30" y="32"/>
                  </a:moveTo>
                  <a:cubicBezTo>
                    <a:pt x="32" y="34"/>
                    <a:pt x="30" y="35"/>
                    <a:pt x="33" y="35"/>
                  </a:cubicBezTo>
                  <a:cubicBezTo>
                    <a:pt x="35" y="35"/>
                    <a:pt x="33" y="36"/>
                    <a:pt x="36" y="36"/>
                  </a:cubicBezTo>
                  <a:cubicBezTo>
                    <a:pt x="38" y="36"/>
                    <a:pt x="37" y="33"/>
                    <a:pt x="35" y="33"/>
                  </a:cubicBezTo>
                  <a:cubicBezTo>
                    <a:pt x="34" y="33"/>
                    <a:pt x="32" y="31"/>
                    <a:pt x="29" y="29"/>
                  </a:cubicBezTo>
                  <a:cubicBezTo>
                    <a:pt x="26" y="26"/>
                    <a:pt x="28" y="26"/>
                    <a:pt x="26" y="24"/>
                  </a:cubicBezTo>
                  <a:cubicBezTo>
                    <a:pt x="24" y="22"/>
                    <a:pt x="25" y="24"/>
                    <a:pt x="23" y="23"/>
                  </a:cubicBezTo>
                  <a:cubicBezTo>
                    <a:pt x="21" y="21"/>
                    <a:pt x="20" y="18"/>
                    <a:pt x="19" y="15"/>
                  </a:cubicBezTo>
                  <a:cubicBezTo>
                    <a:pt x="19" y="13"/>
                    <a:pt x="18" y="15"/>
                    <a:pt x="17" y="13"/>
                  </a:cubicBezTo>
                  <a:cubicBezTo>
                    <a:pt x="17" y="12"/>
                    <a:pt x="13" y="11"/>
                    <a:pt x="13" y="9"/>
                  </a:cubicBezTo>
                  <a:cubicBezTo>
                    <a:pt x="12" y="7"/>
                    <a:pt x="11" y="9"/>
                    <a:pt x="10" y="7"/>
                  </a:cubicBezTo>
                  <a:cubicBezTo>
                    <a:pt x="9" y="5"/>
                    <a:pt x="8" y="4"/>
                    <a:pt x="6" y="2"/>
                  </a:cubicBezTo>
                  <a:cubicBezTo>
                    <a:pt x="3" y="0"/>
                    <a:pt x="4" y="1"/>
                    <a:pt x="6" y="4"/>
                  </a:cubicBezTo>
                  <a:cubicBezTo>
                    <a:pt x="7" y="7"/>
                    <a:pt x="4" y="3"/>
                    <a:pt x="4" y="5"/>
                  </a:cubicBezTo>
                  <a:cubicBezTo>
                    <a:pt x="3" y="6"/>
                    <a:pt x="1" y="2"/>
                    <a:pt x="1" y="3"/>
                  </a:cubicBezTo>
                  <a:cubicBezTo>
                    <a:pt x="0" y="5"/>
                    <a:pt x="3" y="6"/>
                    <a:pt x="5" y="7"/>
                  </a:cubicBezTo>
                  <a:cubicBezTo>
                    <a:pt x="7" y="8"/>
                    <a:pt x="5" y="6"/>
                    <a:pt x="8" y="8"/>
                  </a:cubicBezTo>
                  <a:cubicBezTo>
                    <a:pt x="10" y="10"/>
                    <a:pt x="10" y="8"/>
                    <a:pt x="10" y="11"/>
                  </a:cubicBezTo>
                  <a:cubicBezTo>
                    <a:pt x="11" y="12"/>
                    <a:pt x="11" y="11"/>
                    <a:pt x="15" y="15"/>
                  </a:cubicBezTo>
                  <a:cubicBezTo>
                    <a:pt x="20" y="19"/>
                    <a:pt x="18" y="21"/>
                    <a:pt x="20" y="22"/>
                  </a:cubicBezTo>
                  <a:cubicBezTo>
                    <a:pt x="22" y="24"/>
                    <a:pt x="21" y="26"/>
                    <a:pt x="29" y="35"/>
                  </a:cubicBezTo>
                  <a:cubicBezTo>
                    <a:pt x="37" y="43"/>
                    <a:pt x="35" y="38"/>
                    <a:pt x="34" y="37"/>
                  </a:cubicBezTo>
                  <a:cubicBezTo>
                    <a:pt x="33" y="37"/>
                    <a:pt x="33" y="36"/>
                    <a:pt x="32" y="36"/>
                  </a:cubicBezTo>
                  <a:cubicBezTo>
                    <a:pt x="31" y="36"/>
                    <a:pt x="31" y="34"/>
                    <a:pt x="30" y="34"/>
                  </a:cubicBezTo>
                  <a:cubicBezTo>
                    <a:pt x="29" y="33"/>
                    <a:pt x="28" y="31"/>
                    <a:pt x="30" y="3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7" name="Freeform 1332"/>
            <p:cNvSpPr>
              <a:spLocks/>
            </p:cNvSpPr>
            <p:nvPr/>
          </p:nvSpPr>
          <p:spPr bwMode="auto">
            <a:xfrm>
              <a:off x="2910" y="3283"/>
              <a:ext cx="8" cy="5"/>
            </a:xfrm>
            <a:custGeom>
              <a:avLst/>
              <a:gdLst>
                <a:gd name="T0" fmla="*/ 2 w 13"/>
                <a:gd name="T1" fmla="*/ 3 h 8"/>
                <a:gd name="T2" fmla="*/ 6 w 13"/>
                <a:gd name="T3" fmla="*/ 6 h 8"/>
                <a:gd name="T4" fmla="*/ 9 w 13"/>
                <a:gd name="T5" fmla="*/ 7 h 8"/>
                <a:gd name="T6" fmla="*/ 12 w 13"/>
                <a:gd name="T7" fmla="*/ 7 h 8"/>
                <a:gd name="T8" fmla="*/ 8 w 13"/>
                <a:gd name="T9" fmla="*/ 4 h 8"/>
                <a:gd name="T10" fmla="*/ 5 w 13"/>
                <a:gd name="T11" fmla="*/ 3 h 8"/>
                <a:gd name="T12" fmla="*/ 3 w 13"/>
                <a:gd name="T13" fmla="*/ 2 h 8"/>
                <a:gd name="T14" fmla="*/ 1 w 13"/>
                <a:gd name="T15" fmla="*/ 2 h 8"/>
                <a:gd name="T16" fmla="*/ 2 w 13"/>
                <a:gd name="T17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8">
                  <a:moveTo>
                    <a:pt x="2" y="3"/>
                  </a:moveTo>
                  <a:cubicBezTo>
                    <a:pt x="3" y="2"/>
                    <a:pt x="5" y="6"/>
                    <a:pt x="6" y="6"/>
                  </a:cubicBezTo>
                  <a:cubicBezTo>
                    <a:pt x="7" y="6"/>
                    <a:pt x="9" y="7"/>
                    <a:pt x="9" y="7"/>
                  </a:cubicBezTo>
                  <a:cubicBezTo>
                    <a:pt x="9" y="6"/>
                    <a:pt x="12" y="8"/>
                    <a:pt x="12" y="7"/>
                  </a:cubicBezTo>
                  <a:cubicBezTo>
                    <a:pt x="13" y="6"/>
                    <a:pt x="9" y="5"/>
                    <a:pt x="8" y="4"/>
                  </a:cubicBezTo>
                  <a:cubicBezTo>
                    <a:pt x="7" y="3"/>
                    <a:pt x="6" y="2"/>
                    <a:pt x="5" y="3"/>
                  </a:cubicBezTo>
                  <a:cubicBezTo>
                    <a:pt x="5" y="3"/>
                    <a:pt x="4" y="1"/>
                    <a:pt x="3" y="2"/>
                  </a:cubicBezTo>
                  <a:cubicBezTo>
                    <a:pt x="2" y="2"/>
                    <a:pt x="0" y="0"/>
                    <a:pt x="1" y="2"/>
                  </a:cubicBezTo>
                  <a:cubicBezTo>
                    <a:pt x="1" y="2"/>
                    <a:pt x="2" y="4"/>
                    <a:pt x="2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8" name="Freeform 1333"/>
            <p:cNvSpPr>
              <a:spLocks/>
            </p:cNvSpPr>
            <p:nvPr/>
          </p:nvSpPr>
          <p:spPr bwMode="auto">
            <a:xfrm>
              <a:off x="2854" y="3222"/>
              <a:ext cx="7" cy="7"/>
            </a:xfrm>
            <a:custGeom>
              <a:avLst/>
              <a:gdLst>
                <a:gd name="T0" fmla="*/ 6 w 10"/>
                <a:gd name="T1" fmla="*/ 7 h 11"/>
                <a:gd name="T2" fmla="*/ 3 w 10"/>
                <a:gd name="T3" fmla="*/ 1 h 11"/>
                <a:gd name="T4" fmla="*/ 4 w 10"/>
                <a:gd name="T5" fmla="*/ 7 h 11"/>
                <a:gd name="T6" fmla="*/ 6 w 10"/>
                <a:gd name="T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1">
                  <a:moveTo>
                    <a:pt x="6" y="7"/>
                  </a:moveTo>
                  <a:cubicBezTo>
                    <a:pt x="4" y="6"/>
                    <a:pt x="7" y="0"/>
                    <a:pt x="3" y="1"/>
                  </a:cubicBezTo>
                  <a:cubicBezTo>
                    <a:pt x="0" y="2"/>
                    <a:pt x="3" y="3"/>
                    <a:pt x="4" y="7"/>
                  </a:cubicBezTo>
                  <a:cubicBezTo>
                    <a:pt x="5" y="11"/>
                    <a:pt x="10" y="9"/>
                    <a:pt x="6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59" name="Freeform 1334"/>
            <p:cNvSpPr>
              <a:spLocks/>
            </p:cNvSpPr>
            <p:nvPr/>
          </p:nvSpPr>
          <p:spPr bwMode="auto">
            <a:xfrm>
              <a:off x="2918" y="3281"/>
              <a:ext cx="2" cy="2"/>
            </a:xfrm>
            <a:custGeom>
              <a:avLst/>
              <a:gdLst>
                <a:gd name="T0" fmla="*/ 2 w 4"/>
                <a:gd name="T1" fmla="*/ 3 h 4"/>
                <a:gd name="T2" fmla="*/ 4 w 4"/>
                <a:gd name="T3" fmla="*/ 3 h 4"/>
                <a:gd name="T4" fmla="*/ 2 w 4"/>
                <a:gd name="T5" fmla="*/ 1 h 4"/>
                <a:gd name="T6" fmla="*/ 1 w 4"/>
                <a:gd name="T7" fmla="*/ 2 h 4"/>
                <a:gd name="T8" fmla="*/ 2 w 4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3"/>
                  </a:moveTo>
                  <a:cubicBezTo>
                    <a:pt x="3" y="3"/>
                    <a:pt x="4" y="4"/>
                    <a:pt x="4" y="3"/>
                  </a:cubicBezTo>
                  <a:cubicBezTo>
                    <a:pt x="4" y="1"/>
                    <a:pt x="2" y="2"/>
                    <a:pt x="2" y="1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1" y="2"/>
                    <a:pt x="2" y="4"/>
                    <a:pt x="2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0" name="Freeform 1335"/>
            <p:cNvSpPr>
              <a:spLocks/>
            </p:cNvSpPr>
            <p:nvPr/>
          </p:nvSpPr>
          <p:spPr bwMode="auto">
            <a:xfrm>
              <a:off x="2903" y="3267"/>
              <a:ext cx="3" cy="2"/>
            </a:xfrm>
            <a:custGeom>
              <a:avLst/>
              <a:gdLst>
                <a:gd name="T0" fmla="*/ 1 w 4"/>
                <a:gd name="T1" fmla="*/ 1 h 3"/>
                <a:gd name="T2" fmla="*/ 3 w 4"/>
                <a:gd name="T3" fmla="*/ 3 h 3"/>
                <a:gd name="T4" fmla="*/ 2 w 4"/>
                <a:gd name="T5" fmla="*/ 1 h 3"/>
                <a:gd name="T6" fmla="*/ 1 w 4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1" y="1"/>
                  </a:moveTo>
                  <a:cubicBezTo>
                    <a:pt x="0" y="2"/>
                    <a:pt x="2" y="3"/>
                    <a:pt x="3" y="3"/>
                  </a:cubicBezTo>
                  <a:cubicBezTo>
                    <a:pt x="4" y="3"/>
                    <a:pt x="3" y="2"/>
                    <a:pt x="2" y="1"/>
                  </a:cubicBezTo>
                  <a:cubicBezTo>
                    <a:pt x="1" y="0"/>
                    <a:pt x="2" y="1"/>
                    <a:pt x="1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1" name="Freeform 1336"/>
            <p:cNvSpPr>
              <a:spLocks/>
            </p:cNvSpPr>
            <p:nvPr/>
          </p:nvSpPr>
          <p:spPr bwMode="auto">
            <a:xfrm>
              <a:off x="2936" y="3332"/>
              <a:ext cx="14" cy="6"/>
            </a:xfrm>
            <a:custGeom>
              <a:avLst/>
              <a:gdLst>
                <a:gd name="T0" fmla="*/ 3 w 21"/>
                <a:gd name="T1" fmla="*/ 8 h 10"/>
                <a:gd name="T2" fmla="*/ 7 w 21"/>
                <a:gd name="T3" fmla="*/ 9 h 10"/>
                <a:gd name="T4" fmla="*/ 14 w 21"/>
                <a:gd name="T5" fmla="*/ 8 h 10"/>
                <a:gd name="T6" fmla="*/ 17 w 21"/>
                <a:gd name="T7" fmla="*/ 6 h 10"/>
                <a:gd name="T8" fmla="*/ 19 w 21"/>
                <a:gd name="T9" fmla="*/ 3 h 10"/>
                <a:gd name="T10" fmla="*/ 14 w 21"/>
                <a:gd name="T11" fmla="*/ 2 h 10"/>
                <a:gd name="T12" fmla="*/ 12 w 21"/>
                <a:gd name="T13" fmla="*/ 1 h 10"/>
                <a:gd name="T14" fmla="*/ 7 w 21"/>
                <a:gd name="T15" fmla="*/ 1 h 10"/>
                <a:gd name="T16" fmla="*/ 1 w 21"/>
                <a:gd name="T17" fmla="*/ 5 h 10"/>
                <a:gd name="T18" fmla="*/ 3 w 21"/>
                <a:gd name="T19" fmla="*/ 5 h 10"/>
                <a:gd name="T20" fmla="*/ 3 w 21"/>
                <a:gd name="T2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0">
                  <a:moveTo>
                    <a:pt x="3" y="8"/>
                  </a:moveTo>
                  <a:cubicBezTo>
                    <a:pt x="1" y="10"/>
                    <a:pt x="5" y="10"/>
                    <a:pt x="7" y="9"/>
                  </a:cubicBezTo>
                  <a:cubicBezTo>
                    <a:pt x="9" y="9"/>
                    <a:pt x="13" y="7"/>
                    <a:pt x="14" y="8"/>
                  </a:cubicBezTo>
                  <a:cubicBezTo>
                    <a:pt x="15" y="9"/>
                    <a:pt x="16" y="8"/>
                    <a:pt x="17" y="6"/>
                  </a:cubicBezTo>
                  <a:cubicBezTo>
                    <a:pt x="17" y="5"/>
                    <a:pt x="18" y="5"/>
                    <a:pt x="19" y="3"/>
                  </a:cubicBezTo>
                  <a:cubicBezTo>
                    <a:pt x="21" y="1"/>
                    <a:pt x="17" y="0"/>
                    <a:pt x="14" y="2"/>
                  </a:cubicBezTo>
                  <a:cubicBezTo>
                    <a:pt x="12" y="4"/>
                    <a:pt x="15" y="1"/>
                    <a:pt x="12" y="1"/>
                  </a:cubicBezTo>
                  <a:cubicBezTo>
                    <a:pt x="9" y="0"/>
                    <a:pt x="10" y="1"/>
                    <a:pt x="7" y="1"/>
                  </a:cubicBezTo>
                  <a:cubicBezTo>
                    <a:pt x="4" y="1"/>
                    <a:pt x="0" y="2"/>
                    <a:pt x="1" y="5"/>
                  </a:cubicBezTo>
                  <a:cubicBezTo>
                    <a:pt x="2" y="6"/>
                    <a:pt x="2" y="6"/>
                    <a:pt x="3" y="5"/>
                  </a:cubicBezTo>
                  <a:cubicBezTo>
                    <a:pt x="4" y="4"/>
                    <a:pt x="6" y="6"/>
                    <a:pt x="3" y="8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2" name="Freeform 1337"/>
            <p:cNvSpPr>
              <a:spLocks/>
            </p:cNvSpPr>
            <p:nvPr/>
          </p:nvSpPr>
          <p:spPr bwMode="auto">
            <a:xfrm>
              <a:off x="2935" y="3301"/>
              <a:ext cx="5" cy="3"/>
            </a:xfrm>
            <a:custGeom>
              <a:avLst/>
              <a:gdLst>
                <a:gd name="T0" fmla="*/ 6 w 8"/>
                <a:gd name="T1" fmla="*/ 3 h 4"/>
                <a:gd name="T2" fmla="*/ 7 w 8"/>
                <a:gd name="T3" fmla="*/ 1 h 4"/>
                <a:gd name="T4" fmla="*/ 4 w 8"/>
                <a:gd name="T5" fmla="*/ 1 h 4"/>
                <a:gd name="T6" fmla="*/ 6 w 8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4">
                  <a:moveTo>
                    <a:pt x="6" y="3"/>
                  </a:moveTo>
                  <a:cubicBezTo>
                    <a:pt x="6" y="4"/>
                    <a:pt x="8" y="2"/>
                    <a:pt x="7" y="1"/>
                  </a:cubicBezTo>
                  <a:cubicBezTo>
                    <a:pt x="6" y="0"/>
                    <a:pt x="6" y="0"/>
                    <a:pt x="4" y="1"/>
                  </a:cubicBezTo>
                  <a:cubicBezTo>
                    <a:pt x="0" y="2"/>
                    <a:pt x="5" y="2"/>
                    <a:pt x="6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3" name="Freeform 1338"/>
            <p:cNvSpPr>
              <a:spLocks/>
            </p:cNvSpPr>
            <p:nvPr/>
          </p:nvSpPr>
          <p:spPr bwMode="auto">
            <a:xfrm>
              <a:off x="2939" y="3301"/>
              <a:ext cx="6" cy="3"/>
            </a:xfrm>
            <a:custGeom>
              <a:avLst/>
              <a:gdLst>
                <a:gd name="T0" fmla="*/ 1 w 8"/>
                <a:gd name="T1" fmla="*/ 3 h 5"/>
                <a:gd name="T2" fmla="*/ 4 w 8"/>
                <a:gd name="T3" fmla="*/ 4 h 5"/>
                <a:gd name="T4" fmla="*/ 6 w 8"/>
                <a:gd name="T5" fmla="*/ 3 h 5"/>
                <a:gd name="T6" fmla="*/ 7 w 8"/>
                <a:gd name="T7" fmla="*/ 1 h 5"/>
                <a:gd name="T8" fmla="*/ 3 w 8"/>
                <a:gd name="T9" fmla="*/ 1 h 5"/>
                <a:gd name="T10" fmla="*/ 1 w 8"/>
                <a:gd name="T1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5">
                  <a:moveTo>
                    <a:pt x="1" y="3"/>
                  </a:moveTo>
                  <a:cubicBezTo>
                    <a:pt x="0" y="4"/>
                    <a:pt x="2" y="5"/>
                    <a:pt x="4" y="4"/>
                  </a:cubicBezTo>
                  <a:cubicBezTo>
                    <a:pt x="6" y="4"/>
                    <a:pt x="4" y="3"/>
                    <a:pt x="6" y="3"/>
                  </a:cubicBezTo>
                  <a:cubicBezTo>
                    <a:pt x="7" y="4"/>
                    <a:pt x="8" y="2"/>
                    <a:pt x="7" y="1"/>
                  </a:cubicBezTo>
                  <a:cubicBezTo>
                    <a:pt x="6" y="0"/>
                    <a:pt x="3" y="0"/>
                    <a:pt x="3" y="1"/>
                  </a:cubicBezTo>
                  <a:cubicBezTo>
                    <a:pt x="4" y="2"/>
                    <a:pt x="3" y="1"/>
                    <a:pt x="1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4" name="Freeform 1339"/>
            <p:cNvSpPr>
              <a:spLocks/>
            </p:cNvSpPr>
            <p:nvPr/>
          </p:nvSpPr>
          <p:spPr bwMode="auto">
            <a:xfrm>
              <a:off x="2945" y="3304"/>
              <a:ext cx="12" cy="9"/>
            </a:xfrm>
            <a:custGeom>
              <a:avLst/>
              <a:gdLst>
                <a:gd name="T0" fmla="*/ 7 w 18"/>
                <a:gd name="T1" fmla="*/ 7 h 13"/>
                <a:gd name="T2" fmla="*/ 10 w 18"/>
                <a:gd name="T3" fmla="*/ 9 h 13"/>
                <a:gd name="T4" fmla="*/ 15 w 18"/>
                <a:gd name="T5" fmla="*/ 11 h 13"/>
                <a:gd name="T6" fmla="*/ 18 w 18"/>
                <a:gd name="T7" fmla="*/ 11 h 13"/>
                <a:gd name="T8" fmla="*/ 16 w 18"/>
                <a:gd name="T9" fmla="*/ 8 h 13"/>
                <a:gd name="T10" fmla="*/ 13 w 18"/>
                <a:gd name="T11" fmla="*/ 5 h 13"/>
                <a:gd name="T12" fmla="*/ 11 w 18"/>
                <a:gd name="T13" fmla="*/ 4 h 13"/>
                <a:gd name="T14" fmla="*/ 10 w 18"/>
                <a:gd name="T15" fmla="*/ 3 h 13"/>
                <a:gd name="T16" fmla="*/ 4 w 18"/>
                <a:gd name="T17" fmla="*/ 1 h 13"/>
                <a:gd name="T18" fmla="*/ 0 w 18"/>
                <a:gd name="T19" fmla="*/ 3 h 13"/>
                <a:gd name="T20" fmla="*/ 2 w 18"/>
                <a:gd name="T21" fmla="*/ 5 h 13"/>
                <a:gd name="T22" fmla="*/ 7 w 18"/>
                <a:gd name="T2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3">
                  <a:moveTo>
                    <a:pt x="7" y="7"/>
                  </a:moveTo>
                  <a:cubicBezTo>
                    <a:pt x="8" y="6"/>
                    <a:pt x="9" y="7"/>
                    <a:pt x="10" y="9"/>
                  </a:cubicBezTo>
                  <a:cubicBezTo>
                    <a:pt x="12" y="10"/>
                    <a:pt x="14" y="10"/>
                    <a:pt x="15" y="11"/>
                  </a:cubicBezTo>
                  <a:cubicBezTo>
                    <a:pt x="16" y="12"/>
                    <a:pt x="17" y="13"/>
                    <a:pt x="18" y="11"/>
                  </a:cubicBezTo>
                  <a:cubicBezTo>
                    <a:pt x="18" y="9"/>
                    <a:pt x="16" y="10"/>
                    <a:pt x="16" y="8"/>
                  </a:cubicBezTo>
                  <a:cubicBezTo>
                    <a:pt x="15" y="5"/>
                    <a:pt x="14" y="8"/>
                    <a:pt x="13" y="5"/>
                  </a:cubicBezTo>
                  <a:cubicBezTo>
                    <a:pt x="12" y="2"/>
                    <a:pt x="11" y="5"/>
                    <a:pt x="11" y="4"/>
                  </a:cubicBezTo>
                  <a:cubicBezTo>
                    <a:pt x="11" y="3"/>
                    <a:pt x="10" y="2"/>
                    <a:pt x="10" y="3"/>
                  </a:cubicBezTo>
                  <a:cubicBezTo>
                    <a:pt x="9" y="4"/>
                    <a:pt x="7" y="0"/>
                    <a:pt x="4" y="1"/>
                  </a:cubicBezTo>
                  <a:cubicBezTo>
                    <a:pt x="0" y="1"/>
                    <a:pt x="0" y="0"/>
                    <a:pt x="0" y="3"/>
                  </a:cubicBezTo>
                  <a:cubicBezTo>
                    <a:pt x="1" y="4"/>
                    <a:pt x="0" y="5"/>
                    <a:pt x="2" y="5"/>
                  </a:cubicBezTo>
                  <a:cubicBezTo>
                    <a:pt x="5" y="5"/>
                    <a:pt x="7" y="7"/>
                    <a:pt x="7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5" name="Freeform 1340"/>
            <p:cNvSpPr>
              <a:spLocks/>
            </p:cNvSpPr>
            <p:nvPr/>
          </p:nvSpPr>
          <p:spPr bwMode="auto">
            <a:xfrm>
              <a:off x="2787" y="3046"/>
              <a:ext cx="346" cy="343"/>
            </a:xfrm>
            <a:custGeom>
              <a:avLst/>
              <a:gdLst>
                <a:gd name="T0" fmla="*/ 397 w 528"/>
                <a:gd name="T1" fmla="*/ 473 h 523"/>
                <a:gd name="T2" fmla="*/ 367 w 528"/>
                <a:gd name="T3" fmla="*/ 453 h 523"/>
                <a:gd name="T4" fmla="*/ 338 w 528"/>
                <a:gd name="T5" fmla="*/ 409 h 523"/>
                <a:gd name="T6" fmla="*/ 316 w 528"/>
                <a:gd name="T7" fmla="*/ 376 h 523"/>
                <a:gd name="T8" fmla="*/ 237 w 528"/>
                <a:gd name="T9" fmla="*/ 297 h 523"/>
                <a:gd name="T10" fmla="*/ 237 w 528"/>
                <a:gd name="T11" fmla="*/ 272 h 523"/>
                <a:gd name="T12" fmla="*/ 203 w 528"/>
                <a:gd name="T13" fmla="*/ 223 h 523"/>
                <a:gd name="T14" fmla="*/ 250 w 528"/>
                <a:gd name="T15" fmla="*/ 196 h 523"/>
                <a:gd name="T16" fmla="*/ 296 w 528"/>
                <a:gd name="T17" fmla="*/ 173 h 523"/>
                <a:gd name="T18" fmla="*/ 326 w 528"/>
                <a:gd name="T19" fmla="*/ 175 h 523"/>
                <a:gd name="T20" fmla="*/ 339 w 528"/>
                <a:gd name="T21" fmla="*/ 173 h 523"/>
                <a:gd name="T22" fmla="*/ 402 w 528"/>
                <a:gd name="T23" fmla="*/ 177 h 523"/>
                <a:gd name="T24" fmla="*/ 439 w 528"/>
                <a:gd name="T25" fmla="*/ 181 h 523"/>
                <a:gd name="T26" fmla="*/ 449 w 528"/>
                <a:gd name="T27" fmla="*/ 190 h 523"/>
                <a:gd name="T28" fmla="*/ 476 w 528"/>
                <a:gd name="T29" fmla="*/ 213 h 523"/>
                <a:gd name="T30" fmla="*/ 504 w 528"/>
                <a:gd name="T31" fmla="*/ 202 h 523"/>
                <a:gd name="T32" fmla="*/ 506 w 528"/>
                <a:gd name="T33" fmla="*/ 169 h 523"/>
                <a:gd name="T34" fmla="*/ 508 w 528"/>
                <a:gd name="T35" fmla="*/ 161 h 523"/>
                <a:gd name="T36" fmla="*/ 500 w 528"/>
                <a:gd name="T37" fmla="*/ 133 h 523"/>
                <a:gd name="T38" fmla="*/ 474 w 528"/>
                <a:gd name="T39" fmla="*/ 79 h 523"/>
                <a:gd name="T40" fmla="*/ 452 w 528"/>
                <a:gd name="T41" fmla="*/ 95 h 523"/>
                <a:gd name="T42" fmla="*/ 341 w 528"/>
                <a:gd name="T43" fmla="*/ 74 h 523"/>
                <a:gd name="T44" fmla="*/ 273 w 528"/>
                <a:gd name="T45" fmla="*/ 7 h 523"/>
                <a:gd name="T46" fmla="*/ 246 w 528"/>
                <a:gd name="T47" fmla="*/ 21 h 523"/>
                <a:gd name="T48" fmla="*/ 188 w 528"/>
                <a:gd name="T49" fmla="*/ 53 h 523"/>
                <a:gd name="T50" fmla="*/ 160 w 528"/>
                <a:gd name="T51" fmla="*/ 103 h 523"/>
                <a:gd name="T52" fmla="*/ 162 w 528"/>
                <a:gd name="T53" fmla="*/ 125 h 523"/>
                <a:gd name="T54" fmla="*/ 128 w 528"/>
                <a:gd name="T55" fmla="*/ 131 h 523"/>
                <a:gd name="T56" fmla="*/ 96 w 528"/>
                <a:gd name="T57" fmla="*/ 112 h 523"/>
                <a:gd name="T58" fmla="*/ 8 w 528"/>
                <a:gd name="T59" fmla="*/ 135 h 523"/>
                <a:gd name="T60" fmla="*/ 1 w 528"/>
                <a:gd name="T61" fmla="*/ 132 h 523"/>
                <a:gd name="T62" fmla="*/ 4 w 528"/>
                <a:gd name="T63" fmla="*/ 154 h 523"/>
                <a:gd name="T64" fmla="*/ 9 w 528"/>
                <a:gd name="T65" fmla="*/ 178 h 523"/>
                <a:gd name="T66" fmla="*/ 21 w 528"/>
                <a:gd name="T67" fmla="*/ 179 h 523"/>
                <a:gd name="T68" fmla="*/ 32 w 528"/>
                <a:gd name="T69" fmla="*/ 217 h 523"/>
                <a:gd name="T70" fmla="*/ 37 w 528"/>
                <a:gd name="T71" fmla="*/ 225 h 523"/>
                <a:gd name="T72" fmla="*/ 41 w 528"/>
                <a:gd name="T73" fmla="*/ 220 h 523"/>
                <a:gd name="T74" fmla="*/ 50 w 528"/>
                <a:gd name="T75" fmla="*/ 200 h 523"/>
                <a:gd name="T76" fmla="*/ 60 w 528"/>
                <a:gd name="T77" fmla="*/ 198 h 523"/>
                <a:gd name="T78" fmla="*/ 74 w 528"/>
                <a:gd name="T79" fmla="*/ 151 h 523"/>
                <a:gd name="T80" fmla="*/ 125 w 528"/>
                <a:gd name="T81" fmla="*/ 235 h 523"/>
                <a:gd name="T82" fmla="*/ 179 w 528"/>
                <a:gd name="T83" fmla="*/ 290 h 523"/>
                <a:gd name="T84" fmla="*/ 158 w 528"/>
                <a:gd name="T85" fmla="*/ 289 h 523"/>
                <a:gd name="T86" fmla="*/ 144 w 528"/>
                <a:gd name="T87" fmla="*/ 289 h 523"/>
                <a:gd name="T88" fmla="*/ 219 w 528"/>
                <a:gd name="T89" fmla="*/ 361 h 523"/>
                <a:gd name="T90" fmla="*/ 220 w 528"/>
                <a:gd name="T91" fmla="*/ 384 h 523"/>
                <a:gd name="T92" fmla="*/ 255 w 528"/>
                <a:gd name="T93" fmla="*/ 378 h 523"/>
                <a:gd name="T94" fmla="*/ 259 w 528"/>
                <a:gd name="T95" fmla="*/ 382 h 523"/>
                <a:gd name="T96" fmla="*/ 302 w 528"/>
                <a:gd name="T97" fmla="*/ 396 h 523"/>
                <a:gd name="T98" fmla="*/ 342 w 528"/>
                <a:gd name="T99" fmla="*/ 432 h 523"/>
                <a:gd name="T100" fmla="*/ 357 w 528"/>
                <a:gd name="T101" fmla="*/ 443 h 523"/>
                <a:gd name="T102" fmla="*/ 365 w 528"/>
                <a:gd name="T103" fmla="*/ 457 h 523"/>
                <a:gd name="T104" fmla="*/ 374 w 528"/>
                <a:gd name="T105" fmla="*/ 464 h 523"/>
                <a:gd name="T106" fmla="*/ 322 w 528"/>
                <a:gd name="T107" fmla="*/ 449 h 523"/>
                <a:gd name="T108" fmla="*/ 380 w 528"/>
                <a:gd name="T109" fmla="*/ 472 h 523"/>
                <a:gd name="T110" fmla="*/ 448 w 528"/>
                <a:gd name="T111" fmla="*/ 521 h 523"/>
                <a:gd name="T112" fmla="*/ 442 w 528"/>
                <a:gd name="T113" fmla="*/ 50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8" h="523">
                  <a:moveTo>
                    <a:pt x="437" y="494"/>
                  </a:moveTo>
                  <a:cubicBezTo>
                    <a:pt x="425" y="488"/>
                    <a:pt x="409" y="484"/>
                    <a:pt x="397" y="473"/>
                  </a:cubicBezTo>
                  <a:cubicBezTo>
                    <a:pt x="392" y="469"/>
                    <a:pt x="391" y="460"/>
                    <a:pt x="385" y="457"/>
                  </a:cubicBezTo>
                  <a:cubicBezTo>
                    <a:pt x="381" y="455"/>
                    <a:pt x="371" y="460"/>
                    <a:pt x="367" y="453"/>
                  </a:cubicBezTo>
                  <a:cubicBezTo>
                    <a:pt x="364" y="449"/>
                    <a:pt x="372" y="453"/>
                    <a:pt x="373" y="448"/>
                  </a:cubicBezTo>
                  <a:cubicBezTo>
                    <a:pt x="379" y="436"/>
                    <a:pt x="342" y="418"/>
                    <a:pt x="338" y="409"/>
                  </a:cubicBezTo>
                  <a:cubicBezTo>
                    <a:pt x="338" y="409"/>
                    <a:pt x="335" y="388"/>
                    <a:pt x="335" y="388"/>
                  </a:cubicBezTo>
                  <a:cubicBezTo>
                    <a:pt x="333" y="384"/>
                    <a:pt x="320" y="381"/>
                    <a:pt x="316" y="376"/>
                  </a:cubicBezTo>
                  <a:cubicBezTo>
                    <a:pt x="304" y="363"/>
                    <a:pt x="257" y="301"/>
                    <a:pt x="246" y="297"/>
                  </a:cubicBezTo>
                  <a:cubicBezTo>
                    <a:pt x="243" y="296"/>
                    <a:pt x="239" y="299"/>
                    <a:pt x="237" y="297"/>
                  </a:cubicBezTo>
                  <a:cubicBezTo>
                    <a:pt x="233" y="292"/>
                    <a:pt x="244" y="282"/>
                    <a:pt x="244" y="280"/>
                  </a:cubicBezTo>
                  <a:cubicBezTo>
                    <a:pt x="245" y="276"/>
                    <a:pt x="239" y="275"/>
                    <a:pt x="237" y="272"/>
                  </a:cubicBezTo>
                  <a:cubicBezTo>
                    <a:pt x="230" y="260"/>
                    <a:pt x="227" y="244"/>
                    <a:pt x="219" y="234"/>
                  </a:cubicBezTo>
                  <a:cubicBezTo>
                    <a:pt x="219" y="234"/>
                    <a:pt x="203" y="223"/>
                    <a:pt x="203" y="223"/>
                  </a:cubicBezTo>
                  <a:cubicBezTo>
                    <a:pt x="195" y="214"/>
                    <a:pt x="200" y="165"/>
                    <a:pt x="217" y="167"/>
                  </a:cubicBezTo>
                  <a:cubicBezTo>
                    <a:pt x="228" y="168"/>
                    <a:pt x="242" y="189"/>
                    <a:pt x="250" y="196"/>
                  </a:cubicBezTo>
                  <a:cubicBezTo>
                    <a:pt x="261" y="196"/>
                    <a:pt x="261" y="177"/>
                    <a:pt x="268" y="171"/>
                  </a:cubicBezTo>
                  <a:cubicBezTo>
                    <a:pt x="280" y="160"/>
                    <a:pt x="284" y="175"/>
                    <a:pt x="296" y="173"/>
                  </a:cubicBezTo>
                  <a:cubicBezTo>
                    <a:pt x="296" y="173"/>
                    <a:pt x="305" y="162"/>
                    <a:pt x="305" y="162"/>
                  </a:cubicBezTo>
                  <a:cubicBezTo>
                    <a:pt x="313" y="161"/>
                    <a:pt x="318" y="172"/>
                    <a:pt x="326" y="175"/>
                  </a:cubicBezTo>
                  <a:cubicBezTo>
                    <a:pt x="328" y="176"/>
                    <a:pt x="331" y="177"/>
                    <a:pt x="333" y="177"/>
                  </a:cubicBezTo>
                  <a:cubicBezTo>
                    <a:pt x="336" y="177"/>
                    <a:pt x="337" y="173"/>
                    <a:pt x="339" y="173"/>
                  </a:cubicBezTo>
                  <a:cubicBezTo>
                    <a:pt x="352" y="173"/>
                    <a:pt x="375" y="190"/>
                    <a:pt x="388" y="190"/>
                  </a:cubicBezTo>
                  <a:cubicBezTo>
                    <a:pt x="402" y="190"/>
                    <a:pt x="390" y="181"/>
                    <a:pt x="402" y="177"/>
                  </a:cubicBezTo>
                  <a:cubicBezTo>
                    <a:pt x="407" y="175"/>
                    <a:pt x="411" y="184"/>
                    <a:pt x="417" y="186"/>
                  </a:cubicBezTo>
                  <a:cubicBezTo>
                    <a:pt x="421" y="187"/>
                    <a:pt x="426" y="176"/>
                    <a:pt x="439" y="181"/>
                  </a:cubicBezTo>
                  <a:cubicBezTo>
                    <a:pt x="441" y="182"/>
                    <a:pt x="442" y="184"/>
                    <a:pt x="444" y="186"/>
                  </a:cubicBezTo>
                  <a:cubicBezTo>
                    <a:pt x="446" y="187"/>
                    <a:pt x="447" y="190"/>
                    <a:pt x="449" y="190"/>
                  </a:cubicBezTo>
                  <a:cubicBezTo>
                    <a:pt x="452" y="189"/>
                    <a:pt x="450" y="184"/>
                    <a:pt x="452" y="183"/>
                  </a:cubicBezTo>
                  <a:cubicBezTo>
                    <a:pt x="468" y="180"/>
                    <a:pt x="470" y="210"/>
                    <a:pt x="476" y="213"/>
                  </a:cubicBezTo>
                  <a:cubicBezTo>
                    <a:pt x="482" y="215"/>
                    <a:pt x="488" y="215"/>
                    <a:pt x="494" y="213"/>
                  </a:cubicBezTo>
                  <a:cubicBezTo>
                    <a:pt x="486" y="202"/>
                    <a:pt x="500" y="209"/>
                    <a:pt x="504" y="202"/>
                  </a:cubicBezTo>
                  <a:cubicBezTo>
                    <a:pt x="506" y="199"/>
                    <a:pt x="495" y="186"/>
                    <a:pt x="498" y="179"/>
                  </a:cubicBezTo>
                  <a:cubicBezTo>
                    <a:pt x="501" y="174"/>
                    <a:pt x="503" y="179"/>
                    <a:pt x="506" y="169"/>
                  </a:cubicBezTo>
                  <a:cubicBezTo>
                    <a:pt x="507" y="164"/>
                    <a:pt x="528" y="186"/>
                    <a:pt x="528" y="167"/>
                  </a:cubicBezTo>
                  <a:cubicBezTo>
                    <a:pt x="520" y="165"/>
                    <a:pt x="515" y="165"/>
                    <a:pt x="508" y="161"/>
                  </a:cubicBezTo>
                  <a:cubicBezTo>
                    <a:pt x="493" y="152"/>
                    <a:pt x="483" y="138"/>
                    <a:pt x="491" y="133"/>
                  </a:cubicBezTo>
                  <a:cubicBezTo>
                    <a:pt x="492" y="132"/>
                    <a:pt x="499" y="138"/>
                    <a:pt x="500" y="133"/>
                  </a:cubicBezTo>
                  <a:cubicBezTo>
                    <a:pt x="502" y="123"/>
                    <a:pt x="482" y="132"/>
                    <a:pt x="482" y="122"/>
                  </a:cubicBezTo>
                  <a:cubicBezTo>
                    <a:pt x="482" y="101"/>
                    <a:pt x="487" y="103"/>
                    <a:pt x="474" y="79"/>
                  </a:cubicBezTo>
                  <a:cubicBezTo>
                    <a:pt x="471" y="80"/>
                    <a:pt x="468" y="80"/>
                    <a:pt x="464" y="80"/>
                  </a:cubicBezTo>
                  <a:cubicBezTo>
                    <a:pt x="456" y="80"/>
                    <a:pt x="457" y="92"/>
                    <a:pt x="452" y="95"/>
                  </a:cubicBezTo>
                  <a:cubicBezTo>
                    <a:pt x="423" y="115"/>
                    <a:pt x="389" y="88"/>
                    <a:pt x="365" y="78"/>
                  </a:cubicBezTo>
                  <a:cubicBezTo>
                    <a:pt x="359" y="76"/>
                    <a:pt x="345" y="79"/>
                    <a:pt x="341" y="74"/>
                  </a:cubicBezTo>
                  <a:cubicBezTo>
                    <a:pt x="341" y="74"/>
                    <a:pt x="332" y="55"/>
                    <a:pt x="332" y="55"/>
                  </a:cubicBezTo>
                  <a:cubicBezTo>
                    <a:pt x="318" y="36"/>
                    <a:pt x="300" y="31"/>
                    <a:pt x="273" y="7"/>
                  </a:cubicBezTo>
                  <a:cubicBezTo>
                    <a:pt x="267" y="5"/>
                    <a:pt x="256" y="0"/>
                    <a:pt x="250" y="2"/>
                  </a:cubicBezTo>
                  <a:cubicBezTo>
                    <a:pt x="239" y="5"/>
                    <a:pt x="253" y="16"/>
                    <a:pt x="246" y="21"/>
                  </a:cubicBezTo>
                  <a:cubicBezTo>
                    <a:pt x="239" y="26"/>
                    <a:pt x="236" y="21"/>
                    <a:pt x="229" y="27"/>
                  </a:cubicBezTo>
                  <a:cubicBezTo>
                    <a:pt x="222" y="34"/>
                    <a:pt x="184" y="36"/>
                    <a:pt x="188" y="53"/>
                  </a:cubicBezTo>
                  <a:cubicBezTo>
                    <a:pt x="190" y="62"/>
                    <a:pt x="207" y="78"/>
                    <a:pt x="195" y="91"/>
                  </a:cubicBezTo>
                  <a:cubicBezTo>
                    <a:pt x="187" y="99"/>
                    <a:pt x="168" y="87"/>
                    <a:pt x="160" y="103"/>
                  </a:cubicBezTo>
                  <a:cubicBezTo>
                    <a:pt x="159" y="103"/>
                    <a:pt x="170" y="112"/>
                    <a:pt x="170" y="114"/>
                  </a:cubicBezTo>
                  <a:cubicBezTo>
                    <a:pt x="169" y="116"/>
                    <a:pt x="157" y="115"/>
                    <a:pt x="162" y="125"/>
                  </a:cubicBezTo>
                  <a:cubicBezTo>
                    <a:pt x="163" y="129"/>
                    <a:pt x="167" y="135"/>
                    <a:pt x="164" y="139"/>
                  </a:cubicBezTo>
                  <a:cubicBezTo>
                    <a:pt x="157" y="150"/>
                    <a:pt x="135" y="130"/>
                    <a:pt x="128" y="131"/>
                  </a:cubicBezTo>
                  <a:cubicBezTo>
                    <a:pt x="121" y="132"/>
                    <a:pt x="123" y="141"/>
                    <a:pt x="113" y="133"/>
                  </a:cubicBezTo>
                  <a:cubicBezTo>
                    <a:pt x="95" y="119"/>
                    <a:pt x="100" y="106"/>
                    <a:pt x="96" y="112"/>
                  </a:cubicBezTo>
                  <a:cubicBezTo>
                    <a:pt x="96" y="112"/>
                    <a:pt x="88" y="129"/>
                    <a:pt x="88" y="129"/>
                  </a:cubicBezTo>
                  <a:cubicBezTo>
                    <a:pt x="83" y="134"/>
                    <a:pt x="15" y="139"/>
                    <a:pt x="8" y="135"/>
                  </a:cubicBezTo>
                  <a:cubicBezTo>
                    <a:pt x="8" y="135"/>
                    <a:pt x="7" y="135"/>
                    <a:pt x="6" y="134"/>
                  </a:cubicBezTo>
                  <a:cubicBezTo>
                    <a:pt x="5" y="133"/>
                    <a:pt x="1" y="132"/>
                    <a:pt x="1" y="132"/>
                  </a:cubicBezTo>
                  <a:cubicBezTo>
                    <a:pt x="0" y="135"/>
                    <a:pt x="2" y="135"/>
                    <a:pt x="2" y="136"/>
                  </a:cubicBezTo>
                  <a:cubicBezTo>
                    <a:pt x="2" y="142"/>
                    <a:pt x="3" y="150"/>
                    <a:pt x="4" y="154"/>
                  </a:cubicBezTo>
                  <a:cubicBezTo>
                    <a:pt x="5" y="156"/>
                    <a:pt x="10" y="155"/>
                    <a:pt x="10" y="156"/>
                  </a:cubicBezTo>
                  <a:cubicBezTo>
                    <a:pt x="9" y="162"/>
                    <a:pt x="8" y="169"/>
                    <a:pt x="9" y="178"/>
                  </a:cubicBezTo>
                  <a:cubicBezTo>
                    <a:pt x="9" y="180"/>
                    <a:pt x="15" y="178"/>
                    <a:pt x="16" y="178"/>
                  </a:cubicBezTo>
                  <a:cubicBezTo>
                    <a:pt x="17" y="178"/>
                    <a:pt x="22" y="179"/>
                    <a:pt x="21" y="179"/>
                  </a:cubicBezTo>
                  <a:cubicBezTo>
                    <a:pt x="1" y="185"/>
                    <a:pt x="19" y="188"/>
                    <a:pt x="25" y="201"/>
                  </a:cubicBezTo>
                  <a:cubicBezTo>
                    <a:pt x="29" y="210"/>
                    <a:pt x="27" y="217"/>
                    <a:pt x="32" y="217"/>
                  </a:cubicBezTo>
                  <a:cubicBezTo>
                    <a:pt x="33" y="217"/>
                    <a:pt x="33" y="218"/>
                    <a:pt x="34" y="218"/>
                  </a:cubicBezTo>
                  <a:cubicBezTo>
                    <a:pt x="34" y="219"/>
                    <a:pt x="37" y="225"/>
                    <a:pt x="37" y="225"/>
                  </a:cubicBezTo>
                  <a:cubicBezTo>
                    <a:pt x="40" y="225"/>
                    <a:pt x="35" y="215"/>
                    <a:pt x="38" y="219"/>
                  </a:cubicBezTo>
                  <a:cubicBezTo>
                    <a:pt x="39" y="220"/>
                    <a:pt x="39" y="220"/>
                    <a:pt x="41" y="220"/>
                  </a:cubicBezTo>
                  <a:cubicBezTo>
                    <a:pt x="48" y="219"/>
                    <a:pt x="40" y="213"/>
                    <a:pt x="43" y="209"/>
                  </a:cubicBezTo>
                  <a:cubicBezTo>
                    <a:pt x="45" y="205"/>
                    <a:pt x="50" y="207"/>
                    <a:pt x="50" y="200"/>
                  </a:cubicBezTo>
                  <a:cubicBezTo>
                    <a:pt x="51" y="198"/>
                    <a:pt x="44" y="193"/>
                    <a:pt x="49" y="191"/>
                  </a:cubicBezTo>
                  <a:cubicBezTo>
                    <a:pt x="51" y="191"/>
                    <a:pt x="55" y="210"/>
                    <a:pt x="60" y="198"/>
                  </a:cubicBezTo>
                  <a:cubicBezTo>
                    <a:pt x="64" y="190"/>
                    <a:pt x="57" y="183"/>
                    <a:pt x="63" y="181"/>
                  </a:cubicBezTo>
                  <a:cubicBezTo>
                    <a:pt x="70" y="179"/>
                    <a:pt x="67" y="151"/>
                    <a:pt x="74" y="151"/>
                  </a:cubicBezTo>
                  <a:cubicBezTo>
                    <a:pt x="84" y="152"/>
                    <a:pt x="126" y="181"/>
                    <a:pt x="127" y="200"/>
                  </a:cubicBezTo>
                  <a:cubicBezTo>
                    <a:pt x="128" y="210"/>
                    <a:pt x="119" y="225"/>
                    <a:pt x="125" y="235"/>
                  </a:cubicBezTo>
                  <a:cubicBezTo>
                    <a:pt x="134" y="249"/>
                    <a:pt x="146" y="263"/>
                    <a:pt x="159" y="276"/>
                  </a:cubicBezTo>
                  <a:cubicBezTo>
                    <a:pt x="163" y="280"/>
                    <a:pt x="183" y="291"/>
                    <a:pt x="179" y="290"/>
                  </a:cubicBezTo>
                  <a:cubicBezTo>
                    <a:pt x="168" y="286"/>
                    <a:pt x="155" y="276"/>
                    <a:pt x="160" y="289"/>
                  </a:cubicBezTo>
                  <a:cubicBezTo>
                    <a:pt x="162" y="292"/>
                    <a:pt x="158" y="289"/>
                    <a:pt x="158" y="289"/>
                  </a:cubicBezTo>
                  <a:cubicBezTo>
                    <a:pt x="152" y="283"/>
                    <a:pt x="151" y="284"/>
                    <a:pt x="153" y="288"/>
                  </a:cubicBezTo>
                  <a:cubicBezTo>
                    <a:pt x="154" y="294"/>
                    <a:pt x="146" y="283"/>
                    <a:pt x="144" y="289"/>
                  </a:cubicBezTo>
                  <a:cubicBezTo>
                    <a:pt x="140" y="310"/>
                    <a:pt x="186" y="328"/>
                    <a:pt x="195" y="345"/>
                  </a:cubicBezTo>
                  <a:cubicBezTo>
                    <a:pt x="200" y="356"/>
                    <a:pt x="214" y="354"/>
                    <a:pt x="219" y="361"/>
                  </a:cubicBezTo>
                  <a:cubicBezTo>
                    <a:pt x="222" y="365"/>
                    <a:pt x="214" y="371"/>
                    <a:pt x="222" y="379"/>
                  </a:cubicBezTo>
                  <a:cubicBezTo>
                    <a:pt x="225" y="381"/>
                    <a:pt x="219" y="383"/>
                    <a:pt x="220" y="384"/>
                  </a:cubicBezTo>
                  <a:cubicBezTo>
                    <a:pt x="220" y="385"/>
                    <a:pt x="224" y="384"/>
                    <a:pt x="226" y="385"/>
                  </a:cubicBezTo>
                  <a:cubicBezTo>
                    <a:pt x="238" y="392"/>
                    <a:pt x="236" y="378"/>
                    <a:pt x="255" y="378"/>
                  </a:cubicBezTo>
                  <a:cubicBezTo>
                    <a:pt x="257" y="378"/>
                    <a:pt x="260" y="378"/>
                    <a:pt x="262" y="378"/>
                  </a:cubicBezTo>
                  <a:cubicBezTo>
                    <a:pt x="268" y="379"/>
                    <a:pt x="263" y="382"/>
                    <a:pt x="259" y="382"/>
                  </a:cubicBezTo>
                  <a:cubicBezTo>
                    <a:pt x="258" y="383"/>
                    <a:pt x="259" y="383"/>
                    <a:pt x="260" y="383"/>
                  </a:cubicBezTo>
                  <a:cubicBezTo>
                    <a:pt x="273" y="387"/>
                    <a:pt x="289" y="390"/>
                    <a:pt x="302" y="396"/>
                  </a:cubicBezTo>
                  <a:cubicBezTo>
                    <a:pt x="309" y="399"/>
                    <a:pt x="315" y="412"/>
                    <a:pt x="319" y="417"/>
                  </a:cubicBezTo>
                  <a:cubicBezTo>
                    <a:pt x="324" y="424"/>
                    <a:pt x="337" y="426"/>
                    <a:pt x="342" y="432"/>
                  </a:cubicBezTo>
                  <a:cubicBezTo>
                    <a:pt x="345" y="436"/>
                    <a:pt x="347" y="446"/>
                    <a:pt x="352" y="444"/>
                  </a:cubicBezTo>
                  <a:cubicBezTo>
                    <a:pt x="353" y="444"/>
                    <a:pt x="356" y="442"/>
                    <a:pt x="357" y="443"/>
                  </a:cubicBezTo>
                  <a:cubicBezTo>
                    <a:pt x="358" y="444"/>
                    <a:pt x="354" y="446"/>
                    <a:pt x="355" y="448"/>
                  </a:cubicBezTo>
                  <a:cubicBezTo>
                    <a:pt x="357" y="451"/>
                    <a:pt x="362" y="454"/>
                    <a:pt x="365" y="457"/>
                  </a:cubicBezTo>
                  <a:cubicBezTo>
                    <a:pt x="369" y="459"/>
                    <a:pt x="379" y="467"/>
                    <a:pt x="379" y="467"/>
                  </a:cubicBezTo>
                  <a:cubicBezTo>
                    <a:pt x="377" y="467"/>
                    <a:pt x="375" y="465"/>
                    <a:pt x="374" y="464"/>
                  </a:cubicBezTo>
                  <a:cubicBezTo>
                    <a:pt x="368" y="459"/>
                    <a:pt x="313" y="434"/>
                    <a:pt x="314" y="446"/>
                  </a:cubicBezTo>
                  <a:cubicBezTo>
                    <a:pt x="314" y="447"/>
                    <a:pt x="321" y="449"/>
                    <a:pt x="322" y="449"/>
                  </a:cubicBezTo>
                  <a:cubicBezTo>
                    <a:pt x="328" y="450"/>
                    <a:pt x="379" y="472"/>
                    <a:pt x="379" y="473"/>
                  </a:cubicBezTo>
                  <a:cubicBezTo>
                    <a:pt x="381" y="477"/>
                    <a:pt x="381" y="475"/>
                    <a:pt x="380" y="472"/>
                  </a:cubicBezTo>
                  <a:cubicBezTo>
                    <a:pt x="378" y="468"/>
                    <a:pt x="411" y="488"/>
                    <a:pt x="420" y="493"/>
                  </a:cubicBezTo>
                  <a:cubicBezTo>
                    <a:pt x="426" y="496"/>
                    <a:pt x="439" y="523"/>
                    <a:pt x="448" y="521"/>
                  </a:cubicBezTo>
                  <a:cubicBezTo>
                    <a:pt x="450" y="521"/>
                    <a:pt x="445" y="514"/>
                    <a:pt x="448" y="514"/>
                  </a:cubicBezTo>
                  <a:cubicBezTo>
                    <a:pt x="442" y="500"/>
                    <a:pt x="442" y="500"/>
                    <a:pt x="442" y="500"/>
                  </a:cubicBezTo>
                  <a:cubicBezTo>
                    <a:pt x="441" y="497"/>
                    <a:pt x="439" y="495"/>
                    <a:pt x="437" y="49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6" name="Freeform 1341"/>
            <p:cNvSpPr>
              <a:spLocks/>
            </p:cNvSpPr>
            <p:nvPr/>
          </p:nvSpPr>
          <p:spPr bwMode="auto">
            <a:xfrm>
              <a:off x="2857" y="3233"/>
              <a:ext cx="3" cy="2"/>
            </a:xfrm>
            <a:custGeom>
              <a:avLst/>
              <a:gdLst>
                <a:gd name="T0" fmla="*/ 1 w 5"/>
                <a:gd name="T1" fmla="*/ 0 h 3"/>
                <a:gd name="T2" fmla="*/ 1 w 5"/>
                <a:gd name="T3" fmla="*/ 2 h 3"/>
                <a:gd name="T4" fmla="*/ 3 w 5"/>
                <a:gd name="T5" fmla="*/ 3 h 3"/>
                <a:gd name="T6" fmla="*/ 1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1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2" y="2"/>
                    <a:pt x="1" y="3"/>
                    <a:pt x="3" y="3"/>
                  </a:cubicBezTo>
                  <a:cubicBezTo>
                    <a:pt x="5" y="3"/>
                    <a:pt x="2" y="0"/>
                    <a:pt x="1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7" name="Freeform 1342"/>
            <p:cNvSpPr>
              <a:spLocks/>
            </p:cNvSpPr>
            <p:nvPr/>
          </p:nvSpPr>
          <p:spPr bwMode="auto">
            <a:xfrm>
              <a:off x="2969" y="3378"/>
              <a:ext cx="25" cy="10"/>
            </a:xfrm>
            <a:custGeom>
              <a:avLst/>
              <a:gdLst>
                <a:gd name="T0" fmla="*/ 6 w 39"/>
                <a:gd name="T1" fmla="*/ 6 h 16"/>
                <a:gd name="T2" fmla="*/ 39 w 39"/>
                <a:gd name="T3" fmla="*/ 14 h 16"/>
                <a:gd name="T4" fmla="*/ 37 w 39"/>
                <a:gd name="T5" fmla="*/ 11 h 16"/>
                <a:gd name="T6" fmla="*/ 9 w 39"/>
                <a:gd name="T7" fmla="*/ 2 h 16"/>
                <a:gd name="T8" fmla="*/ 9 w 39"/>
                <a:gd name="T9" fmla="*/ 2 h 16"/>
                <a:gd name="T10" fmla="*/ 6 w 39"/>
                <a:gd name="T11" fmla="*/ 1 h 16"/>
                <a:gd name="T12" fmla="*/ 1 w 39"/>
                <a:gd name="T13" fmla="*/ 2 h 16"/>
                <a:gd name="T14" fmla="*/ 6 w 39"/>
                <a:gd name="T15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16">
                  <a:moveTo>
                    <a:pt x="6" y="6"/>
                  </a:moveTo>
                  <a:cubicBezTo>
                    <a:pt x="11" y="5"/>
                    <a:pt x="35" y="16"/>
                    <a:pt x="39" y="14"/>
                  </a:cubicBezTo>
                  <a:cubicBezTo>
                    <a:pt x="39" y="13"/>
                    <a:pt x="38" y="12"/>
                    <a:pt x="37" y="11"/>
                  </a:cubicBezTo>
                  <a:cubicBezTo>
                    <a:pt x="32" y="8"/>
                    <a:pt x="16" y="1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6" y="1"/>
                    <a:pt x="6" y="1"/>
                  </a:cubicBezTo>
                  <a:cubicBezTo>
                    <a:pt x="4" y="0"/>
                    <a:pt x="1" y="0"/>
                    <a:pt x="1" y="2"/>
                  </a:cubicBezTo>
                  <a:cubicBezTo>
                    <a:pt x="0" y="3"/>
                    <a:pt x="5" y="6"/>
                    <a:pt x="6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8" name="Freeform 1343"/>
            <p:cNvSpPr>
              <a:spLocks/>
            </p:cNvSpPr>
            <p:nvPr/>
          </p:nvSpPr>
          <p:spPr bwMode="auto">
            <a:xfrm>
              <a:off x="2971" y="3330"/>
              <a:ext cx="6" cy="2"/>
            </a:xfrm>
            <a:custGeom>
              <a:avLst/>
              <a:gdLst>
                <a:gd name="T0" fmla="*/ 3 w 10"/>
                <a:gd name="T1" fmla="*/ 1 h 3"/>
                <a:gd name="T2" fmla="*/ 9 w 10"/>
                <a:gd name="T3" fmla="*/ 2 h 3"/>
                <a:gd name="T4" fmla="*/ 3 w 10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3">
                  <a:moveTo>
                    <a:pt x="3" y="1"/>
                  </a:moveTo>
                  <a:cubicBezTo>
                    <a:pt x="0" y="2"/>
                    <a:pt x="7" y="3"/>
                    <a:pt x="9" y="2"/>
                  </a:cubicBezTo>
                  <a:cubicBezTo>
                    <a:pt x="10" y="1"/>
                    <a:pt x="5" y="0"/>
                    <a:pt x="3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69" name="Freeform 1344"/>
            <p:cNvSpPr>
              <a:spLocks/>
            </p:cNvSpPr>
            <p:nvPr/>
          </p:nvSpPr>
          <p:spPr bwMode="auto">
            <a:xfrm>
              <a:off x="2973" y="3378"/>
              <a:ext cx="2" cy="0"/>
            </a:xfrm>
            <a:custGeom>
              <a:avLst/>
              <a:gdLst>
                <a:gd name="T0" fmla="*/ 2 w 3"/>
                <a:gd name="T1" fmla="*/ 1 h 1"/>
                <a:gd name="T2" fmla="*/ 0 w 3"/>
                <a:gd name="T3" fmla="*/ 1 h 1"/>
                <a:gd name="T4" fmla="*/ 2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2" y="1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2" y="1"/>
                    <a:pt x="3" y="1"/>
                    <a:pt x="2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0" name="Freeform 1345"/>
            <p:cNvSpPr>
              <a:spLocks/>
            </p:cNvSpPr>
            <p:nvPr/>
          </p:nvSpPr>
          <p:spPr bwMode="auto">
            <a:xfrm>
              <a:off x="2958" y="3306"/>
              <a:ext cx="29" cy="12"/>
            </a:xfrm>
            <a:custGeom>
              <a:avLst/>
              <a:gdLst>
                <a:gd name="T0" fmla="*/ 0 w 44"/>
                <a:gd name="T1" fmla="*/ 9 h 18"/>
                <a:gd name="T2" fmla="*/ 2 w 44"/>
                <a:gd name="T3" fmla="*/ 11 h 18"/>
                <a:gd name="T4" fmla="*/ 4 w 44"/>
                <a:gd name="T5" fmla="*/ 12 h 18"/>
                <a:gd name="T6" fmla="*/ 5 w 44"/>
                <a:gd name="T7" fmla="*/ 12 h 18"/>
                <a:gd name="T8" fmla="*/ 8 w 44"/>
                <a:gd name="T9" fmla="*/ 15 h 18"/>
                <a:gd name="T10" fmla="*/ 16 w 44"/>
                <a:gd name="T11" fmla="*/ 17 h 18"/>
                <a:gd name="T12" fmla="*/ 23 w 44"/>
                <a:gd name="T13" fmla="*/ 18 h 18"/>
                <a:gd name="T14" fmla="*/ 30 w 44"/>
                <a:gd name="T15" fmla="*/ 17 h 18"/>
                <a:gd name="T16" fmla="*/ 37 w 44"/>
                <a:gd name="T17" fmla="*/ 16 h 18"/>
                <a:gd name="T18" fmla="*/ 41 w 44"/>
                <a:gd name="T19" fmla="*/ 14 h 18"/>
                <a:gd name="T20" fmla="*/ 40 w 44"/>
                <a:gd name="T21" fmla="*/ 8 h 18"/>
                <a:gd name="T22" fmla="*/ 36 w 44"/>
                <a:gd name="T23" fmla="*/ 8 h 18"/>
                <a:gd name="T24" fmla="*/ 36 w 44"/>
                <a:gd name="T25" fmla="*/ 6 h 18"/>
                <a:gd name="T26" fmla="*/ 26 w 44"/>
                <a:gd name="T27" fmla="*/ 4 h 18"/>
                <a:gd name="T28" fmla="*/ 21 w 44"/>
                <a:gd name="T29" fmla="*/ 3 h 18"/>
                <a:gd name="T30" fmla="*/ 18 w 44"/>
                <a:gd name="T31" fmla="*/ 3 h 18"/>
                <a:gd name="T32" fmla="*/ 13 w 44"/>
                <a:gd name="T33" fmla="*/ 1 h 18"/>
                <a:gd name="T34" fmla="*/ 6 w 44"/>
                <a:gd name="T35" fmla="*/ 1 h 18"/>
                <a:gd name="T36" fmla="*/ 3 w 44"/>
                <a:gd name="T37" fmla="*/ 3 h 18"/>
                <a:gd name="T38" fmla="*/ 4 w 44"/>
                <a:gd name="T39" fmla="*/ 5 h 18"/>
                <a:gd name="T40" fmla="*/ 2 w 44"/>
                <a:gd name="T41" fmla="*/ 8 h 18"/>
                <a:gd name="T42" fmla="*/ 0 w 44"/>
                <a:gd name="T43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" h="18">
                  <a:moveTo>
                    <a:pt x="0" y="9"/>
                  </a:moveTo>
                  <a:cubicBezTo>
                    <a:pt x="0" y="11"/>
                    <a:pt x="1" y="10"/>
                    <a:pt x="2" y="11"/>
                  </a:cubicBezTo>
                  <a:cubicBezTo>
                    <a:pt x="3" y="13"/>
                    <a:pt x="3" y="10"/>
                    <a:pt x="4" y="12"/>
                  </a:cubicBezTo>
                  <a:cubicBezTo>
                    <a:pt x="4" y="14"/>
                    <a:pt x="5" y="11"/>
                    <a:pt x="5" y="12"/>
                  </a:cubicBezTo>
                  <a:cubicBezTo>
                    <a:pt x="7" y="15"/>
                    <a:pt x="7" y="13"/>
                    <a:pt x="8" y="15"/>
                  </a:cubicBezTo>
                  <a:cubicBezTo>
                    <a:pt x="10" y="17"/>
                    <a:pt x="11" y="16"/>
                    <a:pt x="16" y="17"/>
                  </a:cubicBezTo>
                  <a:cubicBezTo>
                    <a:pt x="22" y="18"/>
                    <a:pt x="20" y="17"/>
                    <a:pt x="23" y="18"/>
                  </a:cubicBezTo>
                  <a:cubicBezTo>
                    <a:pt x="27" y="18"/>
                    <a:pt x="25" y="17"/>
                    <a:pt x="30" y="17"/>
                  </a:cubicBezTo>
                  <a:cubicBezTo>
                    <a:pt x="35" y="18"/>
                    <a:pt x="33" y="17"/>
                    <a:pt x="37" y="16"/>
                  </a:cubicBezTo>
                  <a:cubicBezTo>
                    <a:pt x="42" y="16"/>
                    <a:pt x="39" y="15"/>
                    <a:pt x="41" y="14"/>
                  </a:cubicBezTo>
                  <a:cubicBezTo>
                    <a:pt x="44" y="12"/>
                    <a:pt x="43" y="11"/>
                    <a:pt x="40" y="8"/>
                  </a:cubicBezTo>
                  <a:cubicBezTo>
                    <a:pt x="38" y="6"/>
                    <a:pt x="39" y="8"/>
                    <a:pt x="36" y="8"/>
                  </a:cubicBezTo>
                  <a:cubicBezTo>
                    <a:pt x="34" y="7"/>
                    <a:pt x="36" y="7"/>
                    <a:pt x="36" y="6"/>
                  </a:cubicBezTo>
                  <a:cubicBezTo>
                    <a:pt x="35" y="5"/>
                    <a:pt x="28" y="4"/>
                    <a:pt x="26" y="4"/>
                  </a:cubicBezTo>
                  <a:cubicBezTo>
                    <a:pt x="23" y="4"/>
                    <a:pt x="24" y="3"/>
                    <a:pt x="21" y="3"/>
                  </a:cubicBezTo>
                  <a:cubicBezTo>
                    <a:pt x="19" y="3"/>
                    <a:pt x="19" y="2"/>
                    <a:pt x="18" y="3"/>
                  </a:cubicBezTo>
                  <a:cubicBezTo>
                    <a:pt x="17" y="3"/>
                    <a:pt x="15" y="2"/>
                    <a:pt x="13" y="1"/>
                  </a:cubicBezTo>
                  <a:cubicBezTo>
                    <a:pt x="11" y="1"/>
                    <a:pt x="9" y="2"/>
                    <a:pt x="6" y="1"/>
                  </a:cubicBezTo>
                  <a:cubicBezTo>
                    <a:pt x="2" y="0"/>
                    <a:pt x="1" y="1"/>
                    <a:pt x="3" y="3"/>
                  </a:cubicBezTo>
                  <a:cubicBezTo>
                    <a:pt x="5" y="5"/>
                    <a:pt x="2" y="4"/>
                    <a:pt x="4" y="5"/>
                  </a:cubicBezTo>
                  <a:cubicBezTo>
                    <a:pt x="6" y="7"/>
                    <a:pt x="1" y="5"/>
                    <a:pt x="2" y="8"/>
                  </a:cubicBezTo>
                  <a:cubicBezTo>
                    <a:pt x="3" y="11"/>
                    <a:pt x="0" y="6"/>
                    <a:pt x="0" y="9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1" name="Freeform 1346"/>
            <p:cNvSpPr>
              <a:spLocks/>
            </p:cNvSpPr>
            <p:nvPr/>
          </p:nvSpPr>
          <p:spPr bwMode="auto">
            <a:xfrm>
              <a:off x="2954" y="3319"/>
              <a:ext cx="50" cy="11"/>
            </a:xfrm>
            <a:custGeom>
              <a:avLst/>
              <a:gdLst>
                <a:gd name="T0" fmla="*/ 5 w 76"/>
                <a:gd name="T1" fmla="*/ 7 h 16"/>
                <a:gd name="T2" fmla="*/ 7 w 76"/>
                <a:gd name="T3" fmla="*/ 8 h 16"/>
                <a:gd name="T4" fmla="*/ 11 w 76"/>
                <a:gd name="T5" fmla="*/ 10 h 16"/>
                <a:gd name="T6" fmla="*/ 18 w 76"/>
                <a:gd name="T7" fmla="*/ 12 h 16"/>
                <a:gd name="T8" fmla="*/ 24 w 76"/>
                <a:gd name="T9" fmla="*/ 14 h 16"/>
                <a:gd name="T10" fmla="*/ 32 w 76"/>
                <a:gd name="T11" fmla="*/ 14 h 16"/>
                <a:gd name="T12" fmla="*/ 47 w 76"/>
                <a:gd name="T13" fmla="*/ 15 h 16"/>
                <a:gd name="T14" fmla="*/ 53 w 76"/>
                <a:gd name="T15" fmla="*/ 15 h 16"/>
                <a:gd name="T16" fmla="*/ 59 w 76"/>
                <a:gd name="T17" fmla="*/ 16 h 16"/>
                <a:gd name="T18" fmla="*/ 63 w 76"/>
                <a:gd name="T19" fmla="*/ 16 h 16"/>
                <a:gd name="T20" fmla="*/ 68 w 76"/>
                <a:gd name="T21" fmla="*/ 16 h 16"/>
                <a:gd name="T22" fmla="*/ 72 w 76"/>
                <a:gd name="T23" fmla="*/ 13 h 16"/>
                <a:gd name="T24" fmla="*/ 65 w 76"/>
                <a:gd name="T25" fmla="*/ 13 h 16"/>
                <a:gd name="T26" fmla="*/ 58 w 76"/>
                <a:gd name="T27" fmla="*/ 11 h 16"/>
                <a:gd name="T28" fmla="*/ 48 w 76"/>
                <a:gd name="T29" fmla="*/ 11 h 16"/>
                <a:gd name="T30" fmla="*/ 45 w 76"/>
                <a:gd name="T31" fmla="*/ 10 h 16"/>
                <a:gd name="T32" fmla="*/ 41 w 76"/>
                <a:gd name="T33" fmla="*/ 10 h 16"/>
                <a:gd name="T34" fmla="*/ 37 w 76"/>
                <a:gd name="T35" fmla="*/ 9 h 16"/>
                <a:gd name="T36" fmla="*/ 30 w 76"/>
                <a:gd name="T37" fmla="*/ 8 h 16"/>
                <a:gd name="T38" fmla="*/ 28 w 76"/>
                <a:gd name="T39" fmla="*/ 6 h 16"/>
                <a:gd name="T40" fmla="*/ 27 w 76"/>
                <a:gd name="T41" fmla="*/ 3 h 16"/>
                <a:gd name="T42" fmla="*/ 24 w 76"/>
                <a:gd name="T43" fmla="*/ 3 h 16"/>
                <a:gd name="T44" fmla="*/ 22 w 76"/>
                <a:gd name="T45" fmla="*/ 3 h 16"/>
                <a:gd name="T46" fmla="*/ 19 w 76"/>
                <a:gd name="T47" fmla="*/ 1 h 16"/>
                <a:gd name="T48" fmla="*/ 17 w 76"/>
                <a:gd name="T49" fmla="*/ 1 h 16"/>
                <a:gd name="T50" fmla="*/ 15 w 76"/>
                <a:gd name="T51" fmla="*/ 3 h 16"/>
                <a:gd name="T52" fmla="*/ 18 w 76"/>
                <a:gd name="T53" fmla="*/ 3 h 16"/>
                <a:gd name="T54" fmla="*/ 19 w 76"/>
                <a:gd name="T55" fmla="*/ 5 h 16"/>
                <a:gd name="T56" fmla="*/ 20 w 76"/>
                <a:gd name="T57" fmla="*/ 7 h 16"/>
                <a:gd name="T58" fmla="*/ 16 w 76"/>
                <a:gd name="T59" fmla="*/ 5 h 16"/>
                <a:gd name="T60" fmla="*/ 8 w 76"/>
                <a:gd name="T61" fmla="*/ 5 h 16"/>
                <a:gd name="T62" fmla="*/ 2 w 76"/>
                <a:gd name="T63" fmla="*/ 5 h 16"/>
                <a:gd name="T64" fmla="*/ 5 w 76"/>
                <a:gd name="T65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16">
                  <a:moveTo>
                    <a:pt x="5" y="7"/>
                  </a:moveTo>
                  <a:cubicBezTo>
                    <a:pt x="6" y="8"/>
                    <a:pt x="6" y="8"/>
                    <a:pt x="7" y="8"/>
                  </a:cubicBezTo>
                  <a:cubicBezTo>
                    <a:pt x="8" y="9"/>
                    <a:pt x="10" y="11"/>
                    <a:pt x="11" y="10"/>
                  </a:cubicBezTo>
                  <a:cubicBezTo>
                    <a:pt x="12" y="8"/>
                    <a:pt x="15" y="13"/>
                    <a:pt x="18" y="12"/>
                  </a:cubicBezTo>
                  <a:cubicBezTo>
                    <a:pt x="21" y="12"/>
                    <a:pt x="21" y="14"/>
                    <a:pt x="24" y="14"/>
                  </a:cubicBezTo>
                  <a:cubicBezTo>
                    <a:pt x="27" y="14"/>
                    <a:pt x="27" y="15"/>
                    <a:pt x="32" y="14"/>
                  </a:cubicBezTo>
                  <a:cubicBezTo>
                    <a:pt x="37" y="13"/>
                    <a:pt x="46" y="16"/>
                    <a:pt x="47" y="15"/>
                  </a:cubicBezTo>
                  <a:cubicBezTo>
                    <a:pt x="48" y="15"/>
                    <a:pt x="52" y="15"/>
                    <a:pt x="53" y="15"/>
                  </a:cubicBezTo>
                  <a:cubicBezTo>
                    <a:pt x="55" y="16"/>
                    <a:pt x="58" y="15"/>
                    <a:pt x="59" y="16"/>
                  </a:cubicBezTo>
                  <a:cubicBezTo>
                    <a:pt x="60" y="16"/>
                    <a:pt x="60" y="16"/>
                    <a:pt x="63" y="16"/>
                  </a:cubicBezTo>
                  <a:cubicBezTo>
                    <a:pt x="66" y="15"/>
                    <a:pt x="63" y="16"/>
                    <a:pt x="68" y="16"/>
                  </a:cubicBezTo>
                  <a:cubicBezTo>
                    <a:pt x="73" y="15"/>
                    <a:pt x="76" y="15"/>
                    <a:pt x="72" y="13"/>
                  </a:cubicBezTo>
                  <a:cubicBezTo>
                    <a:pt x="68" y="12"/>
                    <a:pt x="71" y="14"/>
                    <a:pt x="65" y="13"/>
                  </a:cubicBezTo>
                  <a:cubicBezTo>
                    <a:pt x="62" y="12"/>
                    <a:pt x="59" y="12"/>
                    <a:pt x="58" y="11"/>
                  </a:cubicBezTo>
                  <a:cubicBezTo>
                    <a:pt x="56" y="10"/>
                    <a:pt x="51" y="10"/>
                    <a:pt x="48" y="11"/>
                  </a:cubicBezTo>
                  <a:cubicBezTo>
                    <a:pt x="46" y="11"/>
                    <a:pt x="46" y="8"/>
                    <a:pt x="45" y="10"/>
                  </a:cubicBezTo>
                  <a:cubicBezTo>
                    <a:pt x="45" y="11"/>
                    <a:pt x="42" y="9"/>
                    <a:pt x="41" y="10"/>
                  </a:cubicBezTo>
                  <a:cubicBezTo>
                    <a:pt x="40" y="11"/>
                    <a:pt x="41" y="10"/>
                    <a:pt x="37" y="9"/>
                  </a:cubicBezTo>
                  <a:cubicBezTo>
                    <a:pt x="32" y="9"/>
                    <a:pt x="34" y="11"/>
                    <a:pt x="30" y="8"/>
                  </a:cubicBezTo>
                  <a:cubicBezTo>
                    <a:pt x="28" y="7"/>
                    <a:pt x="31" y="7"/>
                    <a:pt x="28" y="6"/>
                  </a:cubicBezTo>
                  <a:cubicBezTo>
                    <a:pt x="26" y="4"/>
                    <a:pt x="29" y="4"/>
                    <a:pt x="27" y="3"/>
                  </a:cubicBezTo>
                  <a:cubicBezTo>
                    <a:pt x="25" y="2"/>
                    <a:pt x="26" y="3"/>
                    <a:pt x="24" y="3"/>
                  </a:cubicBezTo>
                  <a:cubicBezTo>
                    <a:pt x="22" y="3"/>
                    <a:pt x="23" y="1"/>
                    <a:pt x="22" y="3"/>
                  </a:cubicBezTo>
                  <a:cubicBezTo>
                    <a:pt x="20" y="4"/>
                    <a:pt x="19" y="3"/>
                    <a:pt x="19" y="1"/>
                  </a:cubicBezTo>
                  <a:cubicBezTo>
                    <a:pt x="20" y="0"/>
                    <a:pt x="18" y="0"/>
                    <a:pt x="17" y="1"/>
                  </a:cubicBezTo>
                  <a:cubicBezTo>
                    <a:pt x="17" y="2"/>
                    <a:pt x="14" y="0"/>
                    <a:pt x="15" y="3"/>
                  </a:cubicBezTo>
                  <a:cubicBezTo>
                    <a:pt x="17" y="5"/>
                    <a:pt x="18" y="2"/>
                    <a:pt x="18" y="3"/>
                  </a:cubicBezTo>
                  <a:cubicBezTo>
                    <a:pt x="18" y="5"/>
                    <a:pt x="20" y="4"/>
                    <a:pt x="19" y="5"/>
                  </a:cubicBezTo>
                  <a:cubicBezTo>
                    <a:pt x="19" y="6"/>
                    <a:pt x="22" y="6"/>
                    <a:pt x="20" y="7"/>
                  </a:cubicBezTo>
                  <a:cubicBezTo>
                    <a:pt x="19" y="7"/>
                    <a:pt x="19" y="7"/>
                    <a:pt x="16" y="5"/>
                  </a:cubicBezTo>
                  <a:cubicBezTo>
                    <a:pt x="14" y="3"/>
                    <a:pt x="12" y="3"/>
                    <a:pt x="8" y="5"/>
                  </a:cubicBezTo>
                  <a:cubicBezTo>
                    <a:pt x="4" y="6"/>
                    <a:pt x="4" y="4"/>
                    <a:pt x="2" y="5"/>
                  </a:cubicBezTo>
                  <a:cubicBezTo>
                    <a:pt x="0" y="5"/>
                    <a:pt x="2" y="6"/>
                    <a:pt x="5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2" name="Freeform 1347"/>
            <p:cNvSpPr>
              <a:spLocks/>
            </p:cNvSpPr>
            <p:nvPr/>
          </p:nvSpPr>
          <p:spPr bwMode="auto">
            <a:xfrm>
              <a:off x="2876" y="3243"/>
              <a:ext cx="2" cy="3"/>
            </a:xfrm>
            <a:custGeom>
              <a:avLst/>
              <a:gdLst>
                <a:gd name="T0" fmla="*/ 3 w 4"/>
                <a:gd name="T1" fmla="*/ 1 h 4"/>
                <a:gd name="T2" fmla="*/ 2 w 4"/>
                <a:gd name="T3" fmla="*/ 2 h 4"/>
                <a:gd name="T4" fmla="*/ 3 w 4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2" y="0"/>
                    <a:pt x="0" y="0"/>
                    <a:pt x="2" y="2"/>
                  </a:cubicBezTo>
                  <a:cubicBezTo>
                    <a:pt x="4" y="4"/>
                    <a:pt x="4" y="2"/>
                    <a:pt x="3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3" name="Freeform 1348"/>
            <p:cNvSpPr>
              <a:spLocks/>
            </p:cNvSpPr>
            <p:nvPr/>
          </p:nvSpPr>
          <p:spPr bwMode="auto">
            <a:xfrm>
              <a:off x="2832" y="3159"/>
              <a:ext cx="17" cy="60"/>
            </a:xfrm>
            <a:custGeom>
              <a:avLst/>
              <a:gdLst>
                <a:gd name="T0" fmla="*/ 14 w 26"/>
                <a:gd name="T1" fmla="*/ 66 h 92"/>
                <a:gd name="T2" fmla="*/ 18 w 26"/>
                <a:gd name="T3" fmla="*/ 72 h 92"/>
                <a:gd name="T4" fmla="*/ 22 w 26"/>
                <a:gd name="T5" fmla="*/ 74 h 92"/>
                <a:gd name="T6" fmla="*/ 25 w 26"/>
                <a:gd name="T7" fmla="*/ 70 h 92"/>
                <a:gd name="T8" fmla="*/ 22 w 26"/>
                <a:gd name="T9" fmla="*/ 67 h 92"/>
                <a:gd name="T10" fmla="*/ 18 w 26"/>
                <a:gd name="T11" fmla="*/ 58 h 92"/>
                <a:gd name="T12" fmla="*/ 18 w 26"/>
                <a:gd name="T13" fmla="*/ 50 h 92"/>
                <a:gd name="T14" fmla="*/ 17 w 26"/>
                <a:gd name="T15" fmla="*/ 39 h 92"/>
                <a:gd name="T16" fmla="*/ 18 w 26"/>
                <a:gd name="T17" fmla="*/ 32 h 92"/>
                <a:gd name="T18" fmla="*/ 20 w 26"/>
                <a:gd name="T19" fmla="*/ 27 h 92"/>
                <a:gd name="T20" fmla="*/ 15 w 26"/>
                <a:gd name="T21" fmla="*/ 26 h 92"/>
                <a:gd name="T22" fmla="*/ 11 w 26"/>
                <a:gd name="T23" fmla="*/ 18 h 92"/>
                <a:gd name="T24" fmla="*/ 8 w 26"/>
                <a:gd name="T25" fmla="*/ 3 h 92"/>
                <a:gd name="T26" fmla="*/ 2 w 26"/>
                <a:gd name="T27" fmla="*/ 7 h 92"/>
                <a:gd name="T28" fmla="*/ 7 w 26"/>
                <a:gd name="T29" fmla="*/ 17 h 92"/>
                <a:gd name="T30" fmla="*/ 10 w 26"/>
                <a:gd name="T31" fmla="*/ 26 h 92"/>
                <a:gd name="T32" fmla="*/ 12 w 26"/>
                <a:gd name="T33" fmla="*/ 32 h 92"/>
                <a:gd name="T34" fmla="*/ 10 w 26"/>
                <a:gd name="T35" fmla="*/ 36 h 92"/>
                <a:gd name="T36" fmla="*/ 3 w 26"/>
                <a:gd name="T37" fmla="*/ 33 h 92"/>
                <a:gd name="T38" fmla="*/ 6 w 26"/>
                <a:gd name="T39" fmla="*/ 45 h 92"/>
                <a:gd name="T40" fmla="*/ 10 w 26"/>
                <a:gd name="T41" fmla="*/ 51 h 92"/>
                <a:gd name="T42" fmla="*/ 12 w 26"/>
                <a:gd name="T43" fmla="*/ 58 h 92"/>
                <a:gd name="T44" fmla="*/ 8 w 26"/>
                <a:gd name="T45" fmla="*/ 61 h 92"/>
                <a:gd name="T46" fmla="*/ 9 w 26"/>
                <a:gd name="T47" fmla="*/ 70 h 92"/>
                <a:gd name="T48" fmla="*/ 10 w 26"/>
                <a:gd name="T49" fmla="*/ 79 h 92"/>
                <a:gd name="T50" fmla="*/ 16 w 26"/>
                <a:gd name="T51" fmla="*/ 80 h 92"/>
                <a:gd name="T52" fmla="*/ 18 w 26"/>
                <a:gd name="T53" fmla="*/ 85 h 92"/>
                <a:gd name="T54" fmla="*/ 24 w 26"/>
                <a:gd name="T55" fmla="*/ 90 h 92"/>
                <a:gd name="T56" fmla="*/ 23 w 26"/>
                <a:gd name="T57" fmla="*/ 85 h 92"/>
                <a:gd name="T58" fmla="*/ 18 w 26"/>
                <a:gd name="T59" fmla="*/ 81 h 92"/>
                <a:gd name="T60" fmla="*/ 13 w 26"/>
                <a:gd name="T61" fmla="*/ 73 h 92"/>
                <a:gd name="T62" fmla="*/ 12 w 26"/>
                <a:gd name="T63" fmla="*/ 69 h 92"/>
                <a:gd name="T64" fmla="*/ 12 w 26"/>
                <a:gd name="T65" fmla="*/ 65 h 92"/>
                <a:gd name="T66" fmla="*/ 12 w 26"/>
                <a:gd name="T67" fmla="*/ 63 h 92"/>
                <a:gd name="T68" fmla="*/ 14 w 26"/>
                <a:gd name="T69" fmla="*/ 6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" h="92">
                  <a:moveTo>
                    <a:pt x="14" y="66"/>
                  </a:moveTo>
                  <a:cubicBezTo>
                    <a:pt x="17" y="68"/>
                    <a:pt x="17" y="72"/>
                    <a:pt x="18" y="72"/>
                  </a:cubicBezTo>
                  <a:cubicBezTo>
                    <a:pt x="20" y="72"/>
                    <a:pt x="20" y="75"/>
                    <a:pt x="22" y="74"/>
                  </a:cubicBezTo>
                  <a:cubicBezTo>
                    <a:pt x="23" y="72"/>
                    <a:pt x="26" y="71"/>
                    <a:pt x="25" y="70"/>
                  </a:cubicBezTo>
                  <a:cubicBezTo>
                    <a:pt x="24" y="69"/>
                    <a:pt x="22" y="71"/>
                    <a:pt x="22" y="67"/>
                  </a:cubicBezTo>
                  <a:cubicBezTo>
                    <a:pt x="22" y="65"/>
                    <a:pt x="16" y="60"/>
                    <a:pt x="18" y="58"/>
                  </a:cubicBezTo>
                  <a:cubicBezTo>
                    <a:pt x="21" y="55"/>
                    <a:pt x="14" y="50"/>
                    <a:pt x="18" y="50"/>
                  </a:cubicBezTo>
                  <a:cubicBezTo>
                    <a:pt x="21" y="51"/>
                    <a:pt x="16" y="42"/>
                    <a:pt x="17" y="39"/>
                  </a:cubicBezTo>
                  <a:cubicBezTo>
                    <a:pt x="17" y="35"/>
                    <a:pt x="18" y="36"/>
                    <a:pt x="18" y="32"/>
                  </a:cubicBezTo>
                  <a:cubicBezTo>
                    <a:pt x="18" y="30"/>
                    <a:pt x="21" y="30"/>
                    <a:pt x="20" y="27"/>
                  </a:cubicBezTo>
                  <a:cubicBezTo>
                    <a:pt x="18" y="25"/>
                    <a:pt x="16" y="28"/>
                    <a:pt x="15" y="26"/>
                  </a:cubicBezTo>
                  <a:cubicBezTo>
                    <a:pt x="14" y="25"/>
                    <a:pt x="12" y="20"/>
                    <a:pt x="11" y="18"/>
                  </a:cubicBezTo>
                  <a:cubicBezTo>
                    <a:pt x="5" y="5"/>
                    <a:pt x="13" y="6"/>
                    <a:pt x="8" y="3"/>
                  </a:cubicBezTo>
                  <a:cubicBezTo>
                    <a:pt x="3" y="0"/>
                    <a:pt x="5" y="5"/>
                    <a:pt x="2" y="7"/>
                  </a:cubicBezTo>
                  <a:cubicBezTo>
                    <a:pt x="0" y="9"/>
                    <a:pt x="3" y="16"/>
                    <a:pt x="7" y="17"/>
                  </a:cubicBezTo>
                  <a:cubicBezTo>
                    <a:pt x="10" y="18"/>
                    <a:pt x="6" y="24"/>
                    <a:pt x="10" y="26"/>
                  </a:cubicBezTo>
                  <a:cubicBezTo>
                    <a:pt x="13" y="27"/>
                    <a:pt x="10" y="30"/>
                    <a:pt x="12" y="32"/>
                  </a:cubicBezTo>
                  <a:cubicBezTo>
                    <a:pt x="14" y="34"/>
                    <a:pt x="12" y="37"/>
                    <a:pt x="10" y="36"/>
                  </a:cubicBezTo>
                  <a:cubicBezTo>
                    <a:pt x="7" y="36"/>
                    <a:pt x="4" y="26"/>
                    <a:pt x="3" y="33"/>
                  </a:cubicBezTo>
                  <a:cubicBezTo>
                    <a:pt x="3" y="39"/>
                    <a:pt x="6" y="37"/>
                    <a:pt x="6" y="45"/>
                  </a:cubicBezTo>
                  <a:cubicBezTo>
                    <a:pt x="7" y="52"/>
                    <a:pt x="10" y="43"/>
                    <a:pt x="10" y="51"/>
                  </a:cubicBezTo>
                  <a:cubicBezTo>
                    <a:pt x="10" y="59"/>
                    <a:pt x="13" y="54"/>
                    <a:pt x="12" y="58"/>
                  </a:cubicBezTo>
                  <a:cubicBezTo>
                    <a:pt x="11" y="63"/>
                    <a:pt x="11" y="63"/>
                    <a:pt x="8" y="61"/>
                  </a:cubicBezTo>
                  <a:cubicBezTo>
                    <a:pt x="6" y="60"/>
                    <a:pt x="6" y="67"/>
                    <a:pt x="9" y="70"/>
                  </a:cubicBezTo>
                  <a:cubicBezTo>
                    <a:pt x="14" y="74"/>
                    <a:pt x="7" y="76"/>
                    <a:pt x="10" y="79"/>
                  </a:cubicBezTo>
                  <a:cubicBezTo>
                    <a:pt x="12" y="82"/>
                    <a:pt x="12" y="76"/>
                    <a:pt x="16" y="80"/>
                  </a:cubicBezTo>
                  <a:cubicBezTo>
                    <a:pt x="18" y="83"/>
                    <a:pt x="13" y="82"/>
                    <a:pt x="18" y="85"/>
                  </a:cubicBezTo>
                  <a:cubicBezTo>
                    <a:pt x="21" y="88"/>
                    <a:pt x="22" y="92"/>
                    <a:pt x="24" y="90"/>
                  </a:cubicBezTo>
                  <a:cubicBezTo>
                    <a:pt x="26" y="87"/>
                    <a:pt x="24" y="88"/>
                    <a:pt x="23" y="85"/>
                  </a:cubicBezTo>
                  <a:cubicBezTo>
                    <a:pt x="21" y="83"/>
                    <a:pt x="21" y="85"/>
                    <a:pt x="18" y="81"/>
                  </a:cubicBezTo>
                  <a:cubicBezTo>
                    <a:pt x="15" y="77"/>
                    <a:pt x="13" y="75"/>
                    <a:pt x="13" y="73"/>
                  </a:cubicBezTo>
                  <a:cubicBezTo>
                    <a:pt x="13" y="72"/>
                    <a:pt x="11" y="72"/>
                    <a:pt x="12" y="69"/>
                  </a:cubicBezTo>
                  <a:cubicBezTo>
                    <a:pt x="13" y="66"/>
                    <a:pt x="11" y="67"/>
                    <a:pt x="12" y="65"/>
                  </a:cubicBezTo>
                  <a:cubicBezTo>
                    <a:pt x="13" y="63"/>
                    <a:pt x="10" y="61"/>
                    <a:pt x="12" y="63"/>
                  </a:cubicBezTo>
                  <a:cubicBezTo>
                    <a:pt x="15" y="66"/>
                    <a:pt x="12" y="65"/>
                    <a:pt x="14" y="6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4" name="Freeform 1349"/>
            <p:cNvSpPr>
              <a:spLocks/>
            </p:cNvSpPr>
            <p:nvPr/>
          </p:nvSpPr>
          <p:spPr bwMode="auto">
            <a:xfrm>
              <a:off x="2871" y="3239"/>
              <a:ext cx="7" cy="8"/>
            </a:xfrm>
            <a:custGeom>
              <a:avLst/>
              <a:gdLst>
                <a:gd name="T0" fmla="*/ 4 w 10"/>
                <a:gd name="T1" fmla="*/ 8 h 12"/>
                <a:gd name="T2" fmla="*/ 7 w 10"/>
                <a:gd name="T3" fmla="*/ 10 h 12"/>
                <a:gd name="T4" fmla="*/ 9 w 10"/>
                <a:gd name="T5" fmla="*/ 11 h 12"/>
                <a:gd name="T6" fmla="*/ 6 w 10"/>
                <a:gd name="T7" fmla="*/ 7 h 12"/>
                <a:gd name="T8" fmla="*/ 3 w 10"/>
                <a:gd name="T9" fmla="*/ 3 h 12"/>
                <a:gd name="T10" fmla="*/ 2 w 10"/>
                <a:gd name="T11" fmla="*/ 5 h 12"/>
                <a:gd name="T12" fmla="*/ 4 w 10"/>
                <a:gd name="T1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2">
                  <a:moveTo>
                    <a:pt x="4" y="8"/>
                  </a:moveTo>
                  <a:cubicBezTo>
                    <a:pt x="6" y="8"/>
                    <a:pt x="5" y="10"/>
                    <a:pt x="7" y="10"/>
                  </a:cubicBezTo>
                  <a:cubicBezTo>
                    <a:pt x="8" y="10"/>
                    <a:pt x="8" y="12"/>
                    <a:pt x="9" y="11"/>
                  </a:cubicBezTo>
                  <a:cubicBezTo>
                    <a:pt x="10" y="10"/>
                    <a:pt x="8" y="7"/>
                    <a:pt x="6" y="7"/>
                  </a:cubicBezTo>
                  <a:cubicBezTo>
                    <a:pt x="4" y="6"/>
                    <a:pt x="6" y="6"/>
                    <a:pt x="3" y="3"/>
                  </a:cubicBezTo>
                  <a:cubicBezTo>
                    <a:pt x="0" y="0"/>
                    <a:pt x="0" y="2"/>
                    <a:pt x="2" y="5"/>
                  </a:cubicBezTo>
                  <a:cubicBezTo>
                    <a:pt x="3" y="6"/>
                    <a:pt x="3" y="7"/>
                    <a:pt x="4" y="8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5" name="Freeform 1350"/>
            <p:cNvSpPr>
              <a:spLocks/>
            </p:cNvSpPr>
            <p:nvPr/>
          </p:nvSpPr>
          <p:spPr bwMode="auto">
            <a:xfrm>
              <a:off x="2868" y="3242"/>
              <a:ext cx="5" cy="3"/>
            </a:xfrm>
            <a:custGeom>
              <a:avLst/>
              <a:gdLst>
                <a:gd name="T0" fmla="*/ 3 w 8"/>
                <a:gd name="T1" fmla="*/ 3 h 5"/>
                <a:gd name="T2" fmla="*/ 6 w 8"/>
                <a:gd name="T3" fmla="*/ 5 h 5"/>
                <a:gd name="T4" fmla="*/ 3 w 8"/>
                <a:gd name="T5" fmla="*/ 2 h 5"/>
                <a:gd name="T6" fmla="*/ 3 w 8"/>
                <a:gd name="T7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3" y="3"/>
                  </a:moveTo>
                  <a:cubicBezTo>
                    <a:pt x="4" y="4"/>
                    <a:pt x="4" y="4"/>
                    <a:pt x="6" y="5"/>
                  </a:cubicBezTo>
                  <a:cubicBezTo>
                    <a:pt x="8" y="5"/>
                    <a:pt x="5" y="3"/>
                    <a:pt x="3" y="2"/>
                  </a:cubicBezTo>
                  <a:cubicBezTo>
                    <a:pt x="0" y="0"/>
                    <a:pt x="0" y="2"/>
                    <a:pt x="3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6" name="Freeform 1351"/>
            <p:cNvSpPr>
              <a:spLocks/>
            </p:cNvSpPr>
            <p:nvPr/>
          </p:nvSpPr>
          <p:spPr bwMode="auto">
            <a:xfrm>
              <a:off x="2878" y="3252"/>
              <a:ext cx="2" cy="4"/>
            </a:xfrm>
            <a:custGeom>
              <a:avLst/>
              <a:gdLst>
                <a:gd name="T0" fmla="*/ 0 w 3"/>
                <a:gd name="T1" fmla="*/ 3 h 6"/>
                <a:gd name="T2" fmla="*/ 0 w 3"/>
                <a:gd name="T3" fmla="*/ 4 h 6"/>
                <a:gd name="T4" fmla="*/ 2 w 3"/>
                <a:gd name="T5" fmla="*/ 6 h 6"/>
                <a:gd name="T6" fmla="*/ 1 w 3"/>
                <a:gd name="T7" fmla="*/ 3 h 6"/>
                <a:gd name="T8" fmla="*/ 0 w 3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0" y="3"/>
                  </a:move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5"/>
                    <a:pt x="2" y="6"/>
                  </a:cubicBezTo>
                  <a:cubicBezTo>
                    <a:pt x="3" y="6"/>
                    <a:pt x="2" y="4"/>
                    <a:pt x="1" y="3"/>
                  </a:cubicBezTo>
                  <a:cubicBezTo>
                    <a:pt x="1" y="3"/>
                    <a:pt x="0" y="0"/>
                    <a:pt x="0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7" name="Freeform 1352"/>
            <p:cNvSpPr>
              <a:spLocks/>
            </p:cNvSpPr>
            <p:nvPr/>
          </p:nvSpPr>
          <p:spPr bwMode="auto">
            <a:xfrm>
              <a:off x="2878" y="3249"/>
              <a:ext cx="8" cy="8"/>
            </a:xfrm>
            <a:custGeom>
              <a:avLst/>
              <a:gdLst>
                <a:gd name="T0" fmla="*/ 4 w 11"/>
                <a:gd name="T1" fmla="*/ 7 h 12"/>
                <a:gd name="T2" fmla="*/ 10 w 11"/>
                <a:gd name="T3" fmla="*/ 12 h 12"/>
                <a:gd name="T4" fmla="*/ 9 w 11"/>
                <a:gd name="T5" fmla="*/ 9 h 12"/>
                <a:gd name="T6" fmla="*/ 6 w 11"/>
                <a:gd name="T7" fmla="*/ 7 h 12"/>
                <a:gd name="T8" fmla="*/ 3 w 11"/>
                <a:gd name="T9" fmla="*/ 2 h 12"/>
                <a:gd name="T10" fmla="*/ 2 w 11"/>
                <a:gd name="T11" fmla="*/ 5 h 12"/>
                <a:gd name="T12" fmla="*/ 4 w 11"/>
                <a:gd name="T1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2">
                  <a:moveTo>
                    <a:pt x="4" y="7"/>
                  </a:moveTo>
                  <a:cubicBezTo>
                    <a:pt x="5" y="8"/>
                    <a:pt x="8" y="12"/>
                    <a:pt x="10" y="12"/>
                  </a:cubicBezTo>
                  <a:cubicBezTo>
                    <a:pt x="11" y="12"/>
                    <a:pt x="8" y="11"/>
                    <a:pt x="9" y="9"/>
                  </a:cubicBezTo>
                  <a:cubicBezTo>
                    <a:pt x="9" y="8"/>
                    <a:pt x="8" y="9"/>
                    <a:pt x="6" y="7"/>
                  </a:cubicBezTo>
                  <a:cubicBezTo>
                    <a:pt x="4" y="5"/>
                    <a:pt x="5" y="5"/>
                    <a:pt x="3" y="2"/>
                  </a:cubicBezTo>
                  <a:cubicBezTo>
                    <a:pt x="0" y="0"/>
                    <a:pt x="1" y="2"/>
                    <a:pt x="2" y="5"/>
                  </a:cubicBezTo>
                  <a:cubicBezTo>
                    <a:pt x="2" y="5"/>
                    <a:pt x="2" y="5"/>
                    <a:pt x="4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8" name="Freeform 1353"/>
            <p:cNvSpPr>
              <a:spLocks/>
            </p:cNvSpPr>
            <p:nvPr/>
          </p:nvSpPr>
          <p:spPr bwMode="auto">
            <a:xfrm>
              <a:off x="2878" y="3243"/>
              <a:ext cx="12" cy="13"/>
            </a:xfrm>
            <a:custGeom>
              <a:avLst/>
              <a:gdLst>
                <a:gd name="T0" fmla="*/ 14 w 18"/>
                <a:gd name="T1" fmla="*/ 13 h 20"/>
                <a:gd name="T2" fmla="*/ 11 w 18"/>
                <a:gd name="T3" fmla="*/ 9 h 20"/>
                <a:gd name="T4" fmla="*/ 7 w 18"/>
                <a:gd name="T5" fmla="*/ 6 h 20"/>
                <a:gd name="T6" fmla="*/ 3 w 18"/>
                <a:gd name="T7" fmla="*/ 3 h 20"/>
                <a:gd name="T8" fmla="*/ 1 w 18"/>
                <a:gd name="T9" fmla="*/ 3 h 20"/>
                <a:gd name="T10" fmla="*/ 2 w 18"/>
                <a:gd name="T11" fmla="*/ 5 h 20"/>
                <a:gd name="T12" fmla="*/ 5 w 18"/>
                <a:gd name="T13" fmla="*/ 8 h 20"/>
                <a:gd name="T14" fmla="*/ 9 w 18"/>
                <a:gd name="T15" fmla="*/ 13 h 20"/>
                <a:gd name="T16" fmla="*/ 14 w 18"/>
                <a:gd name="T17" fmla="*/ 16 h 20"/>
                <a:gd name="T18" fmla="*/ 16 w 18"/>
                <a:gd name="T19" fmla="*/ 17 h 20"/>
                <a:gd name="T20" fmla="*/ 17 w 18"/>
                <a:gd name="T21" fmla="*/ 18 h 20"/>
                <a:gd name="T22" fmla="*/ 14 w 18"/>
                <a:gd name="T23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20">
                  <a:moveTo>
                    <a:pt x="14" y="13"/>
                  </a:moveTo>
                  <a:cubicBezTo>
                    <a:pt x="13" y="12"/>
                    <a:pt x="11" y="11"/>
                    <a:pt x="11" y="9"/>
                  </a:cubicBezTo>
                  <a:cubicBezTo>
                    <a:pt x="11" y="7"/>
                    <a:pt x="9" y="9"/>
                    <a:pt x="7" y="6"/>
                  </a:cubicBezTo>
                  <a:cubicBezTo>
                    <a:pt x="6" y="5"/>
                    <a:pt x="5" y="5"/>
                    <a:pt x="3" y="3"/>
                  </a:cubicBezTo>
                  <a:cubicBezTo>
                    <a:pt x="0" y="0"/>
                    <a:pt x="0" y="0"/>
                    <a:pt x="1" y="3"/>
                  </a:cubicBezTo>
                  <a:cubicBezTo>
                    <a:pt x="1" y="4"/>
                    <a:pt x="0" y="5"/>
                    <a:pt x="2" y="5"/>
                  </a:cubicBezTo>
                  <a:cubicBezTo>
                    <a:pt x="3" y="6"/>
                    <a:pt x="3" y="7"/>
                    <a:pt x="5" y="8"/>
                  </a:cubicBezTo>
                  <a:cubicBezTo>
                    <a:pt x="7" y="8"/>
                    <a:pt x="6" y="10"/>
                    <a:pt x="9" y="13"/>
                  </a:cubicBezTo>
                  <a:cubicBezTo>
                    <a:pt x="12" y="15"/>
                    <a:pt x="12" y="17"/>
                    <a:pt x="14" y="16"/>
                  </a:cubicBezTo>
                  <a:cubicBezTo>
                    <a:pt x="16" y="15"/>
                    <a:pt x="15" y="17"/>
                    <a:pt x="16" y="17"/>
                  </a:cubicBezTo>
                  <a:cubicBezTo>
                    <a:pt x="17" y="18"/>
                    <a:pt x="16" y="20"/>
                    <a:pt x="17" y="18"/>
                  </a:cubicBezTo>
                  <a:cubicBezTo>
                    <a:pt x="18" y="17"/>
                    <a:pt x="16" y="14"/>
                    <a:pt x="14" y="1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79" name="Freeform 1354"/>
            <p:cNvSpPr>
              <a:spLocks/>
            </p:cNvSpPr>
            <p:nvPr/>
          </p:nvSpPr>
          <p:spPr bwMode="auto">
            <a:xfrm>
              <a:off x="2859" y="3222"/>
              <a:ext cx="6" cy="7"/>
            </a:xfrm>
            <a:custGeom>
              <a:avLst/>
              <a:gdLst>
                <a:gd name="T0" fmla="*/ 3 w 9"/>
                <a:gd name="T1" fmla="*/ 6 h 11"/>
                <a:gd name="T2" fmla="*/ 8 w 9"/>
                <a:gd name="T3" fmla="*/ 9 h 11"/>
                <a:gd name="T4" fmla="*/ 6 w 9"/>
                <a:gd name="T5" fmla="*/ 5 h 11"/>
                <a:gd name="T6" fmla="*/ 4 w 9"/>
                <a:gd name="T7" fmla="*/ 1 h 11"/>
                <a:gd name="T8" fmla="*/ 3 w 9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3" y="6"/>
                  </a:moveTo>
                  <a:cubicBezTo>
                    <a:pt x="0" y="7"/>
                    <a:pt x="6" y="11"/>
                    <a:pt x="8" y="9"/>
                  </a:cubicBezTo>
                  <a:cubicBezTo>
                    <a:pt x="9" y="6"/>
                    <a:pt x="5" y="7"/>
                    <a:pt x="6" y="5"/>
                  </a:cubicBezTo>
                  <a:cubicBezTo>
                    <a:pt x="8" y="3"/>
                    <a:pt x="7" y="0"/>
                    <a:pt x="4" y="1"/>
                  </a:cubicBezTo>
                  <a:cubicBezTo>
                    <a:pt x="2" y="1"/>
                    <a:pt x="5" y="5"/>
                    <a:pt x="3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0" name="Freeform 1355"/>
            <p:cNvSpPr>
              <a:spLocks/>
            </p:cNvSpPr>
            <p:nvPr/>
          </p:nvSpPr>
          <p:spPr bwMode="auto">
            <a:xfrm>
              <a:off x="2858" y="3233"/>
              <a:ext cx="6" cy="4"/>
            </a:xfrm>
            <a:custGeom>
              <a:avLst/>
              <a:gdLst>
                <a:gd name="T0" fmla="*/ 5 w 9"/>
                <a:gd name="T1" fmla="*/ 4 h 6"/>
                <a:gd name="T2" fmla="*/ 7 w 9"/>
                <a:gd name="T3" fmla="*/ 4 h 6"/>
                <a:gd name="T4" fmla="*/ 7 w 9"/>
                <a:gd name="T5" fmla="*/ 2 h 6"/>
                <a:gd name="T6" fmla="*/ 4 w 9"/>
                <a:gd name="T7" fmla="*/ 1 h 6"/>
                <a:gd name="T8" fmla="*/ 4 w 9"/>
                <a:gd name="T9" fmla="*/ 4 h 6"/>
                <a:gd name="T10" fmla="*/ 5 w 9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6">
                  <a:moveTo>
                    <a:pt x="5" y="4"/>
                  </a:moveTo>
                  <a:cubicBezTo>
                    <a:pt x="5" y="3"/>
                    <a:pt x="6" y="5"/>
                    <a:pt x="7" y="4"/>
                  </a:cubicBezTo>
                  <a:cubicBezTo>
                    <a:pt x="9" y="3"/>
                    <a:pt x="8" y="4"/>
                    <a:pt x="7" y="2"/>
                  </a:cubicBezTo>
                  <a:cubicBezTo>
                    <a:pt x="6" y="0"/>
                    <a:pt x="4" y="0"/>
                    <a:pt x="4" y="1"/>
                  </a:cubicBezTo>
                  <a:cubicBezTo>
                    <a:pt x="4" y="3"/>
                    <a:pt x="0" y="1"/>
                    <a:pt x="4" y="4"/>
                  </a:cubicBezTo>
                  <a:cubicBezTo>
                    <a:pt x="4" y="5"/>
                    <a:pt x="5" y="6"/>
                    <a:pt x="5" y="4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1" name="Freeform 1356"/>
            <p:cNvSpPr>
              <a:spLocks/>
            </p:cNvSpPr>
            <p:nvPr/>
          </p:nvSpPr>
          <p:spPr bwMode="auto">
            <a:xfrm>
              <a:off x="2867" y="3219"/>
              <a:ext cx="7" cy="6"/>
            </a:xfrm>
            <a:custGeom>
              <a:avLst/>
              <a:gdLst>
                <a:gd name="T0" fmla="*/ 7 w 11"/>
                <a:gd name="T1" fmla="*/ 5 h 10"/>
                <a:gd name="T2" fmla="*/ 2 w 11"/>
                <a:gd name="T3" fmla="*/ 1 h 10"/>
                <a:gd name="T4" fmla="*/ 5 w 11"/>
                <a:gd name="T5" fmla="*/ 6 h 10"/>
                <a:gd name="T6" fmla="*/ 7 w 11"/>
                <a:gd name="T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0">
                  <a:moveTo>
                    <a:pt x="7" y="5"/>
                  </a:moveTo>
                  <a:cubicBezTo>
                    <a:pt x="5" y="4"/>
                    <a:pt x="4" y="1"/>
                    <a:pt x="2" y="1"/>
                  </a:cubicBezTo>
                  <a:cubicBezTo>
                    <a:pt x="0" y="0"/>
                    <a:pt x="1" y="3"/>
                    <a:pt x="5" y="6"/>
                  </a:cubicBezTo>
                  <a:cubicBezTo>
                    <a:pt x="11" y="10"/>
                    <a:pt x="9" y="6"/>
                    <a:pt x="7" y="5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2" name="Freeform 1357"/>
            <p:cNvSpPr>
              <a:spLocks/>
            </p:cNvSpPr>
            <p:nvPr/>
          </p:nvSpPr>
          <p:spPr bwMode="auto">
            <a:xfrm>
              <a:off x="2888" y="3267"/>
              <a:ext cx="15" cy="12"/>
            </a:xfrm>
            <a:custGeom>
              <a:avLst/>
              <a:gdLst>
                <a:gd name="T0" fmla="*/ 3 w 24"/>
                <a:gd name="T1" fmla="*/ 5 h 19"/>
                <a:gd name="T2" fmla="*/ 7 w 24"/>
                <a:gd name="T3" fmla="*/ 7 h 19"/>
                <a:gd name="T4" fmla="*/ 9 w 24"/>
                <a:gd name="T5" fmla="*/ 10 h 19"/>
                <a:gd name="T6" fmla="*/ 12 w 24"/>
                <a:gd name="T7" fmla="*/ 12 h 19"/>
                <a:gd name="T8" fmla="*/ 13 w 24"/>
                <a:gd name="T9" fmla="*/ 13 h 19"/>
                <a:gd name="T10" fmla="*/ 21 w 24"/>
                <a:gd name="T11" fmla="*/ 17 h 19"/>
                <a:gd name="T12" fmla="*/ 19 w 24"/>
                <a:gd name="T13" fmla="*/ 15 h 19"/>
                <a:gd name="T14" fmla="*/ 13 w 24"/>
                <a:gd name="T15" fmla="*/ 10 h 19"/>
                <a:gd name="T16" fmla="*/ 4 w 24"/>
                <a:gd name="T17" fmla="*/ 3 h 19"/>
                <a:gd name="T18" fmla="*/ 4 w 24"/>
                <a:gd name="T19" fmla="*/ 1 h 19"/>
                <a:gd name="T20" fmla="*/ 1 w 24"/>
                <a:gd name="T21" fmla="*/ 0 h 19"/>
                <a:gd name="T22" fmla="*/ 2 w 24"/>
                <a:gd name="T23" fmla="*/ 2 h 19"/>
                <a:gd name="T24" fmla="*/ 3 w 24"/>
                <a:gd name="T25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9">
                  <a:moveTo>
                    <a:pt x="3" y="5"/>
                  </a:moveTo>
                  <a:cubicBezTo>
                    <a:pt x="5" y="7"/>
                    <a:pt x="5" y="6"/>
                    <a:pt x="7" y="7"/>
                  </a:cubicBezTo>
                  <a:cubicBezTo>
                    <a:pt x="9" y="9"/>
                    <a:pt x="7" y="8"/>
                    <a:pt x="9" y="10"/>
                  </a:cubicBezTo>
                  <a:cubicBezTo>
                    <a:pt x="11" y="12"/>
                    <a:pt x="11" y="11"/>
                    <a:pt x="12" y="12"/>
                  </a:cubicBezTo>
                  <a:cubicBezTo>
                    <a:pt x="12" y="13"/>
                    <a:pt x="13" y="11"/>
                    <a:pt x="13" y="13"/>
                  </a:cubicBezTo>
                  <a:cubicBezTo>
                    <a:pt x="14" y="14"/>
                    <a:pt x="18" y="16"/>
                    <a:pt x="21" y="17"/>
                  </a:cubicBezTo>
                  <a:cubicBezTo>
                    <a:pt x="24" y="19"/>
                    <a:pt x="22" y="17"/>
                    <a:pt x="19" y="15"/>
                  </a:cubicBezTo>
                  <a:cubicBezTo>
                    <a:pt x="16" y="13"/>
                    <a:pt x="14" y="12"/>
                    <a:pt x="13" y="10"/>
                  </a:cubicBezTo>
                  <a:cubicBezTo>
                    <a:pt x="12" y="9"/>
                    <a:pt x="6" y="4"/>
                    <a:pt x="4" y="3"/>
                  </a:cubicBezTo>
                  <a:cubicBezTo>
                    <a:pt x="3" y="2"/>
                    <a:pt x="6" y="1"/>
                    <a:pt x="4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0"/>
                    <a:pt x="0" y="0"/>
                    <a:pt x="2" y="2"/>
                  </a:cubicBezTo>
                  <a:cubicBezTo>
                    <a:pt x="3" y="3"/>
                    <a:pt x="2" y="2"/>
                    <a:pt x="3" y="5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3" name="Freeform 1358"/>
            <p:cNvSpPr>
              <a:spLocks/>
            </p:cNvSpPr>
            <p:nvPr/>
          </p:nvSpPr>
          <p:spPr bwMode="auto">
            <a:xfrm>
              <a:off x="2876" y="3229"/>
              <a:ext cx="7" cy="6"/>
            </a:xfrm>
            <a:custGeom>
              <a:avLst/>
              <a:gdLst>
                <a:gd name="T0" fmla="*/ 10 w 11"/>
                <a:gd name="T1" fmla="*/ 6 h 8"/>
                <a:gd name="T2" fmla="*/ 10 w 11"/>
                <a:gd name="T3" fmla="*/ 5 h 8"/>
                <a:gd name="T4" fmla="*/ 7 w 11"/>
                <a:gd name="T5" fmla="*/ 4 h 8"/>
                <a:gd name="T6" fmla="*/ 5 w 11"/>
                <a:gd name="T7" fmla="*/ 2 h 8"/>
                <a:gd name="T8" fmla="*/ 1 w 11"/>
                <a:gd name="T9" fmla="*/ 1 h 8"/>
                <a:gd name="T10" fmla="*/ 2 w 11"/>
                <a:gd name="T11" fmla="*/ 5 h 8"/>
                <a:gd name="T12" fmla="*/ 6 w 11"/>
                <a:gd name="T13" fmla="*/ 5 h 8"/>
                <a:gd name="T14" fmla="*/ 9 w 11"/>
                <a:gd name="T15" fmla="*/ 6 h 8"/>
                <a:gd name="T16" fmla="*/ 10 w 11"/>
                <a:gd name="T1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">
                  <a:moveTo>
                    <a:pt x="10" y="6"/>
                  </a:moveTo>
                  <a:cubicBezTo>
                    <a:pt x="11" y="5"/>
                    <a:pt x="10" y="6"/>
                    <a:pt x="10" y="5"/>
                  </a:cubicBezTo>
                  <a:cubicBezTo>
                    <a:pt x="9" y="4"/>
                    <a:pt x="8" y="3"/>
                    <a:pt x="7" y="4"/>
                  </a:cubicBezTo>
                  <a:cubicBezTo>
                    <a:pt x="7" y="4"/>
                    <a:pt x="6" y="2"/>
                    <a:pt x="5" y="2"/>
                  </a:cubicBezTo>
                  <a:cubicBezTo>
                    <a:pt x="4" y="2"/>
                    <a:pt x="2" y="0"/>
                    <a:pt x="1" y="1"/>
                  </a:cubicBezTo>
                  <a:cubicBezTo>
                    <a:pt x="0" y="2"/>
                    <a:pt x="1" y="3"/>
                    <a:pt x="2" y="5"/>
                  </a:cubicBezTo>
                  <a:cubicBezTo>
                    <a:pt x="3" y="6"/>
                    <a:pt x="6" y="7"/>
                    <a:pt x="6" y="5"/>
                  </a:cubicBezTo>
                  <a:cubicBezTo>
                    <a:pt x="6" y="4"/>
                    <a:pt x="9" y="5"/>
                    <a:pt x="9" y="6"/>
                  </a:cubicBezTo>
                  <a:cubicBezTo>
                    <a:pt x="9" y="7"/>
                    <a:pt x="10" y="8"/>
                    <a:pt x="10" y="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4" name="Freeform 1359"/>
            <p:cNvSpPr>
              <a:spLocks/>
            </p:cNvSpPr>
            <p:nvPr/>
          </p:nvSpPr>
          <p:spPr bwMode="auto">
            <a:xfrm>
              <a:off x="2861" y="3179"/>
              <a:ext cx="4" cy="5"/>
            </a:xfrm>
            <a:custGeom>
              <a:avLst/>
              <a:gdLst>
                <a:gd name="T0" fmla="*/ 4 w 6"/>
                <a:gd name="T1" fmla="*/ 3 h 8"/>
                <a:gd name="T2" fmla="*/ 2 w 6"/>
                <a:gd name="T3" fmla="*/ 2 h 8"/>
                <a:gd name="T4" fmla="*/ 0 w 6"/>
                <a:gd name="T5" fmla="*/ 3 h 8"/>
                <a:gd name="T6" fmla="*/ 3 w 6"/>
                <a:gd name="T7" fmla="*/ 5 h 8"/>
                <a:gd name="T8" fmla="*/ 6 w 6"/>
                <a:gd name="T9" fmla="*/ 6 h 8"/>
                <a:gd name="T10" fmla="*/ 4 w 6"/>
                <a:gd name="T11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4" y="3"/>
                  </a:moveTo>
                  <a:cubicBezTo>
                    <a:pt x="3" y="2"/>
                    <a:pt x="3" y="3"/>
                    <a:pt x="2" y="2"/>
                  </a:cubicBezTo>
                  <a:cubicBezTo>
                    <a:pt x="0" y="1"/>
                    <a:pt x="1" y="0"/>
                    <a:pt x="0" y="3"/>
                  </a:cubicBezTo>
                  <a:cubicBezTo>
                    <a:pt x="0" y="5"/>
                    <a:pt x="2" y="4"/>
                    <a:pt x="3" y="5"/>
                  </a:cubicBezTo>
                  <a:cubicBezTo>
                    <a:pt x="4" y="6"/>
                    <a:pt x="6" y="8"/>
                    <a:pt x="6" y="6"/>
                  </a:cubicBezTo>
                  <a:cubicBezTo>
                    <a:pt x="6" y="5"/>
                    <a:pt x="6" y="5"/>
                    <a:pt x="4" y="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5" name="Freeform 1360"/>
            <p:cNvSpPr>
              <a:spLocks/>
            </p:cNvSpPr>
            <p:nvPr/>
          </p:nvSpPr>
          <p:spPr bwMode="auto">
            <a:xfrm>
              <a:off x="2863" y="3187"/>
              <a:ext cx="4" cy="2"/>
            </a:xfrm>
            <a:custGeom>
              <a:avLst/>
              <a:gdLst>
                <a:gd name="T0" fmla="*/ 2 w 5"/>
                <a:gd name="T1" fmla="*/ 0 h 3"/>
                <a:gd name="T2" fmla="*/ 1 w 5"/>
                <a:gd name="T3" fmla="*/ 1 h 3"/>
                <a:gd name="T4" fmla="*/ 3 w 5"/>
                <a:gd name="T5" fmla="*/ 2 h 3"/>
                <a:gd name="T6" fmla="*/ 2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0"/>
                  </a:moveTo>
                  <a:cubicBezTo>
                    <a:pt x="1" y="0"/>
                    <a:pt x="0" y="0"/>
                    <a:pt x="1" y="1"/>
                  </a:cubicBezTo>
                  <a:cubicBezTo>
                    <a:pt x="3" y="3"/>
                    <a:pt x="2" y="3"/>
                    <a:pt x="3" y="2"/>
                  </a:cubicBezTo>
                  <a:cubicBezTo>
                    <a:pt x="3" y="1"/>
                    <a:pt x="5" y="0"/>
                    <a:pt x="2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6" name="Freeform 1361"/>
            <p:cNvSpPr>
              <a:spLocks/>
            </p:cNvSpPr>
            <p:nvPr/>
          </p:nvSpPr>
          <p:spPr bwMode="auto">
            <a:xfrm>
              <a:off x="2838" y="3155"/>
              <a:ext cx="27" cy="25"/>
            </a:xfrm>
            <a:custGeom>
              <a:avLst/>
              <a:gdLst>
                <a:gd name="T0" fmla="*/ 20 w 41"/>
                <a:gd name="T1" fmla="*/ 27 h 39"/>
                <a:gd name="T2" fmla="*/ 22 w 41"/>
                <a:gd name="T3" fmla="*/ 31 h 39"/>
                <a:gd name="T4" fmla="*/ 27 w 41"/>
                <a:gd name="T5" fmla="*/ 35 h 39"/>
                <a:gd name="T6" fmla="*/ 34 w 41"/>
                <a:gd name="T7" fmla="*/ 37 h 39"/>
                <a:gd name="T8" fmla="*/ 37 w 41"/>
                <a:gd name="T9" fmla="*/ 34 h 39"/>
                <a:gd name="T10" fmla="*/ 37 w 41"/>
                <a:gd name="T11" fmla="*/ 29 h 39"/>
                <a:gd name="T12" fmla="*/ 33 w 41"/>
                <a:gd name="T13" fmla="*/ 21 h 39"/>
                <a:gd name="T14" fmla="*/ 28 w 41"/>
                <a:gd name="T15" fmla="*/ 20 h 39"/>
                <a:gd name="T16" fmla="*/ 26 w 41"/>
                <a:gd name="T17" fmla="*/ 11 h 39"/>
                <a:gd name="T18" fmla="*/ 17 w 41"/>
                <a:gd name="T19" fmla="*/ 0 h 39"/>
                <a:gd name="T20" fmla="*/ 15 w 41"/>
                <a:gd name="T21" fmla="*/ 4 h 39"/>
                <a:gd name="T22" fmla="*/ 14 w 41"/>
                <a:gd name="T23" fmla="*/ 14 h 39"/>
                <a:gd name="T24" fmla="*/ 9 w 41"/>
                <a:gd name="T25" fmla="*/ 15 h 39"/>
                <a:gd name="T26" fmla="*/ 10 w 41"/>
                <a:gd name="T27" fmla="*/ 26 h 39"/>
                <a:gd name="T28" fmla="*/ 20 w 41"/>
                <a:gd name="T29" fmla="*/ 2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" h="39">
                  <a:moveTo>
                    <a:pt x="20" y="27"/>
                  </a:moveTo>
                  <a:cubicBezTo>
                    <a:pt x="23" y="28"/>
                    <a:pt x="22" y="28"/>
                    <a:pt x="22" y="31"/>
                  </a:cubicBezTo>
                  <a:cubicBezTo>
                    <a:pt x="22" y="35"/>
                    <a:pt x="27" y="34"/>
                    <a:pt x="27" y="35"/>
                  </a:cubicBezTo>
                  <a:cubicBezTo>
                    <a:pt x="29" y="38"/>
                    <a:pt x="33" y="39"/>
                    <a:pt x="34" y="37"/>
                  </a:cubicBezTo>
                  <a:cubicBezTo>
                    <a:pt x="35" y="36"/>
                    <a:pt x="33" y="33"/>
                    <a:pt x="37" y="34"/>
                  </a:cubicBezTo>
                  <a:cubicBezTo>
                    <a:pt x="41" y="36"/>
                    <a:pt x="41" y="31"/>
                    <a:pt x="37" y="29"/>
                  </a:cubicBezTo>
                  <a:cubicBezTo>
                    <a:pt x="31" y="26"/>
                    <a:pt x="35" y="24"/>
                    <a:pt x="33" y="21"/>
                  </a:cubicBezTo>
                  <a:cubicBezTo>
                    <a:pt x="31" y="20"/>
                    <a:pt x="30" y="23"/>
                    <a:pt x="28" y="20"/>
                  </a:cubicBezTo>
                  <a:cubicBezTo>
                    <a:pt x="25" y="17"/>
                    <a:pt x="29" y="10"/>
                    <a:pt x="26" y="11"/>
                  </a:cubicBezTo>
                  <a:cubicBezTo>
                    <a:pt x="23" y="12"/>
                    <a:pt x="20" y="0"/>
                    <a:pt x="17" y="0"/>
                  </a:cubicBezTo>
                  <a:cubicBezTo>
                    <a:pt x="14" y="0"/>
                    <a:pt x="17" y="2"/>
                    <a:pt x="15" y="4"/>
                  </a:cubicBezTo>
                  <a:cubicBezTo>
                    <a:pt x="13" y="5"/>
                    <a:pt x="15" y="10"/>
                    <a:pt x="14" y="14"/>
                  </a:cubicBezTo>
                  <a:cubicBezTo>
                    <a:pt x="13" y="17"/>
                    <a:pt x="9" y="11"/>
                    <a:pt x="9" y="15"/>
                  </a:cubicBezTo>
                  <a:cubicBezTo>
                    <a:pt x="9" y="19"/>
                    <a:pt x="0" y="17"/>
                    <a:pt x="10" y="26"/>
                  </a:cubicBezTo>
                  <a:cubicBezTo>
                    <a:pt x="15" y="31"/>
                    <a:pt x="17" y="26"/>
                    <a:pt x="20" y="2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7" name="Freeform 1362"/>
            <p:cNvSpPr>
              <a:spLocks/>
            </p:cNvSpPr>
            <p:nvPr/>
          </p:nvSpPr>
          <p:spPr bwMode="auto">
            <a:xfrm>
              <a:off x="2859" y="3184"/>
              <a:ext cx="4" cy="3"/>
            </a:xfrm>
            <a:custGeom>
              <a:avLst/>
              <a:gdLst>
                <a:gd name="T0" fmla="*/ 1 w 5"/>
                <a:gd name="T1" fmla="*/ 2 h 5"/>
                <a:gd name="T2" fmla="*/ 4 w 5"/>
                <a:gd name="T3" fmla="*/ 4 h 5"/>
                <a:gd name="T4" fmla="*/ 1 w 5"/>
                <a:gd name="T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1" y="2"/>
                  </a:moveTo>
                  <a:cubicBezTo>
                    <a:pt x="0" y="4"/>
                    <a:pt x="4" y="5"/>
                    <a:pt x="4" y="4"/>
                  </a:cubicBezTo>
                  <a:cubicBezTo>
                    <a:pt x="5" y="3"/>
                    <a:pt x="1" y="0"/>
                    <a:pt x="1" y="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8" name="Freeform 1363"/>
            <p:cNvSpPr>
              <a:spLocks/>
            </p:cNvSpPr>
            <p:nvPr/>
          </p:nvSpPr>
          <p:spPr bwMode="auto">
            <a:xfrm>
              <a:off x="2890" y="3254"/>
              <a:ext cx="13" cy="13"/>
            </a:xfrm>
            <a:custGeom>
              <a:avLst/>
              <a:gdLst>
                <a:gd name="T0" fmla="*/ 12 w 20"/>
                <a:gd name="T1" fmla="*/ 15 h 19"/>
                <a:gd name="T2" fmla="*/ 17 w 20"/>
                <a:gd name="T3" fmla="*/ 17 h 19"/>
                <a:gd name="T4" fmla="*/ 19 w 20"/>
                <a:gd name="T5" fmla="*/ 17 h 19"/>
                <a:gd name="T6" fmla="*/ 13 w 20"/>
                <a:gd name="T7" fmla="*/ 11 h 19"/>
                <a:gd name="T8" fmla="*/ 10 w 20"/>
                <a:gd name="T9" fmla="*/ 8 h 19"/>
                <a:gd name="T10" fmla="*/ 7 w 20"/>
                <a:gd name="T11" fmla="*/ 5 h 19"/>
                <a:gd name="T12" fmla="*/ 1 w 20"/>
                <a:gd name="T13" fmla="*/ 2 h 19"/>
                <a:gd name="T14" fmla="*/ 1 w 20"/>
                <a:gd name="T15" fmla="*/ 3 h 19"/>
                <a:gd name="T16" fmla="*/ 5 w 20"/>
                <a:gd name="T17" fmla="*/ 8 h 19"/>
                <a:gd name="T18" fmla="*/ 9 w 20"/>
                <a:gd name="T19" fmla="*/ 12 h 19"/>
                <a:gd name="T20" fmla="*/ 12 w 20"/>
                <a:gd name="T21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19">
                  <a:moveTo>
                    <a:pt x="12" y="15"/>
                  </a:moveTo>
                  <a:cubicBezTo>
                    <a:pt x="13" y="14"/>
                    <a:pt x="15" y="18"/>
                    <a:pt x="17" y="17"/>
                  </a:cubicBezTo>
                  <a:cubicBezTo>
                    <a:pt x="18" y="17"/>
                    <a:pt x="18" y="19"/>
                    <a:pt x="19" y="17"/>
                  </a:cubicBezTo>
                  <a:cubicBezTo>
                    <a:pt x="20" y="15"/>
                    <a:pt x="13" y="12"/>
                    <a:pt x="13" y="11"/>
                  </a:cubicBezTo>
                  <a:cubicBezTo>
                    <a:pt x="12" y="9"/>
                    <a:pt x="12" y="7"/>
                    <a:pt x="10" y="8"/>
                  </a:cubicBezTo>
                  <a:cubicBezTo>
                    <a:pt x="9" y="8"/>
                    <a:pt x="11" y="7"/>
                    <a:pt x="7" y="5"/>
                  </a:cubicBezTo>
                  <a:cubicBezTo>
                    <a:pt x="3" y="2"/>
                    <a:pt x="2" y="0"/>
                    <a:pt x="1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4"/>
                    <a:pt x="4" y="6"/>
                    <a:pt x="5" y="8"/>
                  </a:cubicBezTo>
                  <a:cubicBezTo>
                    <a:pt x="6" y="11"/>
                    <a:pt x="7" y="10"/>
                    <a:pt x="9" y="12"/>
                  </a:cubicBezTo>
                  <a:cubicBezTo>
                    <a:pt x="10" y="14"/>
                    <a:pt x="11" y="15"/>
                    <a:pt x="12" y="15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89" name="Freeform 1364"/>
            <p:cNvSpPr>
              <a:spLocks/>
            </p:cNvSpPr>
            <p:nvPr/>
          </p:nvSpPr>
          <p:spPr bwMode="auto">
            <a:xfrm>
              <a:off x="2843" y="3175"/>
              <a:ext cx="8" cy="5"/>
            </a:xfrm>
            <a:custGeom>
              <a:avLst/>
              <a:gdLst>
                <a:gd name="T0" fmla="*/ 6 w 12"/>
                <a:gd name="T1" fmla="*/ 1 h 7"/>
                <a:gd name="T2" fmla="*/ 6 w 12"/>
                <a:gd name="T3" fmla="*/ 4 h 7"/>
                <a:gd name="T4" fmla="*/ 6 w 12"/>
                <a:gd name="T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6" y="1"/>
                  </a:moveTo>
                  <a:cubicBezTo>
                    <a:pt x="6" y="2"/>
                    <a:pt x="0" y="0"/>
                    <a:pt x="6" y="4"/>
                  </a:cubicBezTo>
                  <a:cubicBezTo>
                    <a:pt x="12" y="7"/>
                    <a:pt x="7" y="0"/>
                    <a:pt x="6" y="1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0" name="Freeform 1365"/>
            <p:cNvSpPr>
              <a:spLocks/>
            </p:cNvSpPr>
            <p:nvPr/>
          </p:nvSpPr>
          <p:spPr bwMode="auto">
            <a:xfrm>
              <a:off x="2890" y="3265"/>
              <a:ext cx="7" cy="7"/>
            </a:xfrm>
            <a:custGeom>
              <a:avLst/>
              <a:gdLst>
                <a:gd name="T0" fmla="*/ 1 w 11"/>
                <a:gd name="T1" fmla="*/ 2 h 11"/>
                <a:gd name="T2" fmla="*/ 5 w 11"/>
                <a:gd name="T3" fmla="*/ 5 h 11"/>
                <a:gd name="T4" fmla="*/ 10 w 11"/>
                <a:gd name="T5" fmla="*/ 9 h 11"/>
                <a:gd name="T6" fmla="*/ 10 w 11"/>
                <a:gd name="T7" fmla="*/ 8 h 11"/>
                <a:gd name="T8" fmla="*/ 7 w 11"/>
                <a:gd name="T9" fmla="*/ 4 h 11"/>
                <a:gd name="T10" fmla="*/ 6 w 11"/>
                <a:gd name="T11" fmla="*/ 3 h 11"/>
                <a:gd name="T12" fmla="*/ 4 w 11"/>
                <a:gd name="T13" fmla="*/ 2 h 11"/>
                <a:gd name="T14" fmla="*/ 1 w 11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1">
                  <a:moveTo>
                    <a:pt x="1" y="2"/>
                  </a:moveTo>
                  <a:cubicBezTo>
                    <a:pt x="0" y="3"/>
                    <a:pt x="4" y="4"/>
                    <a:pt x="5" y="5"/>
                  </a:cubicBezTo>
                  <a:cubicBezTo>
                    <a:pt x="6" y="7"/>
                    <a:pt x="8" y="7"/>
                    <a:pt x="10" y="9"/>
                  </a:cubicBezTo>
                  <a:cubicBezTo>
                    <a:pt x="11" y="11"/>
                    <a:pt x="11" y="10"/>
                    <a:pt x="10" y="8"/>
                  </a:cubicBezTo>
                  <a:cubicBezTo>
                    <a:pt x="9" y="6"/>
                    <a:pt x="7" y="5"/>
                    <a:pt x="7" y="4"/>
                  </a:cubicBezTo>
                  <a:cubicBezTo>
                    <a:pt x="8" y="3"/>
                    <a:pt x="6" y="1"/>
                    <a:pt x="6" y="3"/>
                  </a:cubicBezTo>
                  <a:cubicBezTo>
                    <a:pt x="6" y="4"/>
                    <a:pt x="4" y="3"/>
                    <a:pt x="4" y="2"/>
                  </a:cubicBezTo>
                  <a:cubicBezTo>
                    <a:pt x="5" y="2"/>
                    <a:pt x="2" y="0"/>
                    <a:pt x="1" y="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1" name="Freeform 1366"/>
            <p:cNvSpPr>
              <a:spLocks/>
            </p:cNvSpPr>
            <p:nvPr/>
          </p:nvSpPr>
          <p:spPr bwMode="auto">
            <a:xfrm>
              <a:off x="2859" y="3199"/>
              <a:ext cx="31" cy="36"/>
            </a:xfrm>
            <a:custGeom>
              <a:avLst/>
              <a:gdLst>
                <a:gd name="T0" fmla="*/ 5 w 48"/>
                <a:gd name="T1" fmla="*/ 8 h 55"/>
                <a:gd name="T2" fmla="*/ 12 w 48"/>
                <a:gd name="T3" fmla="*/ 18 h 55"/>
                <a:gd name="T4" fmla="*/ 14 w 48"/>
                <a:gd name="T5" fmla="*/ 21 h 55"/>
                <a:gd name="T6" fmla="*/ 17 w 48"/>
                <a:gd name="T7" fmla="*/ 25 h 55"/>
                <a:gd name="T8" fmla="*/ 18 w 48"/>
                <a:gd name="T9" fmla="*/ 29 h 55"/>
                <a:gd name="T10" fmla="*/ 26 w 48"/>
                <a:gd name="T11" fmla="*/ 35 h 55"/>
                <a:gd name="T12" fmla="*/ 33 w 48"/>
                <a:gd name="T13" fmla="*/ 41 h 55"/>
                <a:gd name="T14" fmla="*/ 33 w 48"/>
                <a:gd name="T15" fmla="*/ 44 h 55"/>
                <a:gd name="T16" fmla="*/ 34 w 48"/>
                <a:gd name="T17" fmla="*/ 47 h 55"/>
                <a:gd name="T18" fmla="*/ 37 w 48"/>
                <a:gd name="T19" fmla="*/ 51 h 55"/>
                <a:gd name="T20" fmla="*/ 39 w 48"/>
                <a:gd name="T21" fmla="*/ 51 h 55"/>
                <a:gd name="T22" fmla="*/ 38 w 48"/>
                <a:gd name="T23" fmla="*/ 48 h 55"/>
                <a:gd name="T24" fmla="*/ 43 w 48"/>
                <a:gd name="T25" fmla="*/ 47 h 55"/>
                <a:gd name="T26" fmla="*/ 48 w 48"/>
                <a:gd name="T27" fmla="*/ 47 h 55"/>
                <a:gd name="T28" fmla="*/ 42 w 48"/>
                <a:gd name="T29" fmla="*/ 42 h 55"/>
                <a:gd name="T30" fmla="*/ 39 w 48"/>
                <a:gd name="T31" fmla="*/ 39 h 55"/>
                <a:gd name="T32" fmla="*/ 32 w 48"/>
                <a:gd name="T33" fmla="*/ 32 h 55"/>
                <a:gd name="T34" fmla="*/ 29 w 48"/>
                <a:gd name="T35" fmla="*/ 33 h 55"/>
                <a:gd name="T36" fmla="*/ 22 w 48"/>
                <a:gd name="T37" fmla="*/ 25 h 55"/>
                <a:gd name="T38" fmla="*/ 18 w 48"/>
                <a:gd name="T39" fmla="*/ 21 h 55"/>
                <a:gd name="T40" fmla="*/ 23 w 48"/>
                <a:gd name="T41" fmla="*/ 24 h 55"/>
                <a:gd name="T42" fmla="*/ 27 w 48"/>
                <a:gd name="T43" fmla="*/ 27 h 55"/>
                <a:gd name="T44" fmla="*/ 30 w 48"/>
                <a:gd name="T45" fmla="*/ 26 h 55"/>
                <a:gd name="T46" fmla="*/ 24 w 48"/>
                <a:gd name="T47" fmla="*/ 21 h 55"/>
                <a:gd name="T48" fmla="*/ 22 w 48"/>
                <a:gd name="T49" fmla="*/ 18 h 55"/>
                <a:gd name="T50" fmla="*/ 15 w 48"/>
                <a:gd name="T51" fmla="*/ 12 h 55"/>
                <a:gd name="T52" fmla="*/ 14 w 48"/>
                <a:gd name="T53" fmla="*/ 16 h 55"/>
                <a:gd name="T54" fmla="*/ 9 w 48"/>
                <a:gd name="T55" fmla="*/ 10 h 55"/>
                <a:gd name="T56" fmla="*/ 5 w 48"/>
                <a:gd name="T57" fmla="*/ 4 h 55"/>
                <a:gd name="T58" fmla="*/ 2 w 48"/>
                <a:gd name="T59" fmla="*/ 3 h 55"/>
                <a:gd name="T60" fmla="*/ 5 w 48"/>
                <a:gd name="T61" fmla="*/ 8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8" h="55">
                  <a:moveTo>
                    <a:pt x="5" y="8"/>
                  </a:moveTo>
                  <a:cubicBezTo>
                    <a:pt x="6" y="10"/>
                    <a:pt x="7" y="11"/>
                    <a:pt x="12" y="18"/>
                  </a:cubicBezTo>
                  <a:cubicBezTo>
                    <a:pt x="13" y="19"/>
                    <a:pt x="14" y="18"/>
                    <a:pt x="14" y="21"/>
                  </a:cubicBezTo>
                  <a:cubicBezTo>
                    <a:pt x="14" y="23"/>
                    <a:pt x="15" y="21"/>
                    <a:pt x="17" y="25"/>
                  </a:cubicBezTo>
                  <a:cubicBezTo>
                    <a:pt x="20" y="28"/>
                    <a:pt x="13" y="25"/>
                    <a:pt x="18" y="29"/>
                  </a:cubicBezTo>
                  <a:cubicBezTo>
                    <a:pt x="22" y="34"/>
                    <a:pt x="20" y="26"/>
                    <a:pt x="26" y="35"/>
                  </a:cubicBezTo>
                  <a:cubicBezTo>
                    <a:pt x="32" y="45"/>
                    <a:pt x="29" y="38"/>
                    <a:pt x="33" y="41"/>
                  </a:cubicBezTo>
                  <a:cubicBezTo>
                    <a:pt x="37" y="43"/>
                    <a:pt x="33" y="42"/>
                    <a:pt x="33" y="44"/>
                  </a:cubicBezTo>
                  <a:cubicBezTo>
                    <a:pt x="32" y="45"/>
                    <a:pt x="35" y="46"/>
                    <a:pt x="34" y="47"/>
                  </a:cubicBezTo>
                  <a:cubicBezTo>
                    <a:pt x="33" y="48"/>
                    <a:pt x="33" y="48"/>
                    <a:pt x="37" y="51"/>
                  </a:cubicBezTo>
                  <a:cubicBezTo>
                    <a:pt x="42" y="55"/>
                    <a:pt x="41" y="52"/>
                    <a:pt x="39" y="51"/>
                  </a:cubicBezTo>
                  <a:cubicBezTo>
                    <a:pt x="37" y="49"/>
                    <a:pt x="35" y="46"/>
                    <a:pt x="38" y="48"/>
                  </a:cubicBezTo>
                  <a:cubicBezTo>
                    <a:pt x="42" y="50"/>
                    <a:pt x="47" y="51"/>
                    <a:pt x="43" y="47"/>
                  </a:cubicBezTo>
                  <a:cubicBezTo>
                    <a:pt x="40" y="43"/>
                    <a:pt x="46" y="49"/>
                    <a:pt x="48" y="47"/>
                  </a:cubicBezTo>
                  <a:cubicBezTo>
                    <a:pt x="48" y="46"/>
                    <a:pt x="44" y="42"/>
                    <a:pt x="42" y="42"/>
                  </a:cubicBezTo>
                  <a:cubicBezTo>
                    <a:pt x="41" y="42"/>
                    <a:pt x="41" y="39"/>
                    <a:pt x="39" y="39"/>
                  </a:cubicBezTo>
                  <a:cubicBezTo>
                    <a:pt x="37" y="39"/>
                    <a:pt x="38" y="36"/>
                    <a:pt x="32" y="32"/>
                  </a:cubicBezTo>
                  <a:cubicBezTo>
                    <a:pt x="27" y="27"/>
                    <a:pt x="30" y="31"/>
                    <a:pt x="29" y="33"/>
                  </a:cubicBezTo>
                  <a:cubicBezTo>
                    <a:pt x="28" y="35"/>
                    <a:pt x="24" y="26"/>
                    <a:pt x="22" y="25"/>
                  </a:cubicBezTo>
                  <a:cubicBezTo>
                    <a:pt x="20" y="24"/>
                    <a:pt x="17" y="21"/>
                    <a:pt x="18" y="21"/>
                  </a:cubicBezTo>
                  <a:cubicBezTo>
                    <a:pt x="21" y="22"/>
                    <a:pt x="19" y="22"/>
                    <a:pt x="23" y="24"/>
                  </a:cubicBezTo>
                  <a:cubicBezTo>
                    <a:pt x="28" y="26"/>
                    <a:pt x="23" y="25"/>
                    <a:pt x="27" y="27"/>
                  </a:cubicBezTo>
                  <a:cubicBezTo>
                    <a:pt x="31" y="30"/>
                    <a:pt x="33" y="31"/>
                    <a:pt x="30" y="26"/>
                  </a:cubicBezTo>
                  <a:cubicBezTo>
                    <a:pt x="28" y="22"/>
                    <a:pt x="25" y="23"/>
                    <a:pt x="24" y="21"/>
                  </a:cubicBezTo>
                  <a:cubicBezTo>
                    <a:pt x="24" y="20"/>
                    <a:pt x="22" y="21"/>
                    <a:pt x="22" y="18"/>
                  </a:cubicBezTo>
                  <a:cubicBezTo>
                    <a:pt x="21" y="16"/>
                    <a:pt x="19" y="12"/>
                    <a:pt x="15" y="12"/>
                  </a:cubicBezTo>
                  <a:cubicBezTo>
                    <a:pt x="12" y="12"/>
                    <a:pt x="17" y="19"/>
                    <a:pt x="14" y="16"/>
                  </a:cubicBezTo>
                  <a:cubicBezTo>
                    <a:pt x="10" y="13"/>
                    <a:pt x="12" y="13"/>
                    <a:pt x="9" y="10"/>
                  </a:cubicBezTo>
                  <a:cubicBezTo>
                    <a:pt x="6" y="8"/>
                    <a:pt x="8" y="8"/>
                    <a:pt x="5" y="4"/>
                  </a:cubicBezTo>
                  <a:cubicBezTo>
                    <a:pt x="2" y="1"/>
                    <a:pt x="0" y="0"/>
                    <a:pt x="2" y="3"/>
                  </a:cubicBezTo>
                  <a:cubicBezTo>
                    <a:pt x="3" y="6"/>
                    <a:pt x="4" y="6"/>
                    <a:pt x="5" y="8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2" name="Freeform 1367"/>
            <p:cNvSpPr>
              <a:spLocks/>
            </p:cNvSpPr>
            <p:nvPr/>
          </p:nvSpPr>
          <p:spPr bwMode="auto">
            <a:xfrm>
              <a:off x="2851" y="3227"/>
              <a:ext cx="5" cy="6"/>
            </a:xfrm>
            <a:custGeom>
              <a:avLst/>
              <a:gdLst>
                <a:gd name="T0" fmla="*/ 4 w 8"/>
                <a:gd name="T1" fmla="*/ 7 h 9"/>
                <a:gd name="T2" fmla="*/ 6 w 8"/>
                <a:gd name="T3" fmla="*/ 6 h 9"/>
                <a:gd name="T4" fmla="*/ 4 w 8"/>
                <a:gd name="T5" fmla="*/ 4 h 9"/>
                <a:gd name="T6" fmla="*/ 0 w 8"/>
                <a:gd name="T7" fmla="*/ 2 h 9"/>
                <a:gd name="T8" fmla="*/ 4 w 8"/>
                <a:gd name="T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4" y="7"/>
                  </a:moveTo>
                  <a:cubicBezTo>
                    <a:pt x="7" y="9"/>
                    <a:pt x="8" y="7"/>
                    <a:pt x="6" y="6"/>
                  </a:cubicBezTo>
                  <a:cubicBezTo>
                    <a:pt x="4" y="5"/>
                    <a:pt x="7" y="6"/>
                    <a:pt x="4" y="4"/>
                  </a:cubicBezTo>
                  <a:cubicBezTo>
                    <a:pt x="1" y="3"/>
                    <a:pt x="1" y="0"/>
                    <a:pt x="0" y="2"/>
                  </a:cubicBezTo>
                  <a:cubicBezTo>
                    <a:pt x="0" y="3"/>
                    <a:pt x="1" y="3"/>
                    <a:pt x="4" y="7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3" name="Freeform 1368"/>
            <p:cNvSpPr>
              <a:spLocks/>
            </p:cNvSpPr>
            <p:nvPr/>
          </p:nvSpPr>
          <p:spPr bwMode="auto">
            <a:xfrm>
              <a:off x="2854" y="3186"/>
              <a:ext cx="14" cy="13"/>
            </a:xfrm>
            <a:custGeom>
              <a:avLst/>
              <a:gdLst>
                <a:gd name="T0" fmla="*/ 10 w 21"/>
                <a:gd name="T1" fmla="*/ 13 h 20"/>
                <a:gd name="T2" fmla="*/ 18 w 21"/>
                <a:gd name="T3" fmla="*/ 20 h 20"/>
                <a:gd name="T4" fmla="*/ 20 w 21"/>
                <a:gd name="T5" fmla="*/ 18 h 20"/>
                <a:gd name="T6" fmla="*/ 17 w 21"/>
                <a:gd name="T7" fmla="*/ 13 h 20"/>
                <a:gd name="T8" fmla="*/ 10 w 21"/>
                <a:gd name="T9" fmla="*/ 6 h 20"/>
                <a:gd name="T10" fmla="*/ 9 w 21"/>
                <a:gd name="T11" fmla="*/ 4 h 20"/>
                <a:gd name="T12" fmla="*/ 10 w 21"/>
                <a:gd name="T13" fmla="*/ 3 h 20"/>
                <a:gd name="T14" fmla="*/ 10 w 21"/>
                <a:gd name="T15" fmla="*/ 2 h 20"/>
                <a:gd name="T16" fmla="*/ 8 w 21"/>
                <a:gd name="T17" fmla="*/ 1 h 20"/>
                <a:gd name="T18" fmla="*/ 6 w 21"/>
                <a:gd name="T19" fmla="*/ 3 h 20"/>
                <a:gd name="T20" fmla="*/ 4 w 21"/>
                <a:gd name="T21" fmla="*/ 3 h 20"/>
                <a:gd name="T22" fmla="*/ 7 w 21"/>
                <a:gd name="T23" fmla="*/ 7 h 20"/>
                <a:gd name="T24" fmla="*/ 5 w 21"/>
                <a:gd name="T25" fmla="*/ 7 h 20"/>
                <a:gd name="T26" fmla="*/ 6 w 21"/>
                <a:gd name="T27" fmla="*/ 9 h 20"/>
                <a:gd name="T28" fmla="*/ 4 w 21"/>
                <a:gd name="T29" fmla="*/ 8 h 20"/>
                <a:gd name="T30" fmla="*/ 2 w 21"/>
                <a:gd name="T31" fmla="*/ 10 h 20"/>
                <a:gd name="T32" fmla="*/ 6 w 21"/>
                <a:gd name="T33" fmla="*/ 13 h 20"/>
                <a:gd name="T34" fmla="*/ 8 w 21"/>
                <a:gd name="T35" fmla="*/ 13 h 20"/>
                <a:gd name="T36" fmla="*/ 10 w 21"/>
                <a:gd name="T37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20">
                  <a:moveTo>
                    <a:pt x="10" y="13"/>
                  </a:moveTo>
                  <a:cubicBezTo>
                    <a:pt x="13" y="13"/>
                    <a:pt x="18" y="20"/>
                    <a:pt x="18" y="20"/>
                  </a:cubicBezTo>
                  <a:cubicBezTo>
                    <a:pt x="20" y="20"/>
                    <a:pt x="21" y="18"/>
                    <a:pt x="20" y="18"/>
                  </a:cubicBezTo>
                  <a:cubicBezTo>
                    <a:pt x="19" y="17"/>
                    <a:pt x="20" y="16"/>
                    <a:pt x="17" y="13"/>
                  </a:cubicBezTo>
                  <a:cubicBezTo>
                    <a:pt x="14" y="10"/>
                    <a:pt x="11" y="8"/>
                    <a:pt x="10" y="6"/>
                  </a:cubicBezTo>
                  <a:cubicBezTo>
                    <a:pt x="10" y="5"/>
                    <a:pt x="9" y="5"/>
                    <a:pt x="9" y="4"/>
                  </a:cubicBezTo>
                  <a:cubicBezTo>
                    <a:pt x="10" y="4"/>
                    <a:pt x="11" y="5"/>
                    <a:pt x="10" y="3"/>
                  </a:cubicBezTo>
                  <a:cubicBezTo>
                    <a:pt x="10" y="2"/>
                    <a:pt x="12" y="4"/>
                    <a:pt x="10" y="2"/>
                  </a:cubicBezTo>
                  <a:cubicBezTo>
                    <a:pt x="9" y="0"/>
                    <a:pt x="10" y="2"/>
                    <a:pt x="8" y="1"/>
                  </a:cubicBezTo>
                  <a:cubicBezTo>
                    <a:pt x="6" y="0"/>
                    <a:pt x="9" y="4"/>
                    <a:pt x="6" y="3"/>
                  </a:cubicBezTo>
                  <a:cubicBezTo>
                    <a:pt x="4" y="1"/>
                    <a:pt x="3" y="1"/>
                    <a:pt x="4" y="3"/>
                  </a:cubicBezTo>
                  <a:cubicBezTo>
                    <a:pt x="6" y="5"/>
                    <a:pt x="8" y="6"/>
                    <a:pt x="7" y="7"/>
                  </a:cubicBezTo>
                  <a:cubicBezTo>
                    <a:pt x="7" y="8"/>
                    <a:pt x="5" y="5"/>
                    <a:pt x="5" y="7"/>
                  </a:cubicBezTo>
                  <a:cubicBezTo>
                    <a:pt x="5" y="8"/>
                    <a:pt x="7" y="10"/>
                    <a:pt x="6" y="9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7"/>
                    <a:pt x="0" y="8"/>
                    <a:pt x="2" y="10"/>
                  </a:cubicBezTo>
                  <a:cubicBezTo>
                    <a:pt x="4" y="12"/>
                    <a:pt x="6" y="13"/>
                    <a:pt x="6" y="13"/>
                  </a:cubicBezTo>
                  <a:cubicBezTo>
                    <a:pt x="7" y="12"/>
                    <a:pt x="6" y="13"/>
                    <a:pt x="8" y="13"/>
                  </a:cubicBezTo>
                  <a:cubicBezTo>
                    <a:pt x="10" y="12"/>
                    <a:pt x="9" y="13"/>
                    <a:pt x="10" y="1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4" name="Freeform 1369"/>
            <p:cNvSpPr>
              <a:spLocks/>
            </p:cNvSpPr>
            <p:nvPr/>
          </p:nvSpPr>
          <p:spPr bwMode="auto">
            <a:xfrm>
              <a:off x="3077" y="3374"/>
              <a:ext cx="4" cy="9"/>
            </a:xfrm>
            <a:custGeom>
              <a:avLst/>
              <a:gdLst>
                <a:gd name="T0" fmla="*/ 6 w 6"/>
                <a:gd name="T1" fmla="*/ 14 h 14"/>
                <a:gd name="T2" fmla="*/ 0 w 6"/>
                <a:gd name="T3" fmla="*/ 0 h 14"/>
                <a:gd name="T4" fmla="*/ 6 w 6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4">
                  <a:moveTo>
                    <a:pt x="6" y="14"/>
                  </a:moveTo>
                  <a:cubicBezTo>
                    <a:pt x="4" y="10"/>
                    <a:pt x="3" y="4"/>
                    <a:pt x="0" y="0"/>
                  </a:cubicBezTo>
                  <a:lnTo>
                    <a:pt x="6" y="14"/>
                  </a:ln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5" name="Freeform 1370"/>
            <p:cNvSpPr>
              <a:spLocks/>
            </p:cNvSpPr>
            <p:nvPr/>
          </p:nvSpPr>
          <p:spPr bwMode="auto">
            <a:xfrm>
              <a:off x="3301" y="3237"/>
              <a:ext cx="370" cy="244"/>
            </a:xfrm>
            <a:custGeom>
              <a:avLst/>
              <a:gdLst>
                <a:gd name="T0" fmla="*/ 510 w 564"/>
                <a:gd name="T1" fmla="*/ 46 h 372"/>
                <a:gd name="T2" fmla="*/ 503 w 564"/>
                <a:gd name="T3" fmla="*/ 30 h 372"/>
                <a:gd name="T4" fmla="*/ 479 w 564"/>
                <a:gd name="T5" fmla="*/ 23 h 372"/>
                <a:gd name="T6" fmla="*/ 457 w 564"/>
                <a:gd name="T7" fmla="*/ 28 h 372"/>
                <a:gd name="T8" fmla="*/ 414 w 564"/>
                <a:gd name="T9" fmla="*/ 13 h 372"/>
                <a:gd name="T10" fmla="*/ 342 w 564"/>
                <a:gd name="T11" fmla="*/ 34 h 372"/>
                <a:gd name="T12" fmla="*/ 293 w 564"/>
                <a:gd name="T13" fmla="*/ 73 h 372"/>
                <a:gd name="T14" fmla="*/ 198 w 564"/>
                <a:gd name="T15" fmla="*/ 59 h 372"/>
                <a:gd name="T16" fmla="*/ 183 w 564"/>
                <a:gd name="T17" fmla="*/ 67 h 372"/>
                <a:gd name="T18" fmla="*/ 107 w 564"/>
                <a:gd name="T19" fmla="*/ 50 h 372"/>
                <a:gd name="T20" fmla="*/ 51 w 564"/>
                <a:gd name="T21" fmla="*/ 48 h 372"/>
                <a:gd name="T22" fmla="*/ 67 w 564"/>
                <a:gd name="T23" fmla="*/ 19 h 372"/>
                <a:gd name="T24" fmla="*/ 36 w 564"/>
                <a:gd name="T25" fmla="*/ 0 h 372"/>
                <a:gd name="T26" fmla="*/ 30 w 564"/>
                <a:gd name="T27" fmla="*/ 21 h 372"/>
                <a:gd name="T28" fmla="*/ 12 w 564"/>
                <a:gd name="T29" fmla="*/ 30 h 372"/>
                <a:gd name="T30" fmla="*/ 24 w 564"/>
                <a:gd name="T31" fmla="*/ 96 h 372"/>
                <a:gd name="T32" fmla="*/ 64 w 564"/>
                <a:gd name="T33" fmla="*/ 130 h 372"/>
                <a:gd name="T34" fmla="*/ 41 w 564"/>
                <a:gd name="T35" fmla="*/ 169 h 372"/>
                <a:gd name="T36" fmla="*/ 14 w 564"/>
                <a:gd name="T37" fmla="*/ 177 h 372"/>
                <a:gd name="T38" fmla="*/ 14 w 564"/>
                <a:gd name="T39" fmla="*/ 208 h 372"/>
                <a:gd name="T40" fmla="*/ 18 w 564"/>
                <a:gd name="T41" fmla="*/ 210 h 372"/>
                <a:gd name="T42" fmla="*/ 24 w 564"/>
                <a:gd name="T43" fmla="*/ 219 h 372"/>
                <a:gd name="T44" fmla="*/ 8 w 564"/>
                <a:gd name="T45" fmla="*/ 239 h 372"/>
                <a:gd name="T46" fmla="*/ 47 w 564"/>
                <a:gd name="T47" fmla="*/ 272 h 372"/>
                <a:gd name="T48" fmla="*/ 66 w 564"/>
                <a:gd name="T49" fmla="*/ 307 h 372"/>
                <a:gd name="T50" fmla="*/ 60 w 564"/>
                <a:gd name="T51" fmla="*/ 358 h 372"/>
                <a:gd name="T52" fmla="*/ 81 w 564"/>
                <a:gd name="T53" fmla="*/ 362 h 372"/>
                <a:gd name="T54" fmla="*/ 90 w 564"/>
                <a:gd name="T55" fmla="*/ 352 h 372"/>
                <a:gd name="T56" fmla="*/ 98 w 564"/>
                <a:gd name="T57" fmla="*/ 352 h 372"/>
                <a:gd name="T58" fmla="*/ 107 w 564"/>
                <a:gd name="T59" fmla="*/ 352 h 372"/>
                <a:gd name="T60" fmla="*/ 115 w 564"/>
                <a:gd name="T61" fmla="*/ 352 h 372"/>
                <a:gd name="T62" fmla="*/ 124 w 564"/>
                <a:gd name="T63" fmla="*/ 352 h 372"/>
                <a:gd name="T64" fmla="*/ 176 w 564"/>
                <a:gd name="T65" fmla="*/ 332 h 372"/>
                <a:gd name="T66" fmla="*/ 186 w 564"/>
                <a:gd name="T67" fmla="*/ 338 h 372"/>
                <a:gd name="T68" fmla="*/ 201 w 564"/>
                <a:gd name="T69" fmla="*/ 332 h 372"/>
                <a:gd name="T70" fmla="*/ 225 w 564"/>
                <a:gd name="T71" fmla="*/ 358 h 372"/>
                <a:gd name="T72" fmla="*/ 229 w 564"/>
                <a:gd name="T73" fmla="*/ 354 h 372"/>
                <a:gd name="T74" fmla="*/ 234 w 564"/>
                <a:gd name="T75" fmla="*/ 350 h 372"/>
                <a:gd name="T76" fmla="*/ 264 w 564"/>
                <a:gd name="T77" fmla="*/ 371 h 372"/>
                <a:gd name="T78" fmla="*/ 283 w 564"/>
                <a:gd name="T79" fmla="*/ 367 h 372"/>
                <a:gd name="T80" fmla="*/ 344 w 564"/>
                <a:gd name="T81" fmla="*/ 358 h 372"/>
                <a:gd name="T82" fmla="*/ 351 w 564"/>
                <a:gd name="T83" fmla="*/ 309 h 372"/>
                <a:gd name="T84" fmla="*/ 363 w 564"/>
                <a:gd name="T85" fmla="*/ 313 h 372"/>
                <a:gd name="T86" fmla="*/ 381 w 564"/>
                <a:gd name="T87" fmla="*/ 299 h 372"/>
                <a:gd name="T88" fmla="*/ 388 w 564"/>
                <a:gd name="T89" fmla="*/ 280 h 372"/>
                <a:gd name="T90" fmla="*/ 408 w 564"/>
                <a:gd name="T91" fmla="*/ 282 h 372"/>
                <a:gd name="T92" fmla="*/ 443 w 564"/>
                <a:gd name="T93" fmla="*/ 266 h 372"/>
                <a:gd name="T94" fmla="*/ 472 w 564"/>
                <a:gd name="T95" fmla="*/ 291 h 372"/>
                <a:gd name="T96" fmla="*/ 513 w 564"/>
                <a:gd name="T97" fmla="*/ 281 h 372"/>
                <a:gd name="T98" fmla="*/ 512 w 564"/>
                <a:gd name="T99" fmla="*/ 278 h 372"/>
                <a:gd name="T100" fmla="*/ 488 w 564"/>
                <a:gd name="T101" fmla="*/ 247 h 372"/>
                <a:gd name="T102" fmla="*/ 485 w 564"/>
                <a:gd name="T103" fmla="*/ 228 h 372"/>
                <a:gd name="T104" fmla="*/ 463 w 564"/>
                <a:gd name="T105" fmla="*/ 224 h 372"/>
                <a:gd name="T106" fmla="*/ 468 w 564"/>
                <a:gd name="T107" fmla="*/ 209 h 372"/>
                <a:gd name="T108" fmla="*/ 475 w 564"/>
                <a:gd name="T109" fmla="*/ 209 h 372"/>
                <a:gd name="T110" fmla="*/ 486 w 564"/>
                <a:gd name="T111" fmla="*/ 190 h 372"/>
                <a:gd name="T112" fmla="*/ 501 w 564"/>
                <a:gd name="T113" fmla="*/ 191 h 372"/>
                <a:gd name="T114" fmla="*/ 502 w 564"/>
                <a:gd name="T115" fmla="*/ 130 h 372"/>
                <a:gd name="T116" fmla="*/ 515 w 564"/>
                <a:gd name="T117" fmla="*/ 120 h 372"/>
                <a:gd name="T118" fmla="*/ 524 w 564"/>
                <a:gd name="T119" fmla="*/ 104 h 372"/>
                <a:gd name="T120" fmla="*/ 552 w 564"/>
                <a:gd name="T121" fmla="*/ 109 h 372"/>
                <a:gd name="T122" fmla="*/ 564 w 564"/>
                <a:gd name="T123" fmla="*/ 61 h 372"/>
                <a:gd name="T124" fmla="*/ 510 w 564"/>
                <a:gd name="T125" fmla="*/ 4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4" h="372">
                  <a:moveTo>
                    <a:pt x="510" y="46"/>
                  </a:moveTo>
                  <a:cubicBezTo>
                    <a:pt x="509" y="44"/>
                    <a:pt x="508" y="29"/>
                    <a:pt x="503" y="30"/>
                  </a:cubicBezTo>
                  <a:cubicBezTo>
                    <a:pt x="482" y="33"/>
                    <a:pt x="493" y="30"/>
                    <a:pt x="479" y="23"/>
                  </a:cubicBezTo>
                  <a:cubicBezTo>
                    <a:pt x="474" y="21"/>
                    <a:pt x="463" y="29"/>
                    <a:pt x="457" y="28"/>
                  </a:cubicBezTo>
                  <a:cubicBezTo>
                    <a:pt x="440" y="23"/>
                    <a:pt x="454" y="7"/>
                    <a:pt x="414" y="13"/>
                  </a:cubicBezTo>
                  <a:cubicBezTo>
                    <a:pt x="394" y="16"/>
                    <a:pt x="359" y="23"/>
                    <a:pt x="342" y="34"/>
                  </a:cubicBezTo>
                  <a:cubicBezTo>
                    <a:pt x="324" y="46"/>
                    <a:pt x="316" y="65"/>
                    <a:pt x="293" y="73"/>
                  </a:cubicBezTo>
                  <a:cubicBezTo>
                    <a:pt x="264" y="84"/>
                    <a:pt x="230" y="50"/>
                    <a:pt x="198" y="59"/>
                  </a:cubicBezTo>
                  <a:cubicBezTo>
                    <a:pt x="198" y="59"/>
                    <a:pt x="183" y="67"/>
                    <a:pt x="183" y="67"/>
                  </a:cubicBezTo>
                  <a:cubicBezTo>
                    <a:pt x="160" y="71"/>
                    <a:pt x="129" y="57"/>
                    <a:pt x="107" y="50"/>
                  </a:cubicBezTo>
                  <a:cubicBezTo>
                    <a:pt x="90" y="45"/>
                    <a:pt x="67" y="64"/>
                    <a:pt x="51" y="48"/>
                  </a:cubicBezTo>
                  <a:cubicBezTo>
                    <a:pt x="39" y="36"/>
                    <a:pt x="75" y="26"/>
                    <a:pt x="67" y="19"/>
                  </a:cubicBezTo>
                  <a:cubicBezTo>
                    <a:pt x="61" y="14"/>
                    <a:pt x="48" y="8"/>
                    <a:pt x="36" y="0"/>
                  </a:cubicBezTo>
                  <a:cubicBezTo>
                    <a:pt x="32" y="5"/>
                    <a:pt x="33" y="18"/>
                    <a:pt x="30" y="21"/>
                  </a:cubicBezTo>
                  <a:cubicBezTo>
                    <a:pt x="30" y="21"/>
                    <a:pt x="12" y="30"/>
                    <a:pt x="12" y="30"/>
                  </a:cubicBezTo>
                  <a:cubicBezTo>
                    <a:pt x="0" y="42"/>
                    <a:pt x="17" y="85"/>
                    <a:pt x="24" y="96"/>
                  </a:cubicBezTo>
                  <a:cubicBezTo>
                    <a:pt x="32" y="109"/>
                    <a:pt x="56" y="115"/>
                    <a:pt x="64" y="130"/>
                  </a:cubicBezTo>
                  <a:cubicBezTo>
                    <a:pt x="68" y="135"/>
                    <a:pt x="46" y="166"/>
                    <a:pt x="41" y="169"/>
                  </a:cubicBezTo>
                  <a:cubicBezTo>
                    <a:pt x="33" y="173"/>
                    <a:pt x="21" y="163"/>
                    <a:pt x="14" y="177"/>
                  </a:cubicBezTo>
                  <a:cubicBezTo>
                    <a:pt x="14" y="178"/>
                    <a:pt x="13" y="206"/>
                    <a:pt x="14" y="208"/>
                  </a:cubicBezTo>
                  <a:cubicBezTo>
                    <a:pt x="15" y="210"/>
                    <a:pt x="17" y="209"/>
                    <a:pt x="18" y="210"/>
                  </a:cubicBezTo>
                  <a:cubicBezTo>
                    <a:pt x="21" y="213"/>
                    <a:pt x="24" y="215"/>
                    <a:pt x="24" y="219"/>
                  </a:cubicBezTo>
                  <a:cubicBezTo>
                    <a:pt x="27" y="233"/>
                    <a:pt x="12" y="230"/>
                    <a:pt x="8" y="239"/>
                  </a:cubicBezTo>
                  <a:cubicBezTo>
                    <a:pt x="3" y="251"/>
                    <a:pt x="42" y="268"/>
                    <a:pt x="47" y="272"/>
                  </a:cubicBezTo>
                  <a:cubicBezTo>
                    <a:pt x="54" y="279"/>
                    <a:pt x="60" y="299"/>
                    <a:pt x="66" y="307"/>
                  </a:cubicBezTo>
                  <a:cubicBezTo>
                    <a:pt x="70" y="313"/>
                    <a:pt x="56" y="344"/>
                    <a:pt x="60" y="358"/>
                  </a:cubicBezTo>
                  <a:cubicBezTo>
                    <a:pt x="62" y="365"/>
                    <a:pt x="68" y="368"/>
                    <a:pt x="81" y="362"/>
                  </a:cubicBezTo>
                  <a:cubicBezTo>
                    <a:pt x="85" y="361"/>
                    <a:pt x="86" y="354"/>
                    <a:pt x="90" y="352"/>
                  </a:cubicBezTo>
                  <a:cubicBezTo>
                    <a:pt x="92" y="351"/>
                    <a:pt x="95" y="352"/>
                    <a:pt x="98" y="352"/>
                  </a:cubicBezTo>
                  <a:cubicBezTo>
                    <a:pt x="101" y="352"/>
                    <a:pt x="104" y="352"/>
                    <a:pt x="107" y="352"/>
                  </a:cubicBezTo>
                  <a:cubicBezTo>
                    <a:pt x="110" y="352"/>
                    <a:pt x="113" y="352"/>
                    <a:pt x="115" y="352"/>
                  </a:cubicBezTo>
                  <a:cubicBezTo>
                    <a:pt x="118" y="352"/>
                    <a:pt x="121" y="353"/>
                    <a:pt x="124" y="352"/>
                  </a:cubicBezTo>
                  <a:cubicBezTo>
                    <a:pt x="148" y="348"/>
                    <a:pt x="159" y="338"/>
                    <a:pt x="176" y="332"/>
                  </a:cubicBezTo>
                  <a:cubicBezTo>
                    <a:pt x="180" y="330"/>
                    <a:pt x="182" y="338"/>
                    <a:pt x="186" y="338"/>
                  </a:cubicBezTo>
                  <a:cubicBezTo>
                    <a:pt x="192" y="338"/>
                    <a:pt x="196" y="331"/>
                    <a:pt x="201" y="332"/>
                  </a:cubicBezTo>
                  <a:cubicBezTo>
                    <a:pt x="206" y="332"/>
                    <a:pt x="219" y="356"/>
                    <a:pt x="225" y="358"/>
                  </a:cubicBezTo>
                  <a:cubicBezTo>
                    <a:pt x="227" y="359"/>
                    <a:pt x="228" y="356"/>
                    <a:pt x="229" y="354"/>
                  </a:cubicBezTo>
                  <a:cubicBezTo>
                    <a:pt x="231" y="353"/>
                    <a:pt x="232" y="350"/>
                    <a:pt x="234" y="350"/>
                  </a:cubicBezTo>
                  <a:cubicBezTo>
                    <a:pt x="246" y="350"/>
                    <a:pt x="257" y="367"/>
                    <a:pt x="264" y="371"/>
                  </a:cubicBezTo>
                  <a:cubicBezTo>
                    <a:pt x="266" y="372"/>
                    <a:pt x="280" y="368"/>
                    <a:pt x="283" y="367"/>
                  </a:cubicBezTo>
                  <a:cubicBezTo>
                    <a:pt x="299" y="363"/>
                    <a:pt x="330" y="366"/>
                    <a:pt x="344" y="358"/>
                  </a:cubicBezTo>
                  <a:cubicBezTo>
                    <a:pt x="364" y="347"/>
                    <a:pt x="318" y="308"/>
                    <a:pt x="351" y="309"/>
                  </a:cubicBezTo>
                  <a:cubicBezTo>
                    <a:pt x="355" y="309"/>
                    <a:pt x="359" y="311"/>
                    <a:pt x="363" y="313"/>
                  </a:cubicBezTo>
                  <a:cubicBezTo>
                    <a:pt x="357" y="295"/>
                    <a:pt x="375" y="304"/>
                    <a:pt x="381" y="299"/>
                  </a:cubicBezTo>
                  <a:cubicBezTo>
                    <a:pt x="386" y="294"/>
                    <a:pt x="383" y="284"/>
                    <a:pt x="388" y="280"/>
                  </a:cubicBezTo>
                  <a:cubicBezTo>
                    <a:pt x="394" y="277"/>
                    <a:pt x="401" y="284"/>
                    <a:pt x="408" y="282"/>
                  </a:cubicBezTo>
                  <a:cubicBezTo>
                    <a:pt x="420" y="280"/>
                    <a:pt x="430" y="263"/>
                    <a:pt x="443" y="266"/>
                  </a:cubicBezTo>
                  <a:cubicBezTo>
                    <a:pt x="454" y="268"/>
                    <a:pt x="461" y="288"/>
                    <a:pt x="472" y="291"/>
                  </a:cubicBezTo>
                  <a:cubicBezTo>
                    <a:pt x="478" y="292"/>
                    <a:pt x="500" y="279"/>
                    <a:pt x="513" y="281"/>
                  </a:cubicBezTo>
                  <a:cubicBezTo>
                    <a:pt x="512" y="280"/>
                    <a:pt x="513" y="279"/>
                    <a:pt x="512" y="278"/>
                  </a:cubicBezTo>
                  <a:cubicBezTo>
                    <a:pt x="506" y="265"/>
                    <a:pt x="493" y="258"/>
                    <a:pt x="488" y="247"/>
                  </a:cubicBezTo>
                  <a:cubicBezTo>
                    <a:pt x="485" y="242"/>
                    <a:pt x="488" y="233"/>
                    <a:pt x="485" y="228"/>
                  </a:cubicBezTo>
                  <a:cubicBezTo>
                    <a:pt x="484" y="224"/>
                    <a:pt x="463" y="220"/>
                    <a:pt x="463" y="224"/>
                  </a:cubicBezTo>
                  <a:cubicBezTo>
                    <a:pt x="462" y="227"/>
                    <a:pt x="462" y="209"/>
                    <a:pt x="468" y="209"/>
                  </a:cubicBezTo>
                  <a:cubicBezTo>
                    <a:pt x="470" y="209"/>
                    <a:pt x="473" y="208"/>
                    <a:pt x="475" y="209"/>
                  </a:cubicBezTo>
                  <a:cubicBezTo>
                    <a:pt x="479" y="209"/>
                    <a:pt x="482" y="194"/>
                    <a:pt x="486" y="190"/>
                  </a:cubicBezTo>
                  <a:cubicBezTo>
                    <a:pt x="489" y="188"/>
                    <a:pt x="500" y="194"/>
                    <a:pt x="501" y="191"/>
                  </a:cubicBezTo>
                  <a:cubicBezTo>
                    <a:pt x="506" y="184"/>
                    <a:pt x="497" y="136"/>
                    <a:pt x="502" y="130"/>
                  </a:cubicBezTo>
                  <a:cubicBezTo>
                    <a:pt x="506" y="125"/>
                    <a:pt x="511" y="128"/>
                    <a:pt x="515" y="120"/>
                  </a:cubicBezTo>
                  <a:cubicBezTo>
                    <a:pt x="517" y="115"/>
                    <a:pt x="517" y="106"/>
                    <a:pt x="524" y="104"/>
                  </a:cubicBezTo>
                  <a:cubicBezTo>
                    <a:pt x="534" y="101"/>
                    <a:pt x="546" y="110"/>
                    <a:pt x="552" y="109"/>
                  </a:cubicBezTo>
                  <a:cubicBezTo>
                    <a:pt x="558" y="108"/>
                    <a:pt x="561" y="85"/>
                    <a:pt x="564" y="61"/>
                  </a:cubicBezTo>
                  <a:cubicBezTo>
                    <a:pt x="548" y="60"/>
                    <a:pt x="521" y="61"/>
                    <a:pt x="510" y="4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6" name="Freeform 1371"/>
            <p:cNvSpPr>
              <a:spLocks/>
            </p:cNvSpPr>
            <p:nvPr/>
          </p:nvSpPr>
          <p:spPr bwMode="auto">
            <a:xfrm>
              <a:off x="2915" y="3151"/>
              <a:ext cx="232" cy="223"/>
            </a:xfrm>
            <a:custGeom>
              <a:avLst/>
              <a:gdLst>
                <a:gd name="T0" fmla="*/ 335 w 353"/>
                <a:gd name="T1" fmla="*/ 213 h 340"/>
                <a:gd name="T2" fmla="*/ 340 w 353"/>
                <a:gd name="T3" fmla="*/ 216 h 340"/>
                <a:gd name="T4" fmla="*/ 321 w 353"/>
                <a:gd name="T5" fmla="*/ 166 h 340"/>
                <a:gd name="T6" fmla="*/ 317 w 353"/>
                <a:gd name="T7" fmla="*/ 160 h 340"/>
                <a:gd name="T8" fmla="*/ 351 w 353"/>
                <a:gd name="T9" fmla="*/ 160 h 340"/>
                <a:gd name="T10" fmla="*/ 305 w 353"/>
                <a:gd name="T11" fmla="*/ 114 h 340"/>
                <a:gd name="T12" fmla="*/ 327 w 353"/>
                <a:gd name="T13" fmla="*/ 49 h 340"/>
                <a:gd name="T14" fmla="*/ 299 w 353"/>
                <a:gd name="T15" fmla="*/ 53 h 340"/>
                <a:gd name="T16" fmla="*/ 281 w 353"/>
                <a:gd name="T17" fmla="*/ 53 h 340"/>
                <a:gd name="T18" fmla="*/ 257 w 353"/>
                <a:gd name="T19" fmla="*/ 23 h 340"/>
                <a:gd name="T20" fmla="*/ 254 w 353"/>
                <a:gd name="T21" fmla="*/ 30 h 340"/>
                <a:gd name="T22" fmla="*/ 249 w 353"/>
                <a:gd name="T23" fmla="*/ 26 h 340"/>
                <a:gd name="T24" fmla="*/ 244 w 353"/>
                <a:gd name="T25" fmla="*/ 21 h 340"/>
                <a:gd name="T26" fmla="*/ 222 w 353"/>
                <a:gd name="T27" fmla="*/ 26 h 340"/>
                <a:gd name="T28" fmla="*/ 207 w 353"/>
                <a:gd name="T29" fmla="*/ 17 h 340"/>
                <a:gd name="T30" fmla="*/ 193 w 353"/>
                <a:gd name="T31" fmla="*/ 30 h 340"/>
                <a:gd name="T32" fmla="*/ 144 w 353"/>
                <a:gd name="T33" fmla="*/ 13 h 340"/>
                <a:gd name="T34" fmla="*/ 138 w 353"/>
                <a:gd name="T35" fmla="*/ 17 h 340"/>
                <a:gd name="T36" fmla="*/ 131 w 353"/>
                <a:gd name="T37" fmla="*/ 15 h 340"/>
                <a:gd name="T38" fmla="*/ 110 w 353"/>
                <a:gd name="T39" fmla="*/ 2 h 340"/>
                <a:gd name="T40" fmla="*/ 101 w 353"/>
                <a:gd name="T41" fmla="*/ 13 h 340"/>
                <a:gd name="T42" fmla="*/ 73 w 353"/>
                <a:gd name="T43" fmla="*/ 11 h 340"/>
                <a:gd name="T44" fmla="*/ 55 w 353"/>
                <a:gd name="T45" fmla="*/ 36 h 340"/>
                <a:gd name="T46" fmla="*/ 22 w 353"/>
                <a:gd name="T47" fmla="*/ 7 h 340"/>
                <a:gd name="T48" fmla="*/ 8 w 353"/>
                <a:gd name="T49" fmla="*/ 63 h 340"/>
                <a:gd name="T50" fmla="*/ 24 w 353"/>
                <a:gd name="T51" fmla="*/ 74 h 340"/>
                <a:gd name="T52" fmla="*/ 42 w 353"/>
                <a:gd name="T53" fmla="*/ 112 h 340"/>
                <a:gd name="T54" fmla="*/ 49 w 353"/>
                <a:gd name="T55" fmla="*/ 120 h 340"/>
                <a:gd name="T56" fmla="*/ 42 w 353"/>
                <a:gd name="T57" fmla="*/ 137 h 340"/>
                <a:gd name="T58" fmla="*/ 51 w 353"/>
                <a:gd name="T59" fmla="*/ 137 h 340"/>
                <a:gd name="T60" fmla="*/ 121 w 353"/>
                <a:gd name="T61" fmla="*/ 216 h 340"/>
                <a:gd name="T62" fmla="*/ 140 w 353"/>
                <a:gd name="T63" fmla="*/ 228 h 340"/>
                <a:gd name="T64" fmla="*/ 143 w 353"/>
                <a:gd name="T65" fmla="*/ 249 h 340"/>
                <a:gd name="T66" fmla="*/ 178 w 353"/>
                <a:gd name="T67" fmla="*/ 288 h 340"/>
                <a:gd name="T68" fmla="*/ 172 w 353"/>
                <a:gd name="T69" fmla="*/ 293 h 340"/>
                <a:gd name="T70" fmla="*/ 190 w 353"/>
                <a:gd name="T71" fmla="*/ 297 h 340"/>
                <a:gd name="T72" fmla="*/ 202 w 353"/>
                <a:gd name="T73" fmla="*/ 313 h 340"/>
                <a:gd name="T74" fmla="*/ 242 w 353"/>
                <a:gd name="T75" fmla="*/ 334 h 340"/>
                <a:gd name="T76" fmla="*/ 247 w 353"/>
                <a:gd name="T77" fmla="*/ 340 h 340"/>
                <a:gd name="T78" fmla="*/ 247 w 353"/>
                <a:gd name="T79" fmla="*/ 309 h 340"/>
                <a:gd name="T80" fmla="*/ 263 w 353"/>
                <a:gd name="T81" fmla="*/ 282 h 340"/>
                <a:gd name="T82" fmla="*/ 282 w 353"/>
                <a:gd name="T83" fmla="*/ 243 h 340"/>
                <a:gd name="T84" fmla="*/ 300 w 353"/>
                <a:gd name="T85" fmla="*/ 257 h 340"/>
                <a:gd name="T86" fmla="*/ 296 w 353"/>
                <a:gd name="T87" fmla="*/ 218 h 340"/>
                <a:gd name="T88" fmla="*/ 317 w 353"/>
                <a:gd name="T89" fmla="*/ 222 h 340"/>
                <a:gd name="T90" fmla="*/ 335 w 353"/>
                <a:gd name="T91" fmla="*/ 213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3" h="340">
                  <a:moveTo>
                    <a:pt x="335" y="213"/>
                  </a:moveTo>
                  <a:cubicBezTo>
                    <a:pt x="336" y="214"/>
                    <a:pt x="339" y="217"/>
                    <a:pt x="340" y="216"/>
                  </a:cubicBezTo>
                  <a:cubicBezTo>
                    <a:pt x="352" y="206"/>
                    <a:pt x="327" y="173"/>
                    <a:pt x="321" y="166"/>
                  </a:cubicBezTo>
                  <a:cubicBezTo>
                    <a:pt x="320" y="164"/>
                    <a:pt x="315" y="162"/>
                    <a:pt x="317" y="160"/>
                  </a:cubicBezTo>
                  <a:cubicBezTo>
                    <a:pt x="321" y="154"/>
                    <a:pt x="342" y="178"/>
                    <a:pt x="351" y="160"/>
                  </a:cubicBezTo>
                  <a:cubicBezTo>
                    <a:pt x="353" y="154"/>
                    <a:pt x="305" y="122"/>
                    <a:pt x="305" y="114"/>
                  </a:cubicBezTo>
                  <a:cubicBezTo>
                    <a:pt x="304" y="94"/>
                    <a:pt x="324" y="74"/>
                    <a:pt x="327" y="49"/>
                  </a:cubicBezTo>
                  <a:cubicBezTo>
                    <a:pt x="318" y="46"/>
                    <a:pt x="308" y="51"/>
                    <a:pt x="299" y="53"/>
                  </a:cubicBezTo>
                  <a:cubicBezTo>
                    <a:pt x="293" y="55"/>
                    <a:pt x="287" y="55"/>
                    <a:pt x="281" y="53"/>
                  </a:cubicBezTo>
                  <a:cubicBezTo>
                    <a:pt x="275" y="50"/>
                    <a:pt x="273" y="20"/>
                    <a:pt x="257" y="23"/>
                  </a:cubicBezTo>
                  <a:cubicBezTo>
                    <a:pt x="255" y="24"/>
                    <a:pt x="257" y="29"/>
                    <a:pt x="254" y="30"/>
                  </a:cubicBezTo>
                  <a:cubicBezTo>
                    <a:pt x="252" y="30"/>
                    <a:pt x="251" y="27"/>
                    <a:pt x="249" y="26"/>
                  </a:cubicBezTo>
                  <a:cubicBezTo>
                    <a:pt x="247" y="24"/>
                    <a:pt x="246" y="22"/>
                    <a:pt x="244" y="21"/>
                  </a:cubicBezTo>
                  <a:cubicBezTo>
                    <a:pt x="231" y="16"/>
                    <a:pt x="226" y="27"/>
                    <a:pt x="222" y="26"/>
                  </a:cubicBezTo>
                  <a:cubicBezTo>
                    <a:pt x="216" y="24"/>
                    <a:pt x="212" y="15"/>
                    <a:pt x="207" y="17"/>
                  </a:cubicBezTo>
                  <a:cubicBezTo>
                    <a:pt x="195" y="21"/>
                    <a:pt x="207" y="30"/>
                    <a:pt x="193" y="30"/>
                  </a:cubicBezTo>
                  <a:cubicBezTo>
                    <a:pt x="180" y="30"/>
                    <a:pt x="157" y="13"/>
                    <a:pt x="144" y="13"/>
                  </a:cubicBezTo>
                  <a:cubicBezTo>
                    <a:pt x="142" y="13"/>
                    <a:pt x="141" y="17"/>
                    <a:pt x="138" y="17"/>
                  </a:cubicBezTo>
                  <a:cubicBezTo>
                    <a:pt x="136" y="17"/>
                    <a:pt x="133" y="16"/>
                    <a:pt x="131" y="15"/>
                  </a:cubicBezTo>
                  <a:cubicBezTo>
                    <a:pt x="123" y="12"/>
                    <a:pt x="118" y="1"/>
                    <a:pt x="110" y="2"/>
                  </a:cubicBezTo>
                  <a:cubicBezTo>
                    <a:pt x="110" y="2"/>
                    <a:pt x="101" y="13"/>
                    <a:pt x="101" y="13"/>
                  </a:cubicBezTo>
                  <a:cubicBezTo>
                    <a:pt x="89" y="15"/>
                    <a:pt x="85" y="0"/>
                    <a:pt x="73" y="11"/>
                  </a:cubicBezTo>
                  <a:cubicBezTo>
                    <a:pt x="66" y="17"/>
                    <a:pt x="66" y="36"/>
                    <a:pt x="55" y="36"/>
                  </a:cubicBezTo>
                  <a:cubicBezTo>
                    <a:pt x="47" y="29"/>
                    <a:pt x="33" y="8"/>
                    <a:pt x="22" y="7"/>
                  </a:cubicBezTo>
                  <a:cubicBezTo>
                    <a:pt x="5" y="5"/>
                    <a:pt x="0" y="54"/>
                    <a:pt x="8" y="63"/>
                  </a:cubicBezTo>
                  <a:cubicBezTo>
                    <a:pt x="8" y="63"/>
                    <a:pt x="24" y="74"/>
                    <a:pt x="24" y="74"/>
                  </a:cubicBezTo>
                  <a:cubicBezTo>
                    <a:pt x="32" y="84"/>
                    <a:pt x="35" y="100"/>
                    <a:pt x="42" y="112"/>
                  </a:cubicBezTo>
                  <a:cubicBezTo>
                    <a:pt x="44" y="115"/>
                    <a:pt x="50" y="116"/>
                    <a:pt x="49" y="120"/>
                  </a:cubicBezTo>
                  <a:cubicBezTo>
                    <a:pt x="49" y="122"/>
                    <a:pt x="38" y="132"/>
                    <a:pt x="42" y="137"/>
                  </a:cubicBezTo>
                  <a:cubicBezTo>
                    <a:pt x="44" y="139"/>
                    <a:pt x="48" y="136"/>
                    <a:pt x="51" y="137"/>
                  </a:cubicBezTo>
                  <a:cubicBezTo>
                    <a:pt x="62" y="141"/>
                    <a:pt x="109" y="203"/>
                    <a:pt x="121" y="216"/>
                  </a:cubicBezTo>
                  <a:cubicBezTo>
                    <a:pt x="125" y="221"/>
                    <a:pt x="138" y="224"/>
                    <a:pt x="140" y="228"/>
                  </a:cubicBezTo>
                  <a:cubicBezTo>
                    <a:pt x="140" y="228"/>
                    <a:pt x="143" y="249"/>
                    <a:pt x="143" y="249"/>
                  </a:cubicBezTo>
                  <a:cubicBezTo>
                    <a:pt x="147" y="258"/>
                    <a:pt x="184" y="276"/>
                    <a:pt x="178" y="288"/>
                  </a:cubicBezTo>
                  <a:cubicBezTo>
                    <a:pt x="177" y="293"/>
                    <a:pt x="169" y="289"/>
                    <a:pt x="172" y="293"/>
                  </a:cubicBezTo>
                  <a:cubicBezTo>
                    <a:pt x="176" y="300"/>
                    <a:pt x="186" y="295"/>
                    <a:pt x="190" y="297"/>
                  </a:cubicBezTo>
                  <a:cubicBezTo>
                    <a:pt x="196" y="300"/>
                    <a:pt x="197" y="309"/>
                    <a:pt x="202" y="313"/>
                  </a:cubicBezTo>
                  <a:cubicBezTo>
                    <a:pt x="214" y="324"/>
                    <a:pt x="230" y="328"/>
                    <a:pt x="242" y="334"/>
                  </a:cubicBezTo>
                  <a:cubicBezTo>
                    <a:pt x="244" y="335"/>
                    <a:pt x="246" y="337"/>
                    <a:pt x="247" y="340"/>
                  </a:cubicBezTo>
                  <a:cubicBezTo>
                    <a:pt x="266" y="325"/>
                    <a:pt x="251" y="325"/>
                    <a:pt x="247" y="309"/>
                  </a:cubicBezTo>
                  <a:cubicBezTo>
                    <a:pt x="243" y="292"/>
                    <a:pt x="256" y="290"/>
                    <a:pt x="263" y="282"/>
                  </a:cubicBezTo>
                  <a:cubicBezTo>
                    <a:pt x="269" y="276"/>
                    <a:pt x="269" y="255"/>
                    <a:pt x="282" y="243"/>
                  </a:cubicBezTo>
                  <a:cubicBezTo>
                    <a:pt x="287" y="239"/>
                    <a:pt x="293" y="250"/>
                    <a:pt x="300" y="257"/>
                  </a:cubicBezTo>
                  <a:cubicBezTo>
                    <a:pt x="309" y="240"/>
                    <a:pt x="278" y="215"/>
                    <a:pt x="296" y="218"/>
                  </a:cubicBezTo>
                  <a:cubicBezTo>
                    <a:pt x="307" y="220"/>
                    <a:pt x="304" y="224"/>
                    <a:pt x="317" y="222"/>
                  </a:cubicBezTo>
                  <a:cubicBezTo>
                    <a:pt x="323" y="215"/>
                    <a:pt x="325" y="208"/>
                    <a:pt x="335" y="213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7" name="Freeform 1372"/>
            <p:cNvSpPr>
              <a:spLocks/>
            </p:cNvSpPr>
            <p:nvPr/>
          </p:nvSpPr>
          <p:spPr bwMode="auto">
            <a:xfrm>
              <a:off x="2149" y="2620"/>
              <a:ext cx="226" cy="176"/>
            </a:xfrm>
            <a:custGeom>
              <a:avLst/>
              <a:gdLst>
                <a:gd name="T0" fmla="*/ 11 w 344"/>
                <a:gd name="T1" fmla="*/ 95 h 268"/>
                <a:gd name="T2" fmla="*/ 43 w 344"/>
                <a:gd name="T3" fmla="*/ 101 h 268"/>
                <a:gd name="T4" fmla="*/ 77 w 344"/>
                <a:gd name="T5" fmla="*/ 137 h 268"/>
                <a:gd name="T6" fmla="*/ 100 w 344"/>
                <a:gd name="T7" fmla="*/ 159 h 268"/>
                <a:gd name="T8" fmla="*/ 137 w 344"/>
                <a:gd name="T9" fmla="*/ 160 h 268"/>
                <a:gd name="T10" fmla="*/ 145 w 344"/>
                <a:gd name="T11" fmla="*/ 185 h 268"/>
                <a:gd name="T12" fmla="*/ 166 w 344"/>
                <a:gd name="T13" fmla="*/ 210 h 268"/>
                <a:gd name="T14" fmla="*/ 194 w 344"/>
                <a:gd name="T15" fmla="*/ 185 h 268"/>
                <a:gd name="T16" fmla="*/ 206 w 344"/>
                <a:gd name="T17" fmla="*/ 210 h 268"/>
                <a:gd name="T18" fmla="*/ 240 w 344"/>
                <a:gd name="T19" fmla="*/ 244 h 268"/>
                <a:gd name="T20" fmla="*/ 266 w 344"/>
                <a:gd name="T21" fmla="*/ 267 h 268"/>
                <a:gd name="T22" fmla="*/ 291 w 344"/>
                <a:gd name="T23" fmla="*/ 263 h 268"/>
                <a:gd name="T24" fmla="*/ 296 w 344"/>
                <a:gd name="T25" fmla="*/ 246 h 268"/>
                <a:gd name="T26" fmla="*/ 291 w 344"/>
                <a:gd name="T27" fmla="*/ 235 h 268"/>
                <a:gd name="T28" fmla="*/ 285 w 344"/>
                <a:gd name="T29" fmla="*/ 220 h 268"/>
                <a:gd name="T30" fmla="*/ 290 w 344"/>
                <a:gd name="T31" fmla="*/ 207 h 268"/>
                <a:gd name="T32" fmla="*/ 300 w 344"/>
                <a:gd name="T33" fmla="*/ 186 h 268"/>
                <a:gd name="T34" fmla="*/ 313 w 344"/>
                <a:gd name="T35" fmla="*/ 181 h 268"/>
                <a:gd name="T36" fmla="*/ 321 w 344"/>
                <a:gd name="T37" fmla="*/ 179 h 268"/>
                <a:gd name="T38" fmla="*/ 330 w 344"/>
                <a:gd name="T39" fmla="*/ 168 h 268"/>
                <a:gd name="T40" fmla="*/ 339 w 344"/>
                <a:gd name="T41" fmla="*/ 155 h 268"/>
                <a:gd name="T42" fmla="*/ 324 w 344"/>
                <a:gd name="T43" fmla="*/ 134 h 268"/>
                <a:gd name="T44" fmla="*/ 323 w 344"/>
                <a:gd name="T45" fmla="*/ 118 h 268"/>
                <a:gd name="T46" fmla="*/ 309 w 344"/>
                <a:gd name="T47" fmla="*/ 103 h 268"/>
                <a:gd name="T48" fmla="*/ 293 w 344"/>
                <a:gd name="T49" fmla="*/ 103 h 268"/>
                <a:gd name="T50" fmla="*/ 276 w 344"/>
                <a:gd name="T51" fmla="*/ 92 h 268"/>
                <a:gd name="T52" fmla="*/ 286 w 344"/>
                <a:gd name="T53" fmla="*/ 67 h 268"/>
                <a:gd name="T54" fmla="*/ 293 w 344"/>
                <a:gd name="T55" fmla="*/ 51 h 268"/>
                <a:gd name="T56" fmla="*/ 270 w 344"/>
                <a:gd name="T57" fmla="*/ 43 h 268"/>
                <a:gd name="T58" fmla="*/ 253 w 344"/>
                <a:gd name="T59" fmla="*/ 35 h 268"/>
                <a:gd name="T60" fmla="*/ 234 w 344"/>
                <a:gd name="T61" fmla="*/ 29 h 268"/>
                <a:gd name="T62" fmla="*/ 222 w 344"/>
                <a:gd name="T63" fmla="*/ 8 h 268"/>
                <a:gd name="T64" fmla="*/ 201 w 344"/>
                <a:gd name="T65" fmla="*/ 5 h 268"/>
                <a:gd name="T66" fmla="*/ 176 w 344"/>
                <a:gd name="T67" fmla="*/ 7 h 268"/>
                <a:gd name="T68" fmla="*/ 150 w 344"/>
                <a:gd name="T69" fmla="*/ 25 h 268"/>
                <a:gd name="T70" fmla="*/ 107 w 344"/>
                <a:gd name="T71" fmla="*/ 36 h 268"/>
                <a:gd name="T72" fmla="*/ 78 w 344"/>
                <a:gd name="T73" fmla="*/ 37 h 268"/>
                <a:gd name="T74" fmla="*/ 0 w 344"/>
                <a:gd name="T75" fmla="*/ 59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4" h="268">
                  <a:moveTo>
                    <a:pt x="5" y="80"/>
                  </a:moveTo>
                  <a:cubicBezTo>
                    <a:pt x="1" y="87"/>
                    <a:pt x="3" y="94"/>
                    <a:pt x="11" y="95"/>
                  </a:cubicBezTo>
                  <a:cubicBezTo>
                    <a:pt x="19" y="95"/>
                    <a:pt x="13" y="107"/>
                    <a:pt x="25" y="110"/>
                  </a:cubicBezTo>
                  <a:cubicBezTo>
                    <a:pt x="37" y="112"/>
                    <a:pt x="27" y="105"/>
                    <a:pt x="43" y="101"/>
                  </a:cubicBezTo>
                  <a:cubicBezTo>
                    <a:pt x="59" y="97"/>
                    <a:pt x="59" y="109"/>
                    <a:pt x="62" y="122"/>
                  </a:cubicBezTo>
                  <a:cubicBezTo>
                    <a:pt x="65" y="135"/>
                    <a:pt x="69" y="142"/>
                    <a:pt x="77" y="137"/>
                  </a:cubicBezTo>
                  <a:cubicBezTo>
                    <a:pt x="86" y="132"/>
                    <a:pt x="81" y="140"/>
                    <a:pt x="91" y="138"/>
                  </a:cubicBezTo>
                  <a:cubicBezTo>
                    <a:pt x="100" y="136"/>
                    <a:pt x="96" y="153"/>
                    <a:pt x="100" y="159"/>
                  </a:cubicBezTo>
                  <a:cubicBezTo>
                    <a:pt x="104" y="165"/>
                    <a:pt x="104" y="150"/>
                    <a:pt x="114" y="157"/>
                  </a:cubicBezTo>
                  <a:cubicBezTo>
                    <a:pt x="124" y="164"/>
                    <a:pt x="129" y="150"/>
                    <a:pt x="137" y="160"/>
                  </a:cubicBezTo>
                  <a:cubicBezTo>
                    <a:pt x="144" y="170"/>
                    <a:pt x="154" y="165"/>
                    <a:pt x="146" y="174"/>
                  </a:cubicBezTo>
                  <a:cubicBezTo>
                    <a:pt x="139" y="182"/>
                    <a:pt x="139" y="182"/>
                    <a:pt x="145" y="185"/>
                  </a:cubicBezTo>
                  <a:cubicBezTo>
                    <a:pt x="155" y="192"/>
                    <a:pt x="138" y="197"/>
                    <a:pt x="143" y="205"/>
                  </a:cubicBezTo>
                  <a:cubicBezTo>
                    <a:pt x="148" y="214"/>
                    <a:pt x="154" y="203"/>
                    <a:pt x="166" y="210"/>
                  </a:cubicBezTo>
                  <a:cubicBezTo>
                    <a:pt x="177" y="217"/>
                    <a:pt x="174" y="205"/>
                    <a:pt x="183" y="204"/>
                  </a:cubicBezTo>
                  <a:cubicBezTo>
                    <a:pt x="192" y="204"/>
                    <a:pt x="185" y="192"/>
                    <a:pt x="194" y="185"/>
                  </a:cubicBezTo>
                  <a:cubicBezTo>
                    <a:pt x="204" y="179"/>
                    <a:pt x="211" y="180"/>
                    <a:pt x="204" y="193"/>
                  </a:cubicBezTo>
                  <a:cubicBezTo>
                    <a:pt x="197" y="206"/>
                    <a:pt x="199" y="208"/>
                    <a:pt x="206" y="210"/>
                  </a:cubicBezTo>
                  <a:cubicBezTo>
                    <a:pt x="212" y="213"/>
                    <a:pt x="195" y="234"/>
                    <a:pt x="211" y="230"/>
                  </a:cubicBezTo>
                  <a:cubicBezTo>
                    <a:pt x="226" y="227"/>
                    <a:pt x="227" y="242"/>
                    <a:pt x="240" y="244"/>
                  </a:cubicBezTo>
                  <a:cubicBezTo>
                    <a:pt x="252" y="245"/>
                    <a:pt x="242" y="253"/>
                    <a:pt x="252" y="254"/>
                  </a:cubicBezTo>
                  <a:cubicBezTo>
                    <a:pt x="262" y="254"/>
                    <a:pt x="251" y="268"/>
                    <a:pt x="266" y="267"/>
                  </a:cubicBezTo>
                  <a:cubicBezTo>
                    <a:pt x="281" y="267"/>
                    <a:pt x="266" y="258"/>
                    <a:pt x="276" y="262"/>
                  </a:cubicBezTo>
                  <a:cubicBezTo>
                    <a:pt x="287" y="265"/>
                    <a:pt x="285" y="259"/>
                    <a:pt x="291" y="263"/>
                  </a:cubicBezTo>
                  <a:cubicBezTo>
                    <a:pt x="299" y="257"/>
                    <a:pt x="291" y="257"/>
                    <a:pt x="295" y="253"/>
                  </a:cubicBezTo>
                  <a:cubicBezTo>
                    <a:pt x="299" y="249"/>
                    <a:pt x="300" y="247"/>
                    <a:pt x="296" y="246"/>
                  </a:cubicBezTo>
                  <a:cubicBezTo>
                    <a:pt x="290" y="244"/>
                    <a:pt x="299" y="240"/>
                    <a:pt x="296" y="239"/>
                  </a:cubicBezTo>
                  <a:cubicBezTo>
                    <a:pt x="293" y="239"/>
                    <a:pt x="292" y="239"/>
                    <a:pt x="291" y="235"/>
                  </a:cubicBezTo>
                  <a:cubicBezTo>
                    <a:pt x="290" y="231"/>
                    <a:pt x="288" y="228"/>
                    <a:pt x="286" y="230"/>
                  </a:cubicBezTo>
                  <a:cubicBezTo>
                    <a:pt x="284" y="232"/>
                    <a:pt x="282" y="224"/>
                    <a:pt x="285" y="220"/>
                  </a:cubicBezTo>
                  <a:cubicBezTo>
                    <a:pt x="288" y="215"/>
                    <a:pt x="280" y="218"/>
                    <a:pt x="286" y="212"/>
                  </a:cubicBezTo>
                  <a:cubicBezTo>
                    <a:pt x="290" y="208"/>
                    <a:pt x="282" y="210"/>
                    <a:pt x="290" y="207"/>
                  </a:cubicBezTo>
                  <a:cubicBezTo>
                    <a:pt x="297" y="203"/>
                    <a:pt x="286" y="204"/>
                    <a:pt x="292" y="199"/>
                  </a:cubicBezTo>
                  <a:cubicBezTo>
                    <a:pt x="299" y="193"/>
                    <a:pt x="294" y="188"/>
                    <a:pt x="300" y="186"/>
                  </a:cubicBezTo>
                  <a:cubicBezTo>
                    <a:pt x="305" y="184"/>
                    <a:pt x="299" y="182"/>
                    <a:pt x="306" y="179"/>
                  </a:cubicBezTo>
                  <a:cubicBezTo>
                    <a:pt x="312" y="177"/>
                    <a:pt x="309" y="184"/>
                    <a:pt x="313" y="181"/>
                  </a:cubicBezTo>
                  <a:cubicBezTo>
                    <a:pt x="317" y="178"/>
                    <a:pt x="317" y="183"/>
                    <a:pt x="320" y="185"/>
                  </a:cubicBezTo>
                  <a:cubicBezTo>
                    <a:pt x="321" y="183"/>
                    <a:pt x="318" y="179"/>
                    <a:pt x="321" y="179"/>
                  </a:cubicBezTo>
                  <a:cubicBezTo>
                    <a:pt x="325" y="179"/>
                    <a:pt x="326" y="179"/>
                    <a:pt x="323" y="176"/>
                  </a:cubicBezTo>
                  <a:cubicBezTo>
                    <a:pt x="321" y="173"/>
                    <a:pt x="323" y="169"/>
                    <a:pt x="330" y="168"/>
                  </a:cubicBezTo>
                  <a:cubicBezTo>
                    <a:pt x="336" y="168"/>
                    <a:pt x="330" y="160"/>
                    <a:pt x="337" y="160"/>
                  </a:cubicBezTo>
                  <a:cubicBezTo>
                    <a:pt x="344" y="161"/>
                    <a:pt x="343" y="159"/>
                    <a:pt x="339" y="155"/>
                  </a:cubicBezTo>
                  <a:cubicBezTo>
                    <a:pt x="335" y="151"/>
                    <a:pt x="342" y="146"/>
                    <a:pt x="339" y="140"/>
                  </a:cubicBezTo>
                  <a:cubicBezTo>
                    <a:pt x="336" y="134"/>
                    <a:pt x="329" y="140"/>
                    <a:pt x="324" y="134"/>
                  </a:cubicBezTo>
                  <a:cubicBezTo>
                    <a:pt x="320" y="127"/>
                    <a:pt x="327" y="127"/>
                    <a:pt x="331" y="123"/>
                  </a:cubicBezTo>
                  <a:cubicBezTo>
                    <a:pt x="334" y="119"/>
                    <a:pt x="323" y="121"/>
                    <a:pt x="323" y="118"/>
                  </a:cubicBezTo>
                  <a:cubicBezTo>
                    <a:pt x="323" y="115"/>
                    <a:pt x="322" y="117"/>
                    <a:pt x="319" y="111"/>
                  </a:cubicBezTo>
                  <a:cubicBezTo>
                    <a:pt x="316" y="104"/>
                    <a:pt x="311" y="112"/>
                    <a:pt x="309" y="103"/>
                  </a:cubicBezTo>
                  <a:cubicBezTo>
                    <a:pt x="308" y="104"/>
                    <a:pt x="304" y="102"/>
                    <a:pt x="301" y="103"/>
                  </a:cubicBezTo>
                  <a:cubicBezTo>
                    <a:pt x="299" y="104"/>
                    <a:pt x="296" y="101"/>
                    <a:pt x="293" y="103"/>
                  </a:cubicBezTo>
                  <a:cubicBezTo>
                    <a:pt x="290" y="105"/>
                    <a:pt x="289" y="98"/>
                    <a:pt x="281" y="103"/>
                  </a:cubicBezTo>
                  <a:cubicBezTo>
                    <a:pt x="275" y="107"/>
                    <a:pt x="284" y="99"/>
                    <a:pt x="276" y="92"/>
                  </a:cubicBezTo>
                  <a:cubicBezTo>
                    <a:pt x="271" y="87"/>
                    <a:pt x="286" y="79"/>
                    <a:pt x="283" y="76"/>
                  </a:cubicBezTo>
                  <a:cubicBezTo>
                    <a:pt x="281" y="73"/>
                    <a:pt x="288" y="71"/>
                    <a:pt x="286" y="67"/>
                  </a:cubicBezTo>
                  <a:cubicBezTo>
                    <a:pt x="284" y="63"/>
                    <a:pt x="293" y="60"/>
                    <a:pt x="291" y="56"/>
                  </a:cubicBezTo>
                  <a:cubicBezTo>
                    <a:pt x="288" y="53"/>
                    <a:pt x="294" y="55"/>
                    <a:pt x="293" y="51"/>
                  </a:cubicBezTo>
                  <a:cubicBezTo>
                    <a:pt x="292" y="47"/>
                    <a:pt x="290" y="51"/>
                    <a:pt x="287" y="47"/>
                  </a:cubicBezTo>
                  <a:cubicBezTo>
                    <a:pt x="284" y="43"/>
                    <a:pt x="281" y="50"/>
                    <a:pt x="270" y="43"/>
                  </a:cubicBezTo>
                  <a:cubicBezTo>
                    <a:pt x="263" y="39"/>
                    <a:pt x="270" y="37"/>
                    <a:pt x="264" y="33"/>
                  </a:cubicBezTo>
                  <a:cubicBezTo>
                    <a:pt x="258" y="29"/>
                    <a:pt x="259" y="37"/>
                    <a:pt x="253" y="35"/>
                  </a:cubicBezTo>
                  <a:cubicBezTo>
                    <a:pt x="248" y="33"/>
                    <a:pt x="252" y="37"/>
                    <a:pt x="242" y="37"/>
                  </a:cubicBezTo>
                  <a:cubicBezTo>
                    <a:pt x="232" y="36"/>
                    <a:pt x="243" y="29"/>
                    <a:pt x="234" y="29"/>
                  </a:cubicBezTo>
                  <a:cubicBezTo>
                    <a:pt x="225" y="29"/>
                    <a:pt x="235" y="27"/>
                    <a:pt x="227" y="23"/>
                  </a:cubicBezTo>
                  <a:cubicBezTo>
                    <a:pt x="220" y="19"/>
                    <a:pt x="231" y="10"/>
                    <a:pt x="222" y="8"/>
                  </a:cubicBezTo>
                  <a:cubicBezTo>
                    <a:pt x="216" y="7"/>
                    <a:pt x="216" y="22"/>
                    <a:pt x="201" y="16"/>
                  </a:cubicBezTo>
                  <a:cubicBezTo>
                    <a:pt x="198" y="14"/>
                    <a:pt x="205" y="6"/>
                    <a:pt x="201" y="5"/>
                  </a:cubicBezTo>
                  <a:cubicBezTo>
                    <a:pt x="189" y="0"/>
                    <a:pt x="198" y="20"/>
                    <a:pt x="177" y="14"/>
                  </a:cubicBezTo>
                  <a:cubicBezTo>
                    <a:pt x="175" y="13"/>
                    <a:pt x="178" y="7"/>
                    <a:pt x="176" y="7"/>
                  </a:cubicBezTo>
                  <a:cubicBezTo>
                    <a:pt x="149" y="11"/>
                    <a:pt x="172" y="21"/>
                    <a:pt x="164" y="25"/>
                  </a:cubicBezTo>
                  <a:cubicBezTo>
                    <a:pt x="162" y="25"/>
                    <a:pt x="151" y="25"/>
                    <a:pt x="150" y="25"/>
                  </a:cubicBezTo>
                  <a:cubicBezTo>
                    <a:pt x="143" y="27"/>
                    <a:pt x="145" y="36"/>
                    <a:pt x="122" y="42"/>
                  </a:cubicBezTo>
                  <a:cubicBezTo>
                    <a:pt x="106" y="47"/>
                    <a:pt x="111" y="38"/>
                    <a:pt x="107" y="36"/>
                  </a:cubicBezTo>
                  <a:cubicBezTo>
                    <a:pt x="102" y="33"/>
                    <a:pt x="99" y="33"/>
                    <a:pt x="91" y="32"/>
                  </a:cubicBezTo>
                  <a:cubicBezTo>
                    <a:pt x="80" y="29"/>
                    <a:pt x="92" y="43"/>
                    <a:pt x="78" y="37"/>
                  </a:cubicBezTo>
                  <a:cubicBezTo>
                    <a:pt x="66" y="33"/>
                    <a:pt x="76" y="25"/>
                    <a:pt x="70" y="21"/>
                  </a:cubicBezTo>
                  <a:cubicBezTo>
                    <a:pt x="44" y="31"/>
                    <a:pt x="26" y="51"/>
                    <a:pt x="0" y="59"/>
                  </a:cubicBezTo>
                  <a:cubicBezTo>
                    <a:pt x="1" y="74"/>
                    <a:pt x="9" y="72"/>
                    <a:pt x="5" y="8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8" name="Freeform 1373"/>
            <p:cNvSpPr>
              <a:spLocks/>
            </p:cNvSpPr>
            <p:nvPr/>
          </p:nvSpPr>
          <p:spPr bwMode="auto">
            <a:xfrm>
              <a:off x="3352" y="2206"/>
              <a:ext cx="569" cy="441"/>
            </a:xfrm>
            <a:custGeom>
              <a:avLst/>
              <a:gdLst>
                <a:gd name="T0" fmla="*/ 396 w 867"/>
                <a:gd name="T1" fmla="*/ 55 h 672"/>
                <a:gd name="T2" fmla="*/ 367 w 867"/>
                <a:gd name="T3" fmla="*/ 57 h 672"/>
                <a:gd name="T4" fmla="*/ 307 w 867"/>
                <a:gd name="T5" fmla="*/ 72 h 672"/>
                <a:gd name="T6" fmla="*/ 324 w 867"/>
                <a:gd name="T7" fmla="*/ 128 h 672"/>
                <a:gd name="T8" fmla="*/ 309 w 867"/>
                <a:gd name="T9" fmla="*/ 146 h 672"/>
                <a:gd name="T10" fmla="*/ 278 w 867"/>
                <a:gd name="T11" fmla="*/ 144 h 672"/>
                <a:gd name="T12" fmla="*/ 229 w 867"/>
                <a:gd name="T13" fmla="*/ 192 h 672"/>
                <a:gd name="T14" fmla="*/ 213 w 867"/>
                <a:gd name="T15" fmla="*/ 253 h 672"/>
                <a:gd name="T16" fmla="*/ 208 w 867"/>
                <a:gd name="T17" fmla="*/ 276 h 672"/>
                <a:gd name="T18" fmla="*/ 183 w 867"/>
                <a:gd name="T19" fmla="*/ 264 h 672"/>
                <a:gd name="T20" fmla="*/ 146 w 867"/>
                <a:gd name="T21" fmla="*/ 285 h 672"/>
                <a:gd name="T22" fmla="*/ 130 w 867"/>
                <a:gd name="T23" fmla="*/ 301 h 672"/>
                <a:gd name="T24" fmla="*/ 88 w 867"/>
                <a:gd name="T25" fmla="*/ 305 h 672"/>
                <a:gd name="T26" fmla="*/ 78 w 867"/>
                <a:gd name="T27" fmla="*/ 310 h 672"/>
                <a:gd name="T28" fmla="*/ 69 w 867"/>
                <a:gd name="T29" fmla="*/ 474 h 672"/>
                <a:gd name="T30" fmla="*/ 8 w 867"/>
                <a:gd name="T31" fmla="*/ 513 h 672"/>
                <a:gd name="T32" fmla="*/ 43 w 867"/>
                <a:gd name="T33" fmla="*/ 565 h 672"/>
                <a:gd name="T34" fmla="*/ 40 w 867"/>
                <a:gd name="T35" fmla="*/ 632 h 672"/>
                <a:gd name="T36" fmla="*/ 46 w 867"/>
                <a:gd name="T37" fmla="*/ 616 h 672"/>
                <a:gd name="T38" fmla="*/ 110 w 867"/>
                <a:gd name="T39" fmla="*/ 585 h 672"/>
                <a:gd name="T40" fmla="*/ 336 w 867"/>
                <a:gd name="T41" fmla="*/ 603 h 672"/>
                <a:gd name="T42" fmla="*/ 366 w 867"/>
                <a:gd name="T43" fmla="*/ 623 h 672"/>
                <a:gd name="T44" fmla="*/ 409 w 867"/>
                <a:gd name="T45" fmla="*/ 640 h 672"/>
                <a:gd name="T46" fmla="*/ 451 w 867"/>
                <a:gd name="T47" fmla="*/ 616 h 672"/>
                <a:gd name="T48" fmla="*/ 464 w 867"/>
                <a:gd name="T49" fmla="*/ 631 h 672"/>
                <a:gd name="T50" fmla="*/ 498 w 867"/>
                <a:gd name="T51" fmla="*/ 647 h 672"/>
                <a:gd name="T52" fmla="*/ 535 w 867"/>
                <a:gd name="T53" fmla="*/ 618 h 672"/>
                <a:gd name="T54" fmla="*/ 581 w 867"/>
                <a:gd name="T55" fmla="*/ 636 h 672"/>
                <a:gd name="T56" fmla="*/ 626 w 867"/>
                <a:gd name="T57" fmla="*/ 638 h 672"/>
                <a:gd name="T58" fmla="*/ 669 w 867"/>
                <a:gd name="T59" fmla="*/ 592 h 672"/>
                <a:gd name="T60" fmla="*/ 699 w 867"/>
                <a:gd name="T61" fmla="*/ 558 h 672"/>
                <a:gd name="T62" fmla="*/ 731 w 867"/>
                <a:gd name="T63" fmla="*/ 554 h 672"/>
                <a:gd name="T64" fmla="*/ 749 w 867"/>
                <a:gd name="T65" fmla="*/ 500 h 672"/>
                <a:gd name="T66" fmla="*/ 743 w 867"/>
                <a:gd name="T67" fmla="*/ 476 h 672"/>
                <a:gd name="T68" fmla="*/ 722 w 867"/>
                <a:gd name="T69" fmla="*/ 433 h 672"/>
                <a:gd name="T70" fmla="*/ 737 w 867"/>
                <a:gd name="T71" fmla="*/ 406 h 672"/>
                <a:gd name="T72" fmla="*/ 829 w 867"/>
                <a:gd name="T73" fmla="*/ 395 h 672"/>
                <a:gd name="T74" fmla="*/ 831 w 867"/>
                <a:gd name="T75" fmla="*/ 362 h 672"/>
                <a:gd name="T76" fmla="*/ 767 w 867"/>
                <a:gd name="T77" fmla="*/ 328 h 672"/>
                <a:gd name="T78" fmla="*/ 728 w 867"/>
                <a:gd name="T79" fmla="*/ 269 h 672"/>
                <a:gd name="T80" fmla="*/ 715 w 867"/>
                <a:gd name="T81" fmla="*/ 215 h 672"/>
                <a:gd name="T82" fmla="*/ 685 w 867"/>
                <a:gd name="T83" fmla="*/ 180 h 672"/>
                <a:gd name="T84" fmla="*/ 691 w 867"/>
                <a:gd name="T85" fmla="*/ 160 h 672"/>
                <a:gd name="T86" fmla="*/ 682 w 867"/>
                <a:gd name="T87" fmla="*/ 126 h 672"/>
                <a:gd name="T88" fmla="*/ 678 w 867"/>
                <a:gd name="T89" fmla="*/ 82 h 672"/>
                <a:gd name="T90" fmla="*/ 584 w 867"/>
                <a:gd name="T91" fmla="*/ 57 h 672"/>
                <a:gd name="T92" fmla="*/ 559 w 867"/>
                <a:gd name="T93" fmla="*/ 34 h 672"/>
                <a:gd name="T94" fmla="*/ 489 w 867"/>
                <a:gd name="T95" fmla="*/ 16 h 672"/>
                <a:gd name="T96" fmla="*/ 413 w 867"/>
                <a:gd name="T97" fmla="*/ 22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7" h="672">
                  <a:moveTo>
                    <a:pt x="413" y="22"/>
                  </a:moveTo>
                  <a:cubicBezTo>
                    <a:pt x="408" y="30"/>
                    <a:pt x="402" y="49"/>
                    <a:pt x="396" y="55"/>
                  </a:cubicBezTo>
                  <a:cubicBezTo>
                    <a:pt x="392" y="58"/>
                    <a:pt x="378" y="48"/>
                    <a:pt x="373" y="50"/>
                  </a:cubicBezTo>
                  <a:cubicBezTo>
                    <a:pt x="371" y="51"/>
                    <a:pt x="370" y="56"/>
                    <a:pt x="367" y="57"/>
                  </a:cubicBezTo>
                  <a:cubicBezTo>
                    <a:pt x="367" y="57"/>
                    <a:pt x="355" y="48"/>
                    <a:pt x="355" y="48"/>
                  </a:cubicBezTo>
                  <a:cubicBezTo>
                    <a:pt x="341" y="44"/>
                    <a:pt x="331" y="70"/>
                    <a:pt x="307" y="72"/>
                  </a:cubicBezTo>
                  <a:cubicBezTo>
                    <a:pt x="310" y="89"/>
                    <a:pt x="297" y="100"/>
                    <a:pt x="293" y="117"/>
                  </a:cubicBezTo>
                  <a:cubicBezTo>
                    <a:pt x="291" y="123"/>
                    <a:pt x="328" y="114"/>
                    <a:pt x="324" y="128"/>
                  </a:cubicBezTo>
                  <a:cubicBezTo>
                    <a:pt x="314" y="133"/>
                    <a:pt x="314" y="133"/>
                    <a:pt x="314" y="133"/>
                  </a:cubicBezTo>
                  <a:cubicBezTo>
                    <a:pt x="311" y="136"/>
                    <a:pt x="313" y="144"/>
                    <a:pt x="309" y="146"/>
                  </a:cubicBezTo>
                  <a:cubicBezTo>
                    <a:pt x="307" y="148"/>
                    <a:pt x="304" y="146"/>
                    <a:pt x="302" y="146"/>
                  </a:cubicBezTo>
                  <a:cubicBezTo>
                    <a:pt x="297" y="145"/>
                    <a:pt x="282" y="142"/>
                    <a:pt x="278" y="144"/>
                  </a:cubicBezTo>
                  <a:cubicBezTo>
                    <a:pt x="273" y="147"/>
                    <a:pt x="273" y="163"/>
                    <a:pt x="268" y="167"/>
                  </a:cubicBezTo>
                  <a:cubicBezTo>
                    <a:pt x="254" y="179"/>
                    <a:pt x="242" y="169"/>
                    <a:pt x="229" y="192"/>
                  </a:cubicBezTo>
                  <a:cubicBezTo>
                    <a:pt x="226" y="198"/>
                    <a:pt x="234" y="214"/>
                    <a:pt x="232" y="221"/>
                  </a:cubicBezTo>
                  <a:cubicBezTo>
                    <a:pt x="230" y="231"/>
                    <a:pt x="212" y="239"/>
                    <a:pt x="213" y="253"/>
                  </a:cubicBezTo>
                  <a:cubicBezTo>
                    <a:pt x="213" y="257"/>
                    <a:pt x="247" y="260"/>
                    <a:pt x="234" y="278"/>
                  </a:cubicBezTo>
                  <a:cubicBezTo>
                    <a:pt x="230" y="283"/>
                    <a:pt x="205" y="283"/>
                    <a:pt x="208" y="276"/>
                  </a:cubicBezTo>
                  <a:cubicBezTo>
                    <a:pt x="210" y="273"/>
                    <a:pt x="215" y="272"/>
                    <a:pt x="216" y="269"/>
                  </a:cubicBezTo>
                  <a:cubicBezTo>
                    <a:pt x="220" y="257"/>
                    <a:pt x="186" y="263"/>
                    <a:pt x="183" y="264"/>
                  </a:cubicBezTo>
                  <a:cubicBezTo>
                    <a:pt x="178" y="268"/>
                    <a:pt x="182" y="278"/>
                    <a:pt x="173" y="283"/>
                  </a:cubicBezTo>
                  <a:cubicBezTo>
                    <a:pt x="168" y="285"/>
                    <a:pt x="149" y="281"/>
                    <a:pt x="146" y="285"/>
                  </a:cubicBezTo>
                  <a:cubicBezTo>
                    <a:pt x="144" y="287"/>
                    <a:pt x="153" y="301"/>
                    <a:pt x="147" y="303"/>
                  </a:cubicBezTo>
                  <a:cubicBezTo>
                    <a:pt x="130" y="301"/>
                    <a:pt x="130" y="301"/>
                    <a:pt x="130" y="301"/>
                  </a:cubicBezTo>
                  <a:cubicBezTo>
                    <a:pt x="123" y="302"/>
                    <a:pt x="117" y="316"/>
                    <a:pt x="110" y="316"/>
                  </a:cubicBezTo>
                  <a:cubicBezTo>
                    <a:pt x="99" y="318"/>
                    <a:pt x="97" y="303"/>
                    <a:pt x="88" y="305"/>
                  </a:cubicBezTo>
                  <a:cubicBezTo>
                    <a:pt x="86" y="306"/>
                    <a:pt x="85" y="309"/>
                    <a:pt x="84" y="310"/>
                  </a:cubicBezTo>
                  <a:cubicBezTo>
                    <a:pt x="82" y="310"/>
                    <a:pt x="80" y="310"/>
                    <a:pt x="78" y="310"/>
                  </a:cubicBezTo>
                  <a:cubicBezTo>
                    <a:pt x="76" y="310"/>
                    <a:pt x="34" y="310"/>
                    <a:pt x="30" y="307"/>
                  </a:cubicBezTo>
                  <a:cubicBezTo>
                    <a:pt x="36" y="345"/>
                    <a:pt x="83" y="441"/>
                    <a:pt x="69" y="474"/>
                  </a:cubicBezTo>
                  <a:cubicBezTo>
                    <a:pt x="68" y="475"/>
                    <a:pt x="68" y="476"/>
                    <a:pt x="67" y="477"/>
                  </a:cubicBezTo>
                  <a:cubicBezTo>
                    <a:pt x="57" y="488"/>
                    <a:pt x="24" y="496"/>
                    <a:pt x="8" y="513"/>
                  </a:cubicBezTo>
                  <a:cubicBezTo>
                    <a:pt x="4" y="518"/>
                    <a:pt x="1" y="524"/>
                    <a:pt x="0" y="532"/>
                  </a:cubicBezTo>
                  <a:cubicBezTo>
                    <a:pt x="0" y="546"/>
                    <a:pt x="42" y="543"/>
                    <a:pt x="43" y="565"/>
                  </a:cubicBezTo>
                  <a:cubicBezTo>
                    <a:pt x="44" y="584"/>
                    <a:pt x="35" y="597"/>
                    <a:pt x="34" y="613"/>
                  </a:cubicBezTo>
                  <a:cubicBezTo>
                    <a:pt x="33" y="621"/>
                    <a:pt x="37" y="626"/>
                    <a:pt x="40" y="632"/>
                  </a:cubicBezTo>
                  <a:cubicBezTo>
                    <a:pt x="40" y="632"/>
                    <a:pt x="40" y="632"/>
                    <a:pt x="40" y="632"/>
                  </a:cubicBezTo>
                  <a:cubicBezTo>
                    <a:pt x="53" y="632"/>
                    <a:pt x="29" y="620"/>
                    <a:pt x="46" y="616"/>
                  </a:cubicBezTo>
                  <a:cubicBezTo>
                    <a:pt x="59" y="613"/>
                    <a:pt x="63" y="621"/>
                    <a:pt x="70" y="625"/>
                  </a:cubicBezTo>
                  <a:cubicBezTo>
                    <a:pt x="80" y="630"/>
                    <a:pt x="105" y="587"/>
                    <a:pt x="110" y="585"/>
                  </a:cubicBezTo>
                  <a:cubicBezTo>
                    <a:pt x="120" y="580"/>
                    <a:pt x="250" y="574"/>
                    <a:pt x="262" y="580"/>
                  </a:cubicBezTo>
                  <a:cubicBezTo>
                    <a:pt x="281" y="591"/>
                    <a:pt x="313" y="600"/>
                    <a:pt x="336" y="603"/>
                  </a:cubicBezTo>
                  <a:cubicBezTo>
                    <a:pt x="342" y="603"/>
                    <a:pt x="355" y="596"/>
                    <a:pt x="360" y="603"/>
                  </a:cubicBezTo>
                  <a:cubicBezTo>
                    <a:pt x="363" y="607"/>
                    <a:pt x="365" y="622"/>
                    <a:pt x="366" y="623"/>
                  </a:cubicBezTo>
                  <a:cubicBezTo>
                    <a:pt x="367" y="625"/>
                    <a:pt x="400" y="620"/>
                    <a:pt x="406" y="623"/>
                  </a:cubicBezTo>
                  <a:cubicBezTo>
                    <a:pt x="407" y="623"/>
                    <a:pt x="396" y="645"/>
                    <a:pt x="409" y="640"/>
                  </a:cubicBezTo>
                  <a:cubicBezTo>
                    <a:pt x="419" y="637"/>
                    <a:pt x="410" y="621"/>
                    <a:pt x="419" y="620"/>
                  </a:cubicBezTo>
                  <a:cubicBezTo>
                    <a:pt x="439" y="618"/>
                    <a:pt x="425" y="637"/>
                    <a:pt x="451" y="616"/>
                  </a:cubicBezTo>
                  <a:cubicBezTo>
                    <a:pt x="452" y="615"/>
                    <a:pt x="454" y="613"/>
                    <a:pt x="455" y="614"/>
                  </a:cubicBezTo>
                  <a:cubicBezTo>
                    <a:pt x="458" y="616"/>
                    <a:pt x="456" y="630"/>
                    <a:pt x="464" y="631"/>
                  </a:cubicBezTo>
                  <a:cubicBezTo>
                    <a:pt x="469" y="633"/>
                    <a:pt x="478" y="618"/>
                    <a:pt x="486" y="627"/>
                  </a:cubicBezTo>
                  <a:cubicBezTo>
                    <a:pt x="494" y="635"/>
                    <a:pt x="486" y="641"/>
                    <a:pt x="498" y="647"/>
                  </a:cubicBezTo>
                  <a:cubicBezTo>
                    <a:pt x="504" y="650"/>
                    <a:pt x="501" y="634"/>
                    <a:pt x="506" y="629"/>
                  </a:cubicBezTo>
                  <a:cubicBezTo>
                    <a:pt x="510" y="625"/>
                    <a:pt x="529" y="615"/>
                    <a:pt x="535" y="618"/>
                  </a:cubicBezTo>
                  <a:cubicBezTo>
                    <a:pt x="544" y="623"/>
                    <a:pt x="543" y="654"/>
                    <a:pt x="552" y="654"/>
                  </a:cubicBezTo>
                  <a:cubicBezTo>
                    <a:pt x="565" y="654"/>
                    <a:pt x="566" y="635"/>
                    <a:pt x="581" y="636"/>
                  </a:cubicBezTo>
                  <a:cubicBezTo>
                    <a:pt x="587" y="636"/>
                    <a:pt x="590" y="644"/>
                    <a:pt x="596" y="645"/>
                  </a:cubicBezTo>
                  <a:cubicBezTo>
                    <a:pt x="605" y="645"/>
                    <a:pt x="613" y="634"/>
                    <a:pt x="626" y="638"/>
                  </a:cubicBezTo>
                  <a:cubicBezTo>
                    <a:pt x="636" y="642"/>
                    <a:pt x="646" y="672"/>
                    <a:pt x="659" y="669"/>
                  </a:cubicBezTo>
                  <a:cubicBezTo>
                    <a:pt x="676" y="665"/>
                    <a:pt x="647" y="630"/>
                    <a:pt x="669" y="592"/>
                  </a:cubicBezTo>
                  <a:cubicBezTo>
                    <a:pt x="674" y="582"/>
                    <a:pt x="694" y="575"/>
                    <a:pt x="697" y="567"/>
                  </a:cubicBezTo>
                  <a:cubicBezTo>
                    <a:pt x="700" y="561"/>
                    <a:pt x="681" y="563"/>
                    <a:pt x="699" y="558"/>
                  </a:cubicBezTo>
                  <a:cubicBezTo>
                    <a:pt x="705" y="556"/>
                    <a:pt x="715" y="565"/>
                    <a:pt x="721" y="563"/>
                  </a:cubicBezTo>
                  <a:cubicBezTo>
                    <a:pt x="725" y="561"/>
                    <a:pt x="727" y="555"/>
                    <a:pt x="731" y="554"/>
                  </a:cubicBezTo>
                  <a:cubicBezTo>
                    <a:pt x="741" y="551"/>
                    <a:pt x="758" y="555"/>
                    <a:pt x="769" y="556"/>
                  </a:cubicBezTo>
                  <a:cubicBezTo>
                    <a:pt x="762" y="550"/>
                    <a:pt x="747" y="508"/>
                    <a:pt x="749" y="500"/>
                  </a:cubicBezTo>
                  <a:cubicBezTo>
                    <a:pt x="750" y="498"/>
                    <a:pt x="756" y="499"/>
                    <a:pt x="757" y="496"/>
                  </a:cubicBezTo>
                  <a:cubicBezTo>
                    <a:pt x="757" y="493"/>
                    <a:pt x="741" y="481"/>
                    <a:pt x="743" y="476"/>
                  </a:cubicBezTo>
                  <a:cubicBezTo>
                    <a:pt x="747" y="467"/>
                    <a:pt x="758" y="477"/>
                    <a:pt x="751" y="465"/>
                  </a:cubicBezTo>
                  <a:cubicBezTo>
                    <a:pt x="746" y="456"/>
                    <a:pt x="724" y="443"/>
                    <a:pt x="722" y="433"/>
                  </a:cubicBezTo>
                  <a:cubicBezTo>
                    <a:pt x="722" y="428"/>
                    <a:pt x="730" y="425"/>
                    <a:pt x="733" y="420"/>
                  </a:cubicBezTo>
                  <a:cubicBezTo>
                    <a:pt x="735" y="416"/>
                    <a:pt x="731" y="407"/>
                    <a:pt x="737" y="406"/>
                  </a:cubicBezTo>
                  <a:cubicBezTo>
                    <a:pt x="766" y="402"/>
                    <a:pt x="773" y="430"/>
                    <a:pt x="801" y="424"/>
                  </a:cubicBezTo>
                  <a:cubicBezTo>
                    <a:pt x="820" y="421"/>
                    <a:pt x="824" y="402"/>
                    <a:pt x="829" y="395"/>
                  </a:cubicBezTo>
                  <a:cubicBezTo>
                    <a:pt x="834" y="389"/>
                    <a:pt x="867" y="391"/>
                    <a:pt x="853" y="373"/>
                  </a:cubicBezTo>
                  <a:cubicBezTo>
                    <a:pt x="849" y="367"/>
                    <a:pt x="836" y="367"/>
                    <a:pt x="831" y="362"/>
                  </a:cubicBezTo>
                  <a:cubicBezTo>
                    <a:pt x="811" y="342"/>
                    <a:pt x="853" y="351"/>
                    <a:pt x="812" y="330"/>
                  </a:cubicBezTo>
                  <a:cubicBezTo>
                    <a:pt x="806" y="327"/>
                    <a:pt x="769" y="331"/>
                    <a:pt x="767" y="328"/>
                  </a:cubicBezTo>
                  <a:cubicBezTo>
                    <a:pt x="763" y="319"/>
                    <a:pt x="784" y="302"/>
                    <a:pt x="774" y="292"/>
                  </a:cubicBezTo>
                  <a:cubicBezTo>
                    <a:pt x="769" y="285"/>
                    <a:pt x="737" y="282"/>
                    <a:pt x="728" y="269"/>
                  </a:cubicBezTo>
                  <a:cubicBezTo>
                    <a:pt x="715" y="250"/>
                    <a:pt x="727" y="251"/>
                    <a:pt x="706" y="233"/>
                  </a:cubicBezTo>
                  <a:cubicBezTo>
                    <a:pt x="703" y="230"/>
                    <a:pt x="719" y="216"/>
                    <a:pt x="715" y="215"/>
                  </a:cubicBezTo>
                  <a:cubicBezTo>
                    <a:pt x="708" y="211"/>
                    <a:pt x="683" y="203"/>
                    <a:pt x="679" y="192"/>
                  </a:cubicBezTo>
                  <a:cubicBezTo>
                    <a:pt x="676" y="183"/>
                    <a:pt x="684" y="186"/>
                    <a:pt x="685" y="180"/>
                  </a:cubicBezTo>
                  <a:cubicBezTo>
                    <a:pt x="689" y="167"/>
                    <a:pt x="687" y="179"/>
                    <a:pt x="694" y="169"/>
                  </a:cubicBezTo>
                  <a:cubicBezTo>
                    <a:pt x="696" y="166"/>
                    <a:pt x="689" y="162"/>
                    <a:pt x="691" y="160"/>
                  </a:cubicBezTo>
                  <a:cubicBezTo>
                    <a:pt x="694" y="158"/>
                    <a:pt x="702" y="161"/>
                    <a:pt x="702" y="158"/>
                  </a:cubicBezTo>
                  <a:cubicBezTo>
                    <a:pt x="699" y="145"/>
                    <a:pt x="689" y="135"/>
                    <a:pt x="682" y="126"/>
                  </a:cubicBezTo>
                  <a:cubicBezTo>
                    <a:pt x="682" y="125"/>
                    <a:pt x="698" y="93"/>
                    <a:pt x="693" y="82"/>
                  </a:cubicBezTo>
                  <a:cubicBezTo>
                    <a:pt x="690" y="77"/>
                    <a:pt x="679" y="83"/>
                    <a:pt x="678" y="82"/>
                  </a:cubicBezTo>
                  <a:cubicBezTo>
                    <a:pt x="661" y="77"/>
                    <a:pt x="652" y="44"/>
                    <a:pt x="630" y="45"/>
                  </a:cubicBezTo>
                  <a:cubicBezTo>
                    <a:pt x="613" y="47"/>
                    <a:pt x="600" y="53"/>
                    <a:pt x="584" y="57"/>
                  </a:cubicBezTo>
                  <a:cubicBezTo>
                    <a:pt x="579" y="58"/>
                    <a:pt x="571" y="71"/>
                    <a:pt x="566" y="71"/>
                  </a:cubicBezTo>
                  <a:cubicBezTo>
                    <a:pt x="543" y="68"/>
                    <a:pt x="562" y="36"/>
                    <a:pt x="559" y="34"/>
                  </a:cubicBezTo>
                  <a:cubicBezTo>
                    <a:pt x="531" y="13"/>
                    <a:pt x="521" y="33"/>
                    <a:pt x="501" y="34"/>
                  </a:cubicBezTo>
                  <a:cubicBezTo>
                    <a:pt x="492" y="34"/>
                    <a:pt x="494" y="19"/>
                    <a:pt x="489" y="16"/>
                  </a:cubicBezTo>
                  <a:cubicBezTo>
                    <a:pt x="468" y="0"/>
                    <a:pt x="468" y="33"/>
                    <a:pt x="446" y="6"/>
                  </a:cubicBezTo>
                  <a:cubicBezTo>
                    <a:pt x="443" y="10"/>
                    <a:pt x="420" y="14"/>
                    <a:pt x="413" y="2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299" name="Freeform 1374"/>
            <p:cNvSpPr>
              <a:spLocks/>
            </p:cNvSpPr>
            <p:nvPr/>
          </p:nvSpPr>
          <p:spPr bwMode="auto">
            <a:xfrm>
              <a:off x="3372" y="2610"/>
              <a:ext cx="15" cy="11"/>
            </a:xfrm>
            <a:custGeom>
              <a:avLst/>
              <a:gdLst>
                <a:gd name="T0" fmla="*/ 11 w 24"/>
                <a:gd name="T1" fmla="*/ 16 h 16"/>
                <a:gd name="T2" fmla="*/ 11 w 24"/>
                <a:gd name="T3" fmla="*/ 16 h 16"/>
                <a:gd name="T4" fmla="*/ 17 w 24"/>
                <a:gd name="T5" fmla="*/ 0 h 16"/>
                <a:gd name="T6" fmla="*/ 11 w 24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6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24" y="16"/>
                    <a:pt x="0" y="4"/>
                    <a:pt x="17" y="0"/>
                  </a:cubicBezTo>
                  <a:cubicBezTo>
                    <a:pt x="0" y="4"/>
                    <a:pt x="24" y="16"/>
                    <a:pt x="11" y="16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00" name="Freeform 1375"/>
            <p:cNvSpPr>
              <a:spLocks/>
            </p:cNvSpPr>
            <p:nvPr/>
          </p:nvSpPr>
          <p:spPr bwMode="auto">
            <a:xfrm>
              <a:off x="3372" y="2408"/>
              <a:ext cx="35" cy="111"/>
            </a:xfrm>
            <a:custGeom>
              <a:avLst/>
              <a:gdLst>
                <a:gd name="T0" fmla="*/ 0 w 53"/>
                <a:gd name="T1" fmla="*/ 0 h 170"/>
                <a:gd name="T2" fmla="*/ 0 w 53"/>
                <a:gd name="T3" fmla="*/ 0 h 170"/>
                <a:gd name="T4" fmla="*/ 39 w 53"/>
                <a:gd name="T5" fmla="*/ 167 h 170"/>
                <a:gd name="T6" fmla="*/ 37 w 53"/>
                <a:gd name="T7" fmla="*/ 170 h 170"/>
                <a:gd name="T8" fmla="*/ 39 w 53"/>
                <a:gd name="T9" fmla="*/ 167 h 170"/>
                <a:gd name="T10" fmla="*/ 0 w 53"/>
                <a:gd name="T11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3" h="17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38"/>
                    <a:pt x="53" y="134"/>
                    <a:pt x="39" y="167"/>
                  </a:cubicBezTo>
                  <a:cubicBezTo>
                    <a:pt x="38" y="168"/>
                    <a:pt x="38" y="169"/>
                    <a:pt x="37" y="170"/>
                  </a:cubicBezTo>
                  <a:cubicBezTo>
                    <a:pt x="38" y="169"/>
                    <a:pt x="38" y="168"/>
                    <a:pt x="39" y="167"/>
                  </a:cubicBezTo>
                  <a:cubicBezTo>
                    <a:pt x="53" y="134"/>
                    <a:pt x="6" y="38"/>
                    <a:pt x="0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01" name="Freeform 1376"/>
            <p:cNvSpPr>
              <a:spLocks/>
            </p:cNvSpPr>
            <p:nvPr/>
          </p:nvSpPr>
          <p:spPr bwMode="auto">
            <a:xfrm>
              <a:off x="3352" y="2543"/>
              <a:ext cx="29" cy="78"/>
            </a:xfrm>
            <a:custGeom>
              <a:avLst/>
              <a:gdLst>
                <a:gd name="T0" fmla="*/ 40 w 44"/>
                <a:gd name="T1" fmla="*/ 119 h 119"/>
                <a:gd name="T2" fmla="*/ 40 w 44"/>
                <a:gd name="T3" fmla="*/ 119 h 119"/>
                <a:gd name="T4" fmla="*/ 34 w 44"/>
                <a:gd name="T5" fmla="*/ 100 h 119"/>
                <a:gd name="T6" fmla="*/ 43 w 44"/>
                <a:gd name="T7" fmla="*/ 52 h 119"/>
                <a:gd name="T8" fmla="*/ 0 w 44"/>
                <a:gd name="T9" fmla="*/ 19 h 119"/>
                <a:gd name="T10" fmla="*/ 8 w 44"/>
                <a:gd name="T11" fmla="*/ 0 h 119"/>
                <a:gd name="T12" fmla="*/ 0 w 44"/>
                <a:gd name="T13" fmla="*/ 19 h 119"/>
                <a:gd name="T14" fmla="*/ 43 w 44"/>
                <a:gd name="T15" fmla="*/ 52 h 119"/>
                <a:gd name="T16" fmla="*/ 34 w 44"/>
                <a:gd name="T17" fmla="*/ 100 h 119"/>
                <a:gd name="T18" fmla="*/ 40 w 44"/>
                <a:gd name="T19" fmla="*/ 119 h 119"/>
                <a:gd name="T20" fmla="*/ 40 w 44"/>
                <a:gd name="T21" fmla="*/ 119 h 119"/>
                <a:gd name="T22" fmla="*/ 40 w 44"/>
                <a:gd name="T23" fmla="*/ 119 h 119"/>
                <a:gd name="T24" fmla="*/ 40 w 44"/>
                <a:gd name="T2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119">
                  <a:moveTo>
                    <a:pt x="40" y="119"/>
                  </a:moveTo>
                  <a:cubicBezTo>
                    <a:pt x="40" y="119"/>
                    <a:pt x="40" y="119"/>
                    <a:pt x="40" y="119"/>
                  </a:cubicBezTo>
                  <a:cubicBezTo>
                    <a:pt x="37" y="113"/>
                    <a:pt x="33" y="108"/>
                    <a:pt x="34" y="100"/>
                  </a:cubicBezTo>
                  <a:cubicBezTo>
                    <a:pt x="35" y="84"/>
                    <a:pt x="44" y="71"/>
                    <a:pt x="43" y="52"/>
                  </a:cubicBezTo>
                  <a:cubicBezTo>
                    <a:pt x="42" y="30"/>
                    <a:pt x="0" y="33"/>
                    <a:pt x="0" y="19"/>
                  </a:cubicBezTo>
                  <a:cubicBezTo>
                    <a:pt x="1" y="11"/>
                    <a:pt x="4" y="5"/>
                    <a:pt x="8" y="0"/>
                  </a:cubicBezTo>
                  <a:cubicBezTo>
                    <a:pt x="4" y="5"/>
                    <a:pt x="1" y="11"/>
                    <a:pt x="0" y="19"/>
                  </a:cubicBezTo>
                  <a:cubicBezTo>
                    <a:pt x="0" y="33"/>
                    <a:pt x="42" y="30"/>
                    <a:pt x="43" y="52"/>
                  </a:cubicBezTo>
                  <a:cubicBezTo>
                    <a:pt x="44" y="71"/>
                    <a:pt x="35" y="84"/>
                    <a:pt x="34" y="100"/>
                  </a:cubicBezTo>
                  <a:cubicBezTo>
                    <a:pt x="33" y="108"/>
                    <a:pt x="37" y="113"/>
                    <a:pt x="40" y="119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40" y="119"/>
                    <a:pt x="40" y="119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02" name="Oval 1377"/>
            <p:cNvSpPr>
              <a:spLocks noChangeArrowheads="1"/>
            </p:cNvSpPr>
            <p:nvPr/>
          </p:nvSpPr>
          <p:spPr bwMode="auto">
            <a:xfrm>
              <a:off x="3379" y="2621"/>
              <a:ext cx="1" cy="1"/>
            </a:xfrm>
            <a:prstGeom prst="ellipse">
              <a:avLst/>
            </a:pr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03" name="Freeform 1378"/>
            <p:cNvSpPr>
              <a:spLocks/>
            </p:cNvSpPr>
            <p:nvPr/>
          </p:nvSpPr>
          <p:spPr bwMode="auto">
            <a:xfrm>
              <a:off x="2610" y="3018"/>
              <a:ext cx="0" cy="1"/>
            </a:xfrm>
            <a:custGeom>
              <a:avLst/>
              <a:gdLst>
                <a:gd name="T0" fmla="*/ 2 h 2"/>
                <a:gd name="T1" fmla="*/ 0 h 2"/>
                <a:gd name="T2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04" name="Freeform 1379"/>
            <p:cNvSpPr>
              <a:spLocks/>
            </p:cNvSpPr>
            <p:nvPr/>
          </p:nvSpPr>
          <p:spPr bwMode="auto">
            <a:xfrm>
              <a:off x="2975" y="2947"/>
              <a:ext cx="0" cy="0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1" y="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05" name="Freeform 1380"/>
            <p:cNvSpPr>
              <a:spLocks/>
            </p:cNvSpPr>
            <p:nvPr/>
          </p:nvSpPr>
          <p:spPr bwMode="auto">
            <a:xfrm>
              <a:off x="2610" y="3018"/>
              <a:ext cx="0" cy="1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06" name="Freeform 1381"/>
            <p:cNvSpPr>
              <a:spLocks/>
            </p:cNvSpPr>
            <p:nvPr/>
          </p:nvSpPr>
          <p:spPr bwMode="auto">
            <a:xfrm>
              <a:off x="2552" y="2833"/>
              <a:ext cx="449" cy="227"/>
            </a:xfrm>
            <a:custGeom>
              <a:avLst/>
              <a:gdLst>
                <a:gd name="T0" fmla="*/ 628 w 685"/>
                <a:gd name="T1" fmla="*/ 248 h 346"/>
                <a:gd name="T2" fmla="*/ 646 w 685"/>
                <a:gd name="T3" fmla="*/ 199 h 346"/>
                <a:gd name="T4" fmla="*/ 644 w 685"/>
                <a:gd name="T5" fmla="*/ 175 h 346"/>
                <a:gd name="T6" fmla="*/ 658 w 685"/>
                <a:gd name="T7" fmla="*/ 148 h 346"/>
                <a:gd name="T8" fmla="*/ 650 w 685"/>
                <a:gd name="T9" fmla="*/ 175 h 346"/>
                <a:gd name="T10" fmla="*/ 685 w 685"/>
                <a:gd name="T11" fmla="*/ 135 h 346"/>
                <a:gd name="T12" fmla="*/ 667 w 685"/>
                <a:gd name="T13" fmla="*/ 59 h 346"/>
                <a:gd name="T14" fmla="*/ 651 w 685"/>
                <a:gd name="T15" fmla="*/ 46 h 346"/>
                <a:gd name="T16" fmla="*/ 588 w 685"/>
                <a:gd name="T17" fmla="*/ 39 h 346"/>
                <a:gd name="T18" fmla="*/ 508 w 685"/>
                <a:gd name="T19" fmla="*/ 16 h 346"/>
                <a:gd name="T20" fmla="*/ 490 w 685"/>
                <a:gd name="T21" fmla="*/ 39 h 346"/>
                <a:gd name="T22" fmla="*/ 477 w 685"/>
                <a:gd name="T23" fmla="*/ 37 h 346"/>
                <a:gd name="T24" fmla="*/ 451 w 685"/>
                <a:gd name="T25" fmla="*/ 57 h 346"/>
                <a:gd name="T26" fmla="*/ 388 w 685"/>
                <a:gd name="T27" fmla="*/ 37 h 346"/>
                <a:gd name="T28" fmla="*/ 355 w 685"/>
                <a:gd name="T29" fmla="*/ 65 h 346"/>
                <a:gd name="T30" fmla="*/ 293 w 685"/>
                <a:gd name="T31" fmla="*/ 123 h 346"/>
                <a:gd name="T32" fmla="*/ 308 w 685"/>
                <a:gd name="T33" fmla="*/ 175 h 346"/>
                <a:gd name="T34" fmla="*/ 294 w 685"/>
                <a:gd name="T35" fmla="*/ 181 h 346"/>
                <a:gd name="T36" fmla="*/ 264 w 685"/>
                <a:gd name="T37" fmla="*/ 177 h 346"/>
                <a:gd name="T38" fmla="*/ 248 w 685"/>
                <a:gd name="T39" fmla="*/ 177 h 346"/>
                <a:gd name="T40" fmla="*/ 244 w 685"/>
                <a:gd name="T41" fmla="*/ 188 h 346"/>
                <a:gd name="T42" fmla="*/ 187 w 685"/>
                <a:gd name="T43" fmla="*/ 201 h 346"/>
                <a:gd name="T44" fmla="*/ 174 w 685"/>
                <a:gd name="T45" fmla="*/ 201 h 346"/>
                <a:gd name="T46" fmla="*/ 134 w 685"/>
                <a:gd name="T47" fmla="*/ 216 h 346"/>
                <a:gd name="T48" fmla="*/ 89 w 685"/>
                <a:gd name="T49" fmla="*/ 194 h 346"/>
                <a:gd name="T50" fmla="*/ 62 w 685"/>
                <a:gd name="T51" fmla="*/ 231 h 346"/>
                <a:gd name="T52" fmla="*/ 61 w 685"/>
                <a:gd name="T53" fmla="*/ 220 h 346"/>
                <a:gd name="T54" fmla="*/ 55 w 685"/>
                <a:gd name="T55" fmla="*/ 207 h 346"/>
                <a:gd name="T56" fmla="*/ 21 w 685"/>
                <a:gd name="T57" fmla="*/ 197 h 346"/>
                <a:gd name="T58" fmla="*/ 26 w 685"/>
                <a:gd name="T59" fmla="*/ 199 h 346"/>
                <a:gd name="T60" fmla="*/ 18 w 685"/>
                <a:gd name="T61" fmla="*/ 218 h 346"/>
                <a:gd name="T62" fmla="*/ 1 w 685"/>
                <a:gd name="T63" fmla="*/ 261 h 346"/>
                <a:gd name="T64" fmla="*/ 64 w 685"/>
                <a:gd name="T65" fmla="*/ 284 h 346"/>
                <a:gd name="T66" fmla="*/ 91 w 685"/>
                <a:gd name="T67" fmla="*/ 276 h 346"/>
                <a:gd name="T68" fmla="*/ 89 w 685"/>
                <a:gd name="T69" fmla="*/ 284 h 346"/>
                <a:gd name="T70" fmla="*/ 138 w 685"/>
                <a:gd name="T71" fmla="*/ 297 h 346"/>
                <a:gd name="T72" fmla="*/ 204 w 685"/>
                <a:gd name="T73" fmla="*/ 269 h 346"/>
                <a:gd name="T74" fmla="*/ 238 w 685"/>
                <a:gd name="T75" fmla="*/ 271 h 346"/>
                <a:gd name="T76" fmla="*/ 251 w 685"/>
                <a:gd name="T77" fmla="*/ 295 h 346"/>
                <a:gd name="T78" fmla="*/ 379 w 685"/>
                <a:gd name="T79" fmla="*/ 327 h 346"/>
                <a:gd name="T80" fmla="*/ 443 w 685"/>
                <a:gd name="T81" fmla="*/ 337 h 346"/>
                <a:gd name="T82" fmla="*/ 502 w 685"/>
                <a:gd name="T83" fmla="*/ 312 h 346"/>
                <a:gd name="T84" fmla="*/ 560 w 685"/>
                <a:gd name="T85" fmla="*/ 305 h 346"/>
                <a:gd name="T86" fmla="*/ 595 w 685"/>
                <a:gd name="T87" fmla="*/ 282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85" h="346">
                  <a:moveTo>
                    <a:pt x="630" y="250"/>
                  </a:moveTo>
                  <a:cubicBezTo>
                    <a:pt x="630" y="249"/>
                    <a:pt x="629" y="248"/>
                    <a:pt x="628" y="248"/>
                  </a:cubicBezTo>
                  <a:cubicBezTo>
                    <a:pt x="622" y="246"/>
                    <a:pt x="620" y="219"/>
                    <a:pt x="623" y="216"/>
                  </a:cubicBezTo>
                  <a:cubicBezTo>
                    <a:pt x="627" y="208"/>
                    <a:pt x="646" y="213"/>
                    <a:pt x="646" y="199"/>
                  </a:cubicBezTo>
                  <a:cubicBezTo>
                    <a:pt x="646" y="186"/>
                    <a:pt x="619" y="180"/>
                    <a:pt x="623" y="177"/>
                  </a:cubicBezTo>
                  <a:cubicBezTo>
                    <a:pt x="628" y="174"/>
                    <a:pt x="636" y="174"/>
                    <a:pt x="644" y="175"/>
                  </a:cubicBezTo>
                  <a:cubicBezTo>
                    <a:pt x="643" y="168"/>
                    <a:pt x="646" y="152"/>
                    <a:pt x="652" y="149"/>
                  </a:cubicBezTo>
                  <a:cubicBezTo>
                    <a:pt x="653" y="148"/>
                    <a:pt x="657" y="147"/>
                    <a:pt x="658" y="148"/>
                  </a:cubicBezTo>
                  <a:cubicBezTo>
                    <a:pt x="660" y="155"/>
                    <a:pt x="651" y="165"/>
                    <a:pt x="648" y="170"/>
                  </a:cubicBezTo>
                  <a:cubicBezTo>
                    <a:pt x="648" y="172"/>
                    <a:pt x="649" y="174"/>
                    <a:pt x="650" y="175"/>
                  </a:cubicBezTo>
                  <a:cubicBezTo>
                    <a:pt x="663" y="177"/>
                    <a:pt x="676" y="180"/>
                    <a:pt x="679" y="175"/>
                  </a:cubicBezTo>
                  <a:cubicBezTo>
                    <a:pt x="680" y="173"/>
                    <a:pt x="672" y="141"/>
                    <a:pt x="685" y="135"/>
                  </a:cubicBezTo>
                  <a:cubicBezTo>
                    <a:pt x="677" y="125"/>
                    <a:pt x="660" y="103"/>
                    <a:pt x="657" y="91"/>
                  </a:cubicBezTo>
                  <a:cubicBezTo>
                    <a:pt x="655" y="86"/>
                    <a:pt x="664" y="71"/>
                    <a:pt x="667" y="59"/>
                  </a:cubicBezTo>
                  <a:cubicBezTo>
                    <a:pt x="669" y="52"/>
                    <a:pt x="668" y="46"/>
                    <a:pt x="661" y="44"/>
                  </a:cubicBezTo>
                  <a:cubicBezTo>
                    <a:pt x="658" y="42"/>
                    <a:pt x="654" y="46"/>
                    <a:pt x="651" y="46"/>
                  </a:cubicBezTo>
                  <a:cubicBezTo>
                    <a:pt x="645" y="45"/>
                    <a:pt x="638" y="31"/>
                    <a:pt x="630" y="33"/>
                  </a:cubicBezTo>
                  <a:cubicBezTo>
                    <a:pt x="614" y="37"/>
                    <a:pt x="608" y="48"/>
                    <a:pt x="588" y="39"/>
                  </a:cubicBezTo>
                  <a:cubicBezTo>
                    <a:pt x="570" y="31"/>
                    <a:pt x="554" y="21"/>
                    <a:pt x="533" y="15"/>
                  </a:cubicBezTo>
                  <a:cubicBezTo>
                    <a:pt x="527" y="12"/>
                    <a:pt x="512" y="17"/>
                    <a:pt x="508" y="16"/>
                  </a:cubicBezTo>
                  <a:cubicBezTo>
                    <a:pt x="508" y="15"/>
                    <a:pt x="500" y="0"/>
                    <a:pt x="493" y="7"/>
                  </a:cubicBezTo>
                  <a:cubicBezTo>
                    <a:pt x="487" y="13"/>
                    <a:pt x="496" y="34"/>
                    <a:pt x="490" y="39"/>
                  </a:cubicBezTo>
                  <a:cubicBezTo>
                    <a:pt x="489" y="41"/>
                    <a:pt x="486" y="39"/>
                    <a:pt x="484" y="38"/>
                  </a:cubicBezTo>
                  <a:cubicBezTo>
                    <a:pt x="481" y="38"/>
                    <a:pt x="479" y="36"/>
                    <a:pt x="477" y="37"/>
                  </a:cubicBezTo>
                  <a:cubicBezTo>
                    <a:pt x="471" y="41"/>
                    <a:pt x="473" y="60"/>
                    <a:pt x="467" y="63"/>
                  </a:cubicBezTo>
                  <a:cubicBezTo>
                    <a:pt x="465" y="64"/>
                    <a:pt x="453" y="57"/>
                    <a:pt x="451" y="57"/>
                  </a:cubicBezTo>
                  <a:cubicBezTo>
                    <a:pt x="446" y="54"/>
                    <a:pt x="415" y="72"/>
                    <a:pt x="407" y="59"/>
                  </a:cubicBezTo>
                  <a:cubicBezTo>
                    <a:pt x="400" y="47"/>
                    <a:pt x="411" y="49"/>
                    <a:pt x="388" y="37"/>
                  </a:cubicBezTo>
                  <a:cubicBezTo>
                    <a:pt x="392" y="57"/>
                    <a:pt x="388" y="75"/>
                    <a:pt x="365" y="65"/>
                  </a:cubicBezTo>
                  <a:cubicBezTo>
                    <a:pt x="363" y="64"/>
                    <a:pt x="357" y="61"/>
                    <a:pt x="355" y="65"/>
                  </a:cubicBezTo>
                  <a:cubicBezTo>
                    <a:pt x="351" y="76"/>
                    <a:pt x="358" y="85"/>
                    <a:pt x="348" y="93"/>
                  </a:cubicBezTo>
                  <a:cubicBezTo>
                    <a:pt x="338" y="102"/>
                    <a:pt x="295" y="108"/>
                    <a:pt x="293" y="123"/>
                  </a:cubicBezTo>
                  <a:cubicBezTo>
                    <a:pt x="291" y="133"/>
                    <a:pt x="315" y="148"/>
                    <a:pt x="316" y="158"/>
                  </a:cubicBezTo>
                  <a:cubicBezTo>
                    <a:pt x="318" y="164"/>
                    <a:pt x="302" y="165"/>
                    <a:pt x="308" y="175"/>
                  </a:cubicBezTo>
                  <a:cubicBezTo>
                    <a:pt x="312" y="183"/>
                    <a:pt x="332" y="175"/>
                    <a:pt x="319" y="203"/>
                  </a:cubicBezTo>
                  <a:cubicBezTo>
                    <a:pt x="309" y="226"/>
                    <a:pt x="300" y="184"/>
                    <a:pt x="294" y="181"/>
                  </a:cubicBezTo>
                  <a:cubicBezTo>
                    <a:pt x="289" y="179"/>
                    <a:pt x="275" y="189"/>
                    <a:pt x="270" y="186"/>
                  </a:cubicBezTo>
                  <a:cubicBezTo>
                    <a:pt x="267" y="184"/>
                    <a:pt x="267" y="179"/>
                    <a:pt x="264" y="177"/>
                  </a:cubicBezTo>
                  <a:cubicBezTo>
                    <a:pt x="262" y="176"/>
                    <a:pt x="259" y="177"/>
                    <a:pt x="256" y="177"/>
                  </a:cubicBezTo>
                  <a:cubicBezTo>
                    <a:pt x="254" y="177"/>
                    <a:pt x="250" y="179"/>
                    <a:pt x="248" y="177"/>
                  </a:cubicBezTo>
                  <a:cubicBezTo>
                    <a:pt x="246" y="176"/>
                    <a:pt x="250" y="171"/>
                    <a:pt x="248" y="171"/>
                  </a:cubicBezTo>
                  <a:cubicBezTo>
                    <a:pt x="235" y="171"/>
                    <a:pt x="247" y="187"/>
                    <a:pt x="244" y="188"/>
                  </a:cubicBezTo>
                  <a:cubicBezTo>
                    <a:pt x="230" y="193"/>
                    <a:pt x="204" y="183"/>
                    <a:pt x="193" y="190"/>
                  </a:cubicBezTo>
                  <a:cubicBezTo>
                    <a:pt x="193" y="190"/>
                    <a:pt x="187" y="201"/>
                    <a:pt x="187" y="201"/>
                  </a:cubicBezTo>
                  <a:cubicBezTo>
                    <a:pt x="185" y="202"/>
                    <a:pt x="183" y="201"/>
                    <a:pt x="180" y="201"/>
                  </a:cubicBezTo>
                  <a:cubicBezTo>
                    <a:pt x="178" y="201"/>
                    <a:pt x="175" y="199"/>
                    <a:pt x="174" y="201"/>
                  </a:cubicBezTo>
                  <a:cubicBezTo>
                    <a:pt x="172" y="203"/>
                    <a:pt x="174" y="207"/>
                    <a:pt x="172" y="209"/>
                  </a:cubicBezTo>
                  <a:cubicBezTo>
                    <a:pt x="171" y="211"/>
                    <a:pt x="137" y="220"/>
                    <a:pt x="134" y="216"/>
                  </a:cubicBezTo>
                  <a:cubicBezTo>
                    <a:pt x="130" y="212"/>
                    <a:pt x="131" y="206"/>
                    <a:pt x="129" y="201"/>
                  </a:cubicBezTo>
                  <a:cubicBezTo>
                    <a:pt x="125" y="188"/>
                    <a:pt x="96" y="202"/>
                    <a:pt x="89" y="194"/>
                  </a:cubicBezTo>
                  <a:cubicBezTo>
                    <a:pt x="82" y="187"/>
                    <a:pt x="90" y="205"/>
                    <a:pt x="89" y="211"/>
                  </a:cubicBezTo>
                  <a:cubicBezTo>
                    <a:pt x="88" y="217"/>
                    <a:pt x="68" y="236"/>
                    <a:pt x="62" y="231"/>
                  </a:cubicBezTo>
                  <a:cubicBezTo>
                    <a:pt x="59" y="228"/>
                    <a:pt x="70" y="221"/>
                    <a:pt x="67" y="218"/>
                  </a:cubicBezTo>
                  <a:cubicBezTo>
                    <a:pt x="65" y="216"/>
                    <a:pt x="63" y="220"/>
                    <a:pt x="61" y="220"/>
                  </a:cubicBezTo>
                  <a:cubicBezTo>
                    <a:pt x="59" y="220"/>
                    <a:pt x="56" y="220"/>
                    <a:pt x="55" y="218"/>
                  </a:cubicBezTo>
                  <a:cubicBezTo>
                    <a:pt x="53" y="214"/>
                    <a:pt x="60" y="211"/>
                    <a:pt x="55" y="207"/>
                  </a:cubicBezTo>
                  <a:cubicBezTo>
                    <a:pt x="44" y="199"/>
                    <a:pt x="40" y="198"/>
                    <a:pt x="31" y="190"/>
                  </a:cubicBezTo>
                  <a:cubicBezTo>
                    <a:pt x="31" y="190"/>
                    <a:pt x="27" y="194"/>
                    <a:pt x="21" y="197"/>
                  </a:cubicBezTo>
                  <a:cubicBezTo>
                    <a:pt x="22" y="197"/>
                    <a:pt x="22" y="198"/>
                    <a:pt x="23" y="198"/>
                  </a:cubicBezTo>
                  <a:cubicBezTo>
                    <a:pt x="24" y="198"/>
                    <a:pt x="26" y="198"/>
                    <a:pt x="26" y="199"/>
                  </a:cubicBezTo>
                  <a:cubicBezTo>
                    <a:pt x="26" y="202"/>
                    <a:pt x="19" y="203"/>
                    <a:pt x="13" y="203"/>
                  </a:cubicBezTo>
                  <a:cubicBezTo>
                    <a:pt x="15" y="208"/>
                    <a:pt x="20" y="212"/>
                    <a:pt x="18" y="218"/>
                  </a:cubicBezTo>
                  <a:cubicBezTo>
                    <a:pt x="9" y="238"/>
                    <a:pt x="8" y="226"/>
                    <a:pt x="4" y="254"/>
                  </a:cubicBezTo>
                  <a:cubicBezTo>
                    <a:pt x="4" y="257"/>
                    <a:pt x="0" y="259"/>
                    <a:pt x="1" y="261"/>
                  </a:cubicBezTo>
                  <a:cubicBezTo>
                    <a:pt x="7" y="267"/>
                    <a:pt x="31" y="259"/>
                    <a:pt x="37" y="265"/>
                  </a:cubicBezTo>
                  <a:cubicBezTo>
                    <a:pt x="42" y="270"/>
                    <a:pt x="46" y="290"/>
                    <a:pt x="64" y="284"/>
                  </a:cubicBezTo>
                  <a:cubicBezTo>
                    <a:pt x="71" y="282"/>
                    <a:pt x="76" y="268"/>
                    <a:pt x="83" y="267"/>
                  </a:cubicBezTo>
                  <a:cubicBezTo>
                    <a:pt x="87" y="266"/>
                    <a:pt x="90" y="272"/>
                    <a:pt x="91" y="276"/>
                  </a:cubicBezTo>
                  <a:cubicBezTo>
                    <a:pt x="91" y="278"/>
                    <a:pt x="89" y="280"/>
                    <a:pt x="89" y="282"/>
                  </a:cubicBezTo>
                  <a:cubicBezTo>
                    <a:pt x="89" y="284"/>
                    <a:pt x="89" y="284"/>
                    <a:pt x="89" y="284"/>
                  </a:cubicBezTo>
                  <a:cubicBezTo>
                    <a:pt x="105" y="292"/>
                    <a:pt x="91" y="282"/>
                    <a:pt x="107" y="284"/>
                  </a:cubicBezTo>
                  <a:cubicBezTo>
                    <a:pt x="112" y="285"/>
                    <a:pt x="125" y="304"/>
                    <a:pt x="138" y="297"/>
                  </a:cubicBezTo>
                  <a:cubicBezTo>
                    <a:pt x="145" y="293"/>
                    <a:pt x="145" y="276"/>
                    <a:pt x="152" y="271"/>
                  </a:cubicBezTo>
                  <a:cubicBezTo>
                    <a:pt x="163" y="262"/>
                    <a:pt x="190" y="268"/>
                    <a:pt x="204" y="269"/>
                  </a:cubicBezTo>
                  <a:cubicBezTo>
                    <a:pt x="209" y="269"/>
                    <a:pt x="243" y="253"/>
                    <a:pt x="245" y="256"/>
                  </a:cubicBezTo>
                  <a:cubicBezTo>
                    <a:pt x="248" y="260"/>
                    <a:pt x="238" y="265"/>
                    <a:pt x="238" y="271"/>
                  </a:cubicBezTo>
                  <a:cubicBezTo>
                    <a:pt x="240" y="283"/>
                    <a:pt x="249" y="276"/>
                    <a:pt x="253" y="284"/>
                  </a:cubicBezTo>
                  <a:cubicBezTo>
                    <a:pt x="254" y="287"/>
                    <a:pt x="250" y="291"/>
                    <a:pt x="251" y="295"/>
                  </a:cubicBezTo>
                  <a:cubicBezTo>
                    <a:pt x="255" y="305"/>
                    <a:pt x="284" y="310"/>
                    <a:pt x="296" y="313"/>
                  </a:cubicBezTo>
                  <a:cubicBezTo>
                    <a:pt x="323" y="320"/>
                    <a:pt x="351" y="322"/>
                    <a:pt x="379" y="327"/>
                  </a:cubicBezTo>
                  <a:cubicBezTo>
                    <a:pt x="393" y="330"/>
                    <a:pt x="406" y="334"/>
                    <a:pt x="419" y="339"/>
                  </a:cubicBezTo>
                  <a:cubicBezTo>
                    <a:pt x="425" y="342"/>
                    <a:pt x="436" y="335"/>
                    <a:pt x="443" y="337"/>
                  </a:cubicBezTo>
                  <a:cubicBezTo>
                    <a:pt x="455" y="346"/>
                    <a:pt x="455" y="346"/>
                    <a:pt x="455" y="346"/>
                  </a:cubicBezTo>
                  <a:cubicBezTo>
                    <a:pt x="474" y="341"/>
                    <a:pt x="475" y="313"/>
                    <a:pt x="502" y="312"/>
                  </a:cubicBezTo>
                  <a:cubicBezTo>
                    <a:pt x="512" y="311"/>
                    <a:pt x="528" y="319"/>
                    <a:pt x="538" y="316"/>
                  </a:cubicBezTo>
                  <a:cubicBezTo>
                    <a:pt x="550" y="312"/>
                    <a:pt x="544" y="302"/>
                    <a:pt x="560" y="305"/>
                  </a:cubicBezTo>
                  <a:cubicBezTo>
                    <a:pt x="562" y="305"/>
                    <a:pt x="584" y="311"/>
                    <a:pt x="585" y="310"/>
                  </a:cubicBezTo>
                  <a:cubicBezTo>
                    <a:pt x="588" y="306"/>
                    <a:pt x="575" y="282"/>
                    <a:pt x="595" y="282"/>
                  </a:cubicBezTo>
                  <a:cubicBezTo>
                    <a:pt x="611" y="268"/>
                    <a:pt x="623" y="260"/>
                    <a:pt x="630" y="250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1307" name="Freeform 1382"/>
            <p:cNvSpPr>
              <a:spLocks/>
            </p:cNvSpPr>
            <p:nvPr/>
          </p:nvSpPr>
          <p:spPr bwMode="auto">
            <a:xfrm>
              <a:off x="3125" y="3366"/>
              <a:ext cx="106" cy="242"/>
            </a:xfrm>
            <a:custGeom>
              <a:avLst/>
              <a:gdLst>
                <a:gd name="T0" fmla="*/ 72 w 162"/>
                <a:gd name="T1" fmla="*/ 365 h 369"/>
                <a:gd name="T2" fmla="*/ 89 w 162"/>
                <a:gd name="T3" fmla="*/ 368 h 369"/>
                <a:gd name="T4" fmla="*/ 90 w 162"/>
                <a:gd name="T5" fmla="*/ 352 h 369"/>
                <a:gd name="T6" fmla="*/ 102 w 162"/>
                <a:gd name="T7" fmla="*/ 350 h 369"/>
                <a:gd name="T8" fmla="*/ 93 w 162"/>
                <a:gd name="T9" fmla="*/ 330 h 369"/>
                <a:gd name="T10" fmla="*/ 124 w 162"/>
                <a:gd name="T11" fmla="*/ 315 h 369"/>
                <a:gd name="T12" fmla="*/ 141 w 162"/>
                <a:gd name="T13" fmla="*/ 269 h 369"/>
                <a:gd name="T14" fmla="*/ 159 w 162"/>
                <a:gd name="T15" fmla="*/ 252 h 369"/>
                <a:gd name="T16" fmla="*/ 153 w 162"/>
                <a:gd name="T17" fmla="*/ 224 h 369"/>
                <a:gd name="T18" fmla="*/ 142 w 162"/>
                <a:gd name="T19" fmla="*/ 214 h 369"/>
                <a:gd name="T20" fmla="*/ 130 w 162"/>
                <a:gd name="T21" fmla="*/ 216 h 369"/>
                <a:gd name="T22" fmla="*/ 110 w 162"/>
                <a:gd name="T23" fmla="*/ 164 h 369"/>
                <a:gd name="T24" fmla="*/ 116 w 162"/>
                <a:gd name="T25" fmla="*/ 156 h 369"/>
                <a:gd name="T26" fmla="*/ 107 w 162"/>
                <a:gd name="T27" fmla="*/ 138 h 369"/>
                <a:gd name="T28" fmla="*/ 114 w 162"/>
                <a:gd name="T29" fmla="*/ 134 h 369"/>
                <a:gd name="T30" fmla="*/ 116 w 162"/>
                <a:gd name="T31" fmla="*/ 96 h 369"/>
                <a:gd name="T32" fmla="*/ 113 w 162"/>
                <a:gd name="T33" fmla="*/ 56 h 369"/>
                <a:gd name="T34" fmla="*/ 87 w 162"/>
                <a:gd name="T35" fmla="*/ 43 h 369"/>
                <a:gd name="T36" fmla="*/ 71 w 162"/>
                <a:gd name="T37" fmla="*/ 12 h 369"/>
                <a:gd name="T38" fmla="*/ 50 w 162"/>
                <a:gd name="T39" fmla="*/ 25 h 369"/>
                <a:gd name="T40" fmla="*/ 40 w 162"/>
                <a:gd name="T41" fmla="*/ 0 h 369"/>
                <a:gd name="T42" fmla="*/ 9 w 162"/>
                <a:gd name="T43" fmla="*/ 46 h 369"/>
                <a:gd name="T44" fmla="*/ 1 w 162"/>
                <a:gd name="T45" fmla="*/ 60 h 369"/>
                <a:gd name="T46" fmla="*/ 12 w 162"/>
                <a:gd name="T47" fmla="*/ 70 h 369"/>
                <a:gd name="T48" fmla="*/ 9 w 162"/>
                <a:gd name="T49" fmla="*/ 97 h 369"/>
                <a:gd name="T50" fmla="*/ 29 w 162"/>
                <a:gd name="T51" fmla="*/ 106 h 369"/>
                <a:gd name="T52" fmla="*/ 24 w 162"/>
                <a:gd name="T53" fmla="*/ 135 h 369"/>
                <a:gd name="T54" fmla="*/ 15 w 162"/>
                <a:gd name="T55" fmla="*/ 134 h 369"/>
                <a:gd name="T56" fmla="*/ 22 w 162"/>
                <a:gd name="T57" fmla="*/ 143 h 369"/>
                <a:gd name="T58" fmla="*/ 11 w 162"/>
                <a:gd name="T59" fmla="*/ 156 h 369"/>
                <a:gd name="T60" fmla="*/ 21 w 162"/>
                <a:gd name="T61" fmla="*/ 172 h 369"/>
                <a:gd name="T62" fmla="*/ 16 w 162"/>
                <a:gd name="T63" fmla="*/ 191 h 369"/>
                <a:gd name="T64" fmla="*/ 18 w 162"/>
                <a:gd name="T65" fmla="*/ 207 h 369"/>
                <a:gd name="T66" fmla="*/ 19 w 162"/>
                <a:gd name="T67" fmla="*/ 212 h 369"/>
                <a:gd name="T68" fmla="*/ 22 w 162"/>
                <a:gd name="T69" fmla="*/ 216 h 369"/>
                <a:gd name="T70" fmla="*/ 19 w 162"/>
                <a:gd name="T71" fmla="*/ 219 h 369"/>
                <a:gd name="T72" fmla="*/ 14 w 162"/>
                <a:gd name="T73" fmla="*/ 215 h 369"/>
                <a:gd name="T74" fmla="*/ 15 w 162"/>
                <a:gd name="T75" fmla="*/ 212 h 369"/>
                <a:gd name="T76" fmla="*/ 14 w 162"/>
                <a:gd name="T77" fmla="*/ 213 h 369"/>
                <a:gd name="T78" fmla="*/ 3 w 162"/>
                <a:gd name="T79" fmla="*/ 248 h 369"/>
                <a:gd name="T80" fmla="*/ 16 w 162"/>
                <a:gd name="T81" fmla="*/ 258 h 369"/>
                <a:gd name="T82" fmla="*/ 10 w 162"/>
                <a:gd name="T83" fmla="*/ 263 h 369"/>
                <a:gd name="T84" fmla="*/ 19 w 162"/>
                <a:gd name="T85" fmla="*/ 283 h 369"/>
                <a:gd name="T86" fmla="*/ 19 w 162"/>
                <a:gd name="T87" fmla="*/ 285 h 369"/>
                <a:gd name="T88" fmla="*/ 2 w 162"/>
                <a:gd name="T89" fmla="*/ 277 h 369"/>
                <a:gd name="T90" fmla="*/ 53 w 162"/>
                <a:gd name="T91" fmla="*/ 323 h 369"/>
                <a:gd name="T92" fmla="*/ 63 w 162"/>
                <a:gd name="T93" fmla="*/ 365 h 369"/>
                <a:gd name="T94" fmla="*/ 66 w 162"/>
                <a:gd name="T95" fmla="*/ 365 h 369"/>
                <a:gd name="T96" fmla="*/ 69 w 162"/>
                <a:gd name="T97" fmla="*/ 366 h 369"/>
                <a:gd name="T98" fmla="*/ 72 w 162"/>
                <a:gd name="T99" fmla="*/ 365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62" h="369">
                  <a:moveTo>
                    <a:pt x="72" y="365"/>
                  </a:moveTo>
                  <a:cubicBezTo>
                    <a:pt x="74" y="366"/>
                    <a:pt x="87" y="369"/>
                    <a:pt x="89" y="368"/>
                  </a:cubicBezTo>
                  <a:cubicBezTo>
                    <a:pt x="93" y="365"/>
                    <a:pt x="85" y="352"/>
                    <a:pt x="90" y="352"/>
                  </a:cubicBezTo>
                  <a:cubicBezTo>
                    <a:pt x="93" y="352"/>
                    <a:pt x="102" y="358"/>
                    <a:pt x="102" y="350"/>
                  </a:cubicBezTo>
                  <a:cubicBezTo>
                    <a:pt x="102" y="346"/>
                    <a:pt x="91" y="332"/>
                    <a:pt x="93" y="330"/>
                  </a:cubicBezTo>
                  <a:cubicBezTo>
                    <a:pt x="100" y="320"/>
                    <a:pt x="119" y="323"/>
                    <a:pt x="124" y="315"/>
                  </a:cubicBezTo>
                  <a:cubicBezTo>
                    <a:pt x="130" y="307"/>
                    <a:pt x="129" y="272"/>
                    <a:pt x="141" y="269"/>
                  </a:cubicBezTo>
                  <a:cubicBezTo>
                    <a:pt x="150" y="266"/>
                    <a:pt x="154" y="266"/>
                    <a:pt x="159" y="252"/>
                  </a:cubicBezTo>
                  <a:cubicBezTo>
                    <a:pt x="162" y="242"/>
                    <a:pt x="151" y="236"/>
                    <a:pt x="153" y="224"/>
                  </a:cubicBezTo>
                  <a:cubicBezTo>
                    <a:pt x="150" y="222"/>
                    <a:pt x="152" y="212"/>
                    <a:pt x="142" y="214"/>
                  </a:cubicBezTo>
                  <a:cubicBezTo>
                    <a:pt x="138" y="214"/>
                    <a:pt x="135" y="222"/>
                    <a:pt x="130" y="216"/>
                  </a:cubicBezTo>
                  <a:cubicBezTo>
                    <a:pt x="128" y="213"/>
                    <a:pt x="109" y="169"/>
                    <a:pt x="110" y="164"/>
                  </a:cubicBezTo>
                  <a:cubicBezTo>
                    <a:pt x="110" y="161"/>
                    <a:pt x="115" y="160"/>
                    <a:pt x="116" y="156"/>
                  </a:cubicBezTo>
                  <a:cubicBezTo>
                    <a:pt x="116" y="156"/>
                    <a:pt x="107" y="138"/>
                    <a:pt x="107" y="138"/>
                  </a:cubicBezTo>
                  <a:cubicBezTo>
                    <a:pt x="107" y="135"/>
                    <a:pt x="113" y="136"/>
                    <a:pt x="114" y="134"/>
                  </a:cubicBezTo>
                  <a:cubicBezTo>
                    <a:pt x="115" y="131"/>
                    <a:pt x="116" y="114"/>
                    <a:pt x="116" y="96"/>
                  </a:cubicBezTo>
                  <a:cubicBezTo>
                    <a:pt x="116" y="78"/>
                    <a:pt x="115" y="59"/>
                    <a:pt x="113" y="56"/>
                  </a:cubicBezTo>
                  <a:cubicBezTo>
                    <a:pt x="106" y="45"/>
                    <a:pt x="95" y="47"/>
                    <a:pt x="87" y="43"/>
                  </a:cubicBezTo>
                  <a:cubicBezTo>
                    <a:pt x="79" y="39"/>
                    <a:pt x="85" y="14"/>
                    <a:pt x="71" y="12"/>
                  </a:cubicBezTo>
                  <a:cubicBezTo>
                    <a:pt x="65" y="12"/>
                    <a:pt x="56" y="26"/>
                    <a:pt x="50" y="25"/>
                  </a:cubicBezTo>
                  <a:cubicBezTo>
                    <a:pt x="41" y="22"/>
                    <a:pt x="46" y="0"/>
                    <a:pt x="40" y="0"/>
                  </a:cubicBezTo>
                  <a:cubicBezTo>
                    <a:pt x="31" y="0"/>
                    <a:pt x="13" y="40"/>
                    <a:pt x="9" y="46"/>
                  </a:cubicBezTo>
                  <a:cubicBezTo>
                    <a:pt x="7" y="51"/>
                    <a:pt x="1" y="54"/>
                    <a:pt x="1" y="60"/>
                  </a:cubicBezTo>
                  <a:cubicBezTo>
                    <a:pt x="1" y="60"/>
                    <a:pt x="12" y="70"/>
                    <a:pt x="12" y="70"/>
                  </a:cubicBezTo>
                  <a:cubicBezTo>
                    <a:pt x="14" y="76"/>
                    <a:pt x="10" y="90"/>
                    <a:pt x="9" y="97"/>
                  </a:cubicBezTo>
                  <a:cubicBezTo>
                    <a:pt x="18" y="99"/>
                    <a:pt x="27" y="101"/>
                    <a:pt x="29" y="106"/>
                  </a:cubicBezTo>
                  <a:cubicBezTo>
                    <a:pt x="33" y="113"/>
                    <a:pt x="27" y="134"/>
                    <a:pt x="24" y="135"/>
                  </a:cubicBezTo>
                  <a:cubicBezTo>
                    <a:pt x="21" y="136"/>
                    <a:pt x="16" y="131"/>
                    <a:pt x="15" y="134"/>
                  </a:cubicBezTo>
                  <a:cubicBezTo>
                    <a:pt x="15" y="139"/>
                    <a:pt x="23" y="138"/>
                    <a:pt x="22" y="143"/>
                  </a:cubicBezTo>
                  <a:cubicBezTo>
                    <a:pt x="21" y="149"/>
                    <a:pt x="11" y="150"/>
                    <a:pt x="11" y="156"/>
                  </a:cubicBezTo>
                  <a:cubicBezTo>
                    <a:pt x="9" y="166"/>
                    <a:pt x="20" y="165"/>
                    <a:pt x="21" y="172"/>
                  </a:cubicBezTo>
                  <a:cubicBezTo>
                    <a:pt x="23" y="179"/>
                    <a:pt x="15" y="185"/>
                    <a:pt x="16" y="191"/>
                  </a:cubicBezTo>
                  <a:cubicBezTo>
                    <a:pt x="17" y="199"/>
                    <a:pt x="16" y="202"/>
                    <a:pt x="18" y="207"/>
                  </a:cubicBezTo>
                  <a:cubicBezTo>
                    <a:pt x="19" y="210"/>
                    <a:pt x="18" y="215"/>
                    <a:pt x="19" y="212"/>
                  </a:cubicBezTo>
                  <a:cubicBezTo>
                    <a:pt x="22" y="206"/>
                    <a:pt x="22" y="204"/>
                    <a:pt x="22" y="216"/>
                  </a:cubicBezTo>
                  <a:cubicBezTo>
                    <a:pt x="22" y="217"/>
                    <a:pt x="20" y="218"/>
                    <a:pt x="19" y="219"/>
                  </a:cubicBezTo>
                  <a:cubicBezTo>
                    <a:pt x="13" y="227"/>
                    <a:pt x="15" y="215"/>
                    <a:pt x="14" y="215"/>
                  </a:cubicBezTo>
                  <a:cubicBezTo>
                    <a:pt x="13" y="214"/>
                    <a:pt x="16" y="212"/>
                    <a:pt x="15" y="212"/>
                  </a:cubicBezTo>
                  <a:cubicBezTo>
                    <a:pt x="15" y="213"/>
                    <a:pt x="14" y="213"/>
                    <a:pt x="14" y="213"/>
                  </a:cubicBezTo>
                  <a:cubicBezTo>
                    <a:pt x="13" y="213"/>
                    <a:pt x="4" y="241"/>
                    <a:pt x="3" y="248"/>
                  </a:cubicBezTo>
                  <a:cubicBezTo>
                    <a:pt x="2" y="260"/>
                    <a:pt x="15" y="257"/>
                    <a:pt x="16" y="258"/>
                  </a:cubicBezTo>
                  <a:cubicBezTo>
                    <a:pt x="23" y="265"/>
                    <a:pt x="15" y="267"/>
                    <a:pt x="10" y="263"/>
                  </a:cubicBezTo>
                  <a:cubicBezTo>
                    <a:pt x="5" y="258"/>
                    <a:pt x="18" y="276"/>
                    <a:pt x="19" y="283"/>
                  </a:cubicBezTo>
                  <a:cubicBezTo>
                    <a:pt x="19" y="284"/>
                    <a:pt x="19" y="284"/>
                    <a:pt x="19" y="285"/>
                  </a:cubicBezTo>
                  <a:cubicBezTo>
                    <a:pt x="17" y="290"/>
                    <a:pt x="0" y="273"/>
                    <a:pt x="2" y="277"/>
                  </a:cubicBezTo>
                  <a:cubicBezTo>
                    <a:pt x="13" y="303"/>
                    <a:pt x="41" y="309"/>
                    <a:pt x="53" y="323"/>
                  </a:cubicBezTo>
                  <a:cubicBezTo>
                    <a:pt x="67" y="339"/>
                    <a:pt x="60" y="350"/>
                    <a:pt x="63" y="365"/>
                  </a:cubicBezTo>
                  <a:cubicBezTo>
                    <a:pt x="64" y="367"/>
                    <a:pt x="65" y="364"/>
                    <a:pt x="66" y="365"/>
                  </a:cubicBezTo>
                  <a:cubicBezTo>
                    <a:pt x="66" y="365"/>
                    <a:pt x="67" y="365"/>
                    <a:pt x="69" y="366"/>
                  </a:cubicBezTo>
                  <a:cubicBezTo>
                    <a:pt x="70" y="366"/>
                    <a:pt x="71" y="365"/>
                    <a:pt x="72" y="365"/>
                  </a:cubicBezTo>
                  <a:close/>
                </a:path>
              </a:pathLst>
            </a:custGeom>
            <a:grpFill/>
            <a:ln w="127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698" name="Gruppe 555"/>
          <p:cNvGrpSpPr/>
          <p:nvPr/>
        </p:nvGrpSpPr>
        <p:grpSpPr>
          <a:xfrm>
            <a:off x="4205961" y="3812064"/>
            <a:ext cx="2596364" cy="1004662"/>
            <a:chOff x="550216" y="1808203"/>
            <a:chExt cx="3565998" cy="1379855"/>
          </a:xfrm>
        </p:grpSpPr>
        <p:grpSp>
          <p:nvGrpSpPr>
            <p:cNvPr id="1699" name="Group 1054"/>
            <p:cNvGrpSpPr/>
            <p:nvPr/>
          </p:nvGrpSpPr>
          <p:grpSpPr>
            <a:xfrm flipH="1">
              <a:off x="550216" y="1808203"/>
              <a:ext cx="3240279" cy="1379855"/>
              <a:chOff x="6093209" y="1220348"/>
              <a:chExt cx="6274400" cy="1379855"/>
            </a:xfrm>
          </p:grpSpPr>
          <p:grpSp>
            <p:nvGrpSpPr>
              <p:cNvPr id="1701" name="Group 1056"/>
              <p:cNvGrpSpPr/>
              <p:nvPr/>
            </p:nvGrpSpPr>
            <p:grpSpPr>
              <a:xfrm>
                <a:off x="6093209" y="2331695"/>
                <a:ext cx="6072161" cy="268508"/>
                <a:chOff x="3371017" y="577243"/>
                <a:chExt cx="6072161" cy="268508"/>
              </a:xfrm>
            </p:grpSpPr>
            <p:sp>
              <p:nvSpPr>
                <p:cNvPr id="1703" name="Rectangle 1058"/>
                <p:cNvSpPr/>
                <p:nvPr/>
              </p:nvSpPr>
              <p:spPr>
                <a:xfrm>
                  <a:off x="3371017" y="651251"/>
                  <a:ext cx="6072161" cy="19450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4065">
                          <a:lumMod val="7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Bygninger og byggverk står for 36 % av samlet karbonutslipp innenfor EU</a:t>
                  </a:r>
                  <a:endParaRPr kumimoji="0" lang="nb-NO" sz="1200" b="0" i="0" u="none" strike="noStrike" kern="1200" cap="none" spc="70" normalizeH="0" baseline="0" noProof="0" dirty="0">
                    <a:ln>
                      <a:noFill/>
                    </a:ln>
                    <a:solidFill>
                      <a:srgbClr val="0D4065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cxnSp>
              <p:nvCxnSpPr>
                <p:cNvPr id="1704" name="Straight Connector 1059"/>
                <p:cNvCxnSpPr>
                  <a:cxnSpLocks/>
                </p:cNvCxnSpPr>
                <p:nvPr/>
              </p:nvCxnSpPr>
              <p:spPr>
                <a:xfrm>
                  <a:off x="3381717" y="577243"/>
                  <a:ext cx="3973323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702" name="TextBox 1057"/>
              <p:cNvSpPr txBox="1"/>
              <p:nvPr/>
            </p:nvSpPr>
            <p:spPr>
              <a:xfrm>
                <a:off x="6135543" y="1220348"/>
                <a:ext cx="6232066" cy="106524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2800" b="0" i="0" u="none" strike="noStrike" kern="1200" cap="none" spc="-90" normalizeH="0" baseline="0" noProof="0" dirty="0">
                    <a:ln>
                      <a:noFill/>
                    </a:ln>
                    <a:solidFill>
                      <a:srgbClr val="0D4065"/>
                    </a:solidFill>
                    <a:effectLst/>
                    <a:uLnTx/>
                    <a:uFillTx/>
                    <a:latin typeface="Roboto Slab Light"/>
                    <a:ea typeface="+mn-ea"/>
                    <a:cs typeface="+mn-cs"/>
                  </a:rPr>
                  <a:t>36 % karbonutslipp</a:t>
                </a:r>
              </a:p>
            </p:txBody>
          </p:sp>
        </p:grpSp>
        <p:sp>
          <p:nvSpPr>
            <p:cNvPr id="1700" name="Oval 26"/>
            <p:cNvSpPr/>
            <p:nvPr/>
          </p:nvSpPr>
          <p:spPr>
            <a:xfrm>
              <a:off x="3866711" y="2781382"/>
              <a:ext cx="249503" cy="369234"/>
            </a:xfrm>
            <a:custGeom>
              <a:avLst/>
              <a:gdLst/>
              <a:ahLst/>
              <a:cxnLst/>
              <a:rect l="l" t="t" r="r" b="b"/>
              <a:pathLst>
                <a:path w="739818" h="1094843">
                  <a:moveTo>
                    <a:pt x="369910" y="143153"/>
                  </a:moveTo>
                  <a:cubicBezTo>
                    <a:pt x="249704" y="143153"/>
                    <a:pt x="152257" y="240600"/>
                    <a:pt x="152257" y="360806"/>
                  </a:cubicBezTo>
                  <a:cubicBezTo>
                    <a:pt x="152257" y="481012"/>
                    <a:pt x="249704" y="578459"/>
                    <a:pt x="369910" y="578459"/>
                  </a:cubicBezTo>
                  <a:cubicBezTo>
                    <a:pt x="490116" y="578459"/>
                    <a:pt x="587563" y="481012"/>
                    <a:pt x="587563" y="360806"/>
                  </a:cubicBezTo>
                  <a:cubicBezTo>
                    <a:pt x="587563" y="240600"/>
                    <a:pt x="490116" y="143153"/>
                    <a:pt x="369910" y="143153"/>
                  </a:cubicBezTo>
                  <a:close/>
                  <a:moveTo>
                    <a:pt x="369909" y="0"/>
                  </a:moveTo>
                  <a:cubicBezTo>
                    <a:pt x="574204" y="0"/>
                    <a:pt x="739818" y="165614"/>
                    <a:pt x="739818" y="369909"/>
                  </a:cubicBezTo>
                  <a:cubicBezTo>
                    <a:pt x="739818" y="458360"/>
                    <a:pt x="688354" y="545006"/>
                    <a:pt x="655673" y="602143"/>
                  </a:cubicBezTo>
                  <a:lnTo>
                    <a:pt x="369908" y="1094843"/>
                  </a:lnTo>
                  <a:cubicBezTo>
                    <a:pt x="274651" y="930608"/>
                    <a:pt x="178035" y="771819"/>
                    <a:pt x="82777" y="607584"/>
                  </a:cubicBezTo>
                  <a:cubicBezTo>
                    <a:pt x="54184" y="562699"/>
                    <a:pt x="0" y="458358"/>
                    <a:pt x="0" y="369909"/>
                  </a:cubicBezTo>
                  <a:cubicBezTo>
                    <a:pt x="0" y="165614"/>
                    <a:pt x="165614" y="0"/>
                    <a:pt x="369909" y="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705" name="Gruppe 562"/>
          <p:cNvGrpSpPr/>
          <p:nvPr/>
        </p:nvGrpSpPr>
        <p:grpSpPr>
          <a:xfrm flipH="1">
            <a:off x="8530344" y="2959584"/>
            <a:ext cx="2848092" cy="1086061"/>
            <a:chOff x="204492" y="1808205"/>
            <a:chExt cx="3911722" cy="1491653"/>
          </a:xfrm>
        </p:grpSpPr>
        <p:grpSp>
          <p:nvGrpSpPr>
            <p:cNvPr id="1706" name="Group 1054"/>
            <p:cNvGrpSpPr/>
            <p:nvPr/>
          </p:nvGrpSpPr>
          <p:grpSpPr>
            <a:xfrm flipH="1">
              <a:off x="204492" y="1808205"/>
              <a:ext cx="3567114" cy="1491653"/>
              <a:chOff x="6129804" y="1220350"/>
              <a:chExt cx="6907272" cy="1491653"/>
            </a:xfrm>
          </p:grpSpPr>
          <p:grpSp>
            <p:nvGrpSpPr>
              <p:cNvPr id="1708" name="Group 1056"/>
              <p:cNvGrpSpPr/>
              <p:nvPr/>
            </p:nvGrpSpPr>
            <p:grpSpPr>
              <a:xfrm>
                <a:off x="6129804" y="2329095"/>
                <a:ext cx="5929153" cy="382908"/>
                <a:chOff x="3407612" y="574643"/>
                <a:chExt cx="5929153" cy="382908"/>
              </a:xfrm>
            </p:grpSpPr>
            <p:sp>
              <p:nvSpPr>
                <p:cNvPr id="1710" name="Rectangle 1058"/>
                <p:cNvSpPr/>
                <p:nvPr/>
              </p:nvSpPr>
              <p:spPr>
                <a:xfrm>
                  <a:off x="3407612" y="651247"/>
                  <a:ext cx="5929153" cy="306304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4065">
                          <a:lumMod val="7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Rundt 1-2 % av bygningsmassen renoveres/ fornyes årlig</a:t>
                  </a:r>
                  <a:endParaRPr kumimoji="0" lang="nb-NO" sz="1200" b="0" i="0" u="none" strike="noStrike" kern="1200" cap="none" spc="70" normalizeH="0" baseline="0" noProof="0" dirty="0">
                    <a:ln>
                      <a:noFill/>
                    </a:ln>
                    <a:solidFill>
                      <a:srgbClr val="0D4065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cxnSp>
              <p:nvCxnSpPr>
                <p:cNvPr id="1711" name="Straight Connector 1059"/>
                <p:cNvCxnSpPr/>
                <p:nvPr/>
              </p:nvCxnSpPr>
              <p:spPr>
                <a:xfrm>
                  <a:off x="3407615" y="574643"/>
                  <a:ext cx="3973325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709" name="TextBox 1057"/>
              <p:cNvSpPr txBox="1"/>
              <p:nvPr/>
            </p:nvSpPr>
            <p:spPr>
              <a:xfrm>
                <a:off x="6135549" y="1220350"/>
                <a:ext cx="6901527" cy="106524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2800" b="0" i="0" u="none" strike="noStrike" kern="1200" cap="none" spc="-90" normalizeH="0" baseline="0" noProof="0" dirty="0">
                    <a:ln>
                      <a:noFill/>
                    </a:ln>
                    <a:solidFill>
                      <a:srgbClr val="0D4065"/>
                    </a:solidFill>
                    <a:effectLst/>
                    <a:uLnTx/>
                    <a:uFillTx/>
                    <a:latin typeface="Roboto Slab Light"/>
                    <a:ea typeface="+mn-ea"/>
                    <a:cs typeface="+mn-cs"/>
                  </a:rPr>
                  <a:t>1-2 % fornyelsestakt</a:t>
                </a:r>
              </a:p>
            </p:txBody>
          </p:sp>
        </p:grpSp>
        <p:sp>
          <p:nvSpPr>
            <p:cNvPr id="1707" name="Oval 26"/>
            <p:cNvSpPr/>
            <p:nvPr/>
          </p:nvSpPr>
          <p:spPr>
            <a:xfrm>
              <a:off x="3866711" y="2781382"/>
              <a:ext cx="249503" cy="369234"/>
            </a:xfrm>
            <a:custGeom>
              <a:avLst/>
              <a:gdLst/>
              <a:ahLst/>
              <a:cxnLst/>
              <a:rect l="l" t="t" r="r" b="b"/>
              <a:pathLst>
                <a:path w="739818" h="1094843">
                  <a:moveTo>
                    <a:pt x="369910" y="143153"/>
                  </a:moveTo>
                  <a:cubicBezTo>
                    <a:pt x="249704" y="143153"/>
                    <a:pt x="152257" y="240600"/>
                    <a:pt x="152257" y="360806"/>
                  </a:cubicBezTo>
                  <a:cubicBezTo>
                    <a:pt x="152257" y="481012"/>
                    <a:pt x="249704" y="578459"/>
                    <a:pt x="369910" y="578459"/>
                  </a:cubicBezTo>
                  <a:cubicBezTo>
                    <a:pt x="490116" y="578459"/>
                    <a:pt x="587563" y="481012"/>
                    <a:pt x="587563" y="360806"/>
                  </a:cubicBezTo>
                  <a:cubicBezTo>
                    <a:pt x="587563" y="240600"/>
                    <a:pt x="490116" y="143153"/>
                    <a:pt x="369910" y="143153"/>
                  </a:cubicBezTo>
                  <a:close/>
                  <a:moveTo>
                    <a:pt x="369909" y="0"/>
                  </a:moveTo>
                  <a:cubicBezTo>
                    <a:pt x="574204" y="0"/>
                    <a:pt x="739818" y="165614"/>
                    <a:pt x="739818" y="369909"/>
                  </a:cubicBezTo>
                  <a:cubicBezTo>
                    <a:pt x="739818" y="458360"/>
                    <a:pt x="688354" y="545006"/>
                    <a:pt x="655673" y="602143"/>
                  </a:cubicBezTo>
                  <a:lnTo>
                    <a:pt x="369908" y="1094843"/>
                  </a:lnTo>
                  <a:cubicBezTo>
                    <a:pt x="274651" y="930608"/>
                    <a:pt x="178035" y="771819"/>
                    <a:pt x="82777" y="607584"/>
                  </a:cubicBezTo>
                  <a:cubicBezTo>
                    <a:pt x="54184" y="562699"/>
                    <a:pt x="0" y="458358"/>
                    <a:pt x="0" y="369909"/>
                  </a:cubicBezTo>
                  <a:cubicBezTo>
                    <a:pt x="0" y="165614"/>
                    <a:pt x="165614" y="0"/>
                    <a:pt x="369909" y="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grpSp>
        <p:nvGrpSpPr>
          <p:cNvPr id="1712" name="Gruppe 569"/>
          <p:cNvGrpSpPr/>
          <p:nvPr/>
        </p:nvGrpSpPr>
        <p:grpSpPr>
          <a:xfrm flipH="1">
            <a:off x="7471714" y="4770796"/>
            <a:ext cx="4062876" cy="1082140"/>
            <a:chOff x="-1463955" y="1808203"/>
            <a:chExt cx="5580169" cy="1486269"/>
          </a:xfrm>
        </p:grpSpPr>
        <p:grpSp>
          <p:nvGrpSpPr>
            <p:cNvPr id="1713" name="Group 1054"/>
            <p:cNvGrpSpPr/>
            <p:nvPr/>
          </p:nvGrpSpPr>
          <p:grpSpPr>
            <a:xfrm flipH="1">
              <a:off x="-1463955" y="1808203"/>
              <a:ext cx="5235561" cy="1486269"/>
              <a:chOff x="6129807" y="1220348"/>
              <a:chExt cx="10138013" cy="1486269"/>
            </a:xfrm>
          </p:grpSpPr>
          <p:grpSp>
            <p:nvGrpSpPr>
              <p:cNvPr id="1715" name="Group 1056"/>
              <p:cNvGrpSpPr/>
              <p:nvPr/>
            </p:nvGrpSpPr>
            <p:grpSpPr>
              <a:xfrm>
                <a:off x="6129807" y="2329095"/>
                <a:ext cx="6032511" cy="377522"/>
                <a:chOff x="3407615" y="574643"/>
                <a:chExt cx="6032511" cy="377522"/>
              </a:xfrm>
            </p:grpSpPr>
            <p:sp>
              <p:nvSpPr>
                <p:cNvPr id="1717" name="Rectangle 1058"/>
                <p:cNvSpPr/>
                <p:nvPr/>
              </p:nvSpPr>
              <p:spPr>
                <a:xfrm>
                  <a:off x="3407618" y="651249"/>
                  <a:ext cx="6032508" cy="30091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4065">
                          <a:lumMod val="7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Tre fjerdedeler av bygnings-massen ansees ineffektiv</a:t>
                  </a:r>
                </a:p>
              </p:txBody>
            </p:sp>
            <p:cxnSp>
              <p:nvCxnSpPr>
                <p:cNvPr id="1718" name="Straight Connector 1059"/>
                <p:cNvCxnSpPr/>
                <p:nvPr/>
              </p:nvCxnSpPr>
              <p:spPr>
                <a:xfrm>
                  <a:off x="3407615" y="574643"/>
                  <a:ext cx="3973325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716" name="TextBox 1057"/>
              <p:cNvSpPr txBox="1"/>
              <p:nvPr/>
            </p:nvSpPr>
            <p:spPr>
              <a:xfrm>
                <a:off x="6135549" y="1220348"/>
                <a:ext cx="10132271" cy="106524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2800" b="0" i="0" u="none" strike="noStrike" kern="1200" cap="none" spc="-90" normalizeH="0" baseline="0" noProof="0" dirty="0">
                    <a:ln>
                      <a:noFill/>
                    </a:ln>
                    <a:solidFill>
                      <a:srgbClr val="0D4065"/>
                    </a:solidFill>
                    <a:effectLst/>
                    <a:uLnTx/>
                    <a:uFillTx/>
                    <a:latin typeface="Roboto Slab Light"/>
                    <a:ea typeface="+mn-ea"/>
                    <a:cs typeface="+mn-cs"/>
                  </a:rPr>
                  <a:t>3/4</a:t>
                </a:r>
                <a:br>
                  <a:rPr kumimoji="0" lang="nb-NO" sz="2800" b="0" i="0" u="none" strike="noStrike" kern="1200" cap="none" spc="-90" normalizeH="0" baseline="0" noProof="0" dirty="0">
                    <a:ln>
                      <a:noFill/>
                    </a:ln>
                    <a:solidFill>
                      <a:srgbClr val="0D4065"/>
                    </a:solidFill>
                    <a:effectLst/>
                    <a:uLnTx/>
                    <a:uFillTx/>
                    <a:latin typeface="Roboto Slab Light"/>
                    <a:ea typeface="+mn-ea"/>
                    <a:cs typeface="+mn-cs"/>
                  </a:rPr>
                </a:br>
                <a:r>
                  <a:rPr kumimoji="0" lang="nb-NO" sz="2800" b="0" i="0" u="none" strike="noStrike" kern="1200" cap="none" spc="-90" normalizeH="0" baseline="0" noProof="0" dirty="0">
                    <a:ln>
                      <a:noFill/>
                    </a:ln>
                    <a:solidFill>
                      <a:srgbClr val="0D4065"/>
                    </a:solidFill>
                    <a:effectLst/>
                    <a:uLnTx/>
                    <a:uFillTx/>
                    <a:latin typeface="Roboto Slab Light"/>
                    <a:ea typeface="+mn-ea"/>
                    <a:cs typeface="+mn-cs"/>
                  </a:rPr>
                  <a:t>gamle og nye bygg</a:t>
                </a:r>
              </a:p>
            </p:txBody>
          </p:sp>
        </p:grpSp>
        <p:sp>
          <p:nvSpPr>
            <p:cNvPr id="1714" name="Oval 26"/>
            <p:cNvSpPr/>
            <p:nvPr/>
          </p:nvSpPr>
          <p:spPr>
            <a:xfrm>
              <a:off x="3866711" y="2781382"/>
              <a:ext cx="249503" cy="369234"/>
            </a:xfrm>
            <a:custGeom>
              <a:avLst/>
              <a:gdLst/>
              <a:ahLst/>
              <a:cxnLst/>
              <a:rect l="l" t="t" r="r" b="b"/>
              <a:pathLst>
                <a:path w="739818" h="1094843">
                  <a:moveTo>
                    <a:pt x="369910" y="143153"/>
                  </a:moveTo>
                  <a:cubicBezTo>
                    <a:pt x="249704" y="143153"/>
                    <a:pt x="152257" y="240600"/>
                    <a:pt x="152257" y="360806"/>
                  </a:cubicBezTo>
                  <a:cubicBezTo>
                    <a:pt x="152257" y="481012"/>
                    <a:pt x="249704" y="578459"/>
                    <a:pt x="369910" y="578459"/>
                  </a:cubicBezTo>
                  <a:cubicBezTo>
                    <a:pt x="490116" y="578459"/>
                    <a:pt x="587563" y="481012"/>
                    <a:pt x="587563" y="360806"/>
                  </a:cubicBezTo>
                  <a:cubicBezTo>
                    <a:pt x="587563" y="240600"/>
                    <a:pt x="490116" y="143153"/>
                    <a:pt x="369910" y="143153"/>
                  </a:cubicBezTo>
                  <a:close/>
                  <a:moveTo>
                    <a:pt x="369909" y="0"/>
                  </a:moveTo>
                  <a:cubicBezTo>
                    <a:pt x="574204" y="0"/>
                    <a:pt x="739818" y="165614"/>
                    <a:pt x="739818" y="369909"/>
                  </a:cubicBezTo>
                  <a:cubicBezTo>
                    <a:pt x="739818" y="458360"/>
                    <a:pt x="688354" y="545006"/>
                    <a:pt x="655673" y="602143"/>
                  </a:cubicBezTo>
                  <a:lnTo>
                    <a:pt x="369908" y="1094843"/>
                  </a:lnTo>
                  <a:cubicBezTo>
                    <a:pt x="274651" y="930608"/>
                    <a:pt x="178035" y="771819"/>
                    <a:pt x="82777" y="607584"/>
                  </a:cubicBezTo>
                  <a:cubicBezTo>
                    <a:pt x="54184" y="562699"/>
                    <a:pt x="0" y="458358"/>
                    <a:pt x="0" y="369909"/>
                  </a:cubicBezTo>
                  <a:cubicBezTo>
                    <a:pt x="0" y="165614"/>
                    <a:pt x="165614" y="0"/>
                    <a:pt x="369909" y="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604" name="TextBox 603">
            <a:extLst>
              <a:ext uri="{FF2B5EF4-FFF2-40B4-BE49-F238E27FC236}">
                <a16:creationId xmlns:a16="http://schemas.microsoft.com/office/drawing/2014/main" id="{88BBDAE8-69F6-4088-A54F-F1CFF60582D9}"/>
              </a:ext>
            </a:extLst>
          </p:cNvPr>
          <p:cNvSpPr txBox="1"/>
          <p:nvPr/>
        </p:nvSpPr>
        <p:spPr>
          <a:xfrm>
            <a:off x="695476" y="6197153"/>
            <a:ext cx="512815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1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ilde: </a:t>
            </a:r>
            <a:r>
              <a:rPr kumimoji="0" lang="nb-NO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axonomy</a:t>
            </a:r>
            <a:r>
              <a:rPr kumimoji="0" lang="nb-NO" sz="1100" b="0" i="1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Technical Report June 2019</a:t>
            </a:r>
          </a:p>
        </p:txBody>
      </p:sp>
      <p:grpSp>
        <p:nvGrpSpPr>
          <p:cNvPr id="592" name="Gruppe 555">
            <a:extLst>
              <a:ext uri="{FF2B5EF4-FFF2-40B4-BE49-F238E27FC236}">
                <a16:creationId xmlns:a16="http://schemas.microsoft.com/office/drawing/2014/main" id="{9051884B-ACD3-4F8D-9E3D-229700C42A9B}"/>
              </a:ext>
            </a:extLst>
          </p:cNvPr>
          <p:cNvGrpSpPr/>
          <p:nvPr/>
        </p:nvGrpSpPr>
        <p:grpSpPr>
          <a:xfrm>
            <a:off x="2602266" y="2373198"/>
            <a:ext cx="2596364" cy="1004662"/>
            <a:chOff x="550216" y="1808203"/>
            <a:chExt cx="3565998" cy="1379855"/>
          </a:xfrm>
        </p:grpSpPr>
        <p:grpSp>
          <p:nvGrpSpPr>
            <p:cNvPr id="593" name="Group 1054">
              <a:extLst>
                <a:ext uri="{FF2B5EF4-FFF2-40B4-BE49-F238E27FC236}">
                  <a16:creationId xmlns:a16="http://schemas.microsoft.com/office/drawing/2014/main" id="{4E97D8DD-4D25-4401-8533-A9076E8055A1}"/>
                </a:ext>
              </a:extLst>
            </p:cNvPr>
            <p:cNvGrpSpPr/>
            <p:nvPr/>
          </p:nvGrpSpPr>
          <p:grpSpPr>
            <a:xfrm flipH="1">
              <a:off x="550216" y="1808203"/>
              <a:ext cx="3240279" cy="1379855"/>
              <a:chOff x="6093209" y="1220348"/>
              <a:chExt cx="6274400" cy="1379855"/>
            </a:xfrm>
          </p:grpSpPr>
          <p:grpSp>
            <p:nvGrpSpPr>
              <p:cNvPr id="595" name="Group 1056">
                <a:extLst>
                  <a:ext uri="{FF2B5EF4-FFF2-40B4-BE49-F238E27FC236}">
                    <a16:creationId xmlns:a16="http://schemas.microsoft.com/office/drawing/2014/main" id="{E3D465A0-AACD-4B2C-9428-605336571781}"/>
                  </a:ext>
                </a:extLst>
              </p:cNvPr>
              <p:cNvGrpSpPr/>
              <p:nvPr/>
            </p:nvGrpSpPr>
            <p:grpSpPr>
              <a:xfrm>
                <a:off x="6093209" y="2331695"/>
                <a:ext cx="6072161" cy="268508"/>
                <a:chOff x="3371017" y="577243"/>
                <a:chExt cx="6072161" cy="268508"/>
              </a:xfrm>
            </p:grpSpPr>
            <p:sp>
              <p:nvSpPr>
                <p:cNvPr id="597" name="Rectangle 1058">
                  <a:extLst>
                    <a:ext uri="{FF2B5EF4-FFF2-40B4-BE49-F238E27FC236}">
                      <a16:creationId xmlns:a16="http://schemas.microsoft.com/office/drawing/2014/main" id="{9681F897-B4E1-4B7E-A858-47B962DAB4E0}"/>
                    </a:ext>
                  </a:extLst>
                </p:cNvPr>
                <p:cNvSpPr/>
                <p:nvPr/>
              </p:nvSpPr>
              <p:spPr>
                <a:xfrm>
                  <a:off x="3371017" y="651251"/>
                  <a:ext cx="6072161" cy="194500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b-NO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4065">
                          <a:lumMod val="75000"/>
                        </a:srgbClr>
                      </a:solidFill>
                      <a:effectLst/>
                      <a:uLnTx/>
                      <a:uFillTx/>
                      <a:latin typeface="Open Sans"/>
                      <a:ea typeface="+mn-ea"/>
                      <a:cs typeface="+mn-cs"/>
                    </a:rPr>
                    <a:t>Bygninger og byggverk står for 40 % av samlet energiforbruk i området innenfor EU</a:t>
                  </a:r>
                  <a:endParaRPr kumimoji="0" lang="nb-NO" sz="1200" b="0" i="0" u="none" strike="noStrike" kern="1200" cap="none" spc="70" normalizeH="0" baseline="0" noProof="0" dirty="0">
                    <a:ln>
                      <a:noFill/>
                    </a:ln>
                    <a:solidFill>
                      <a:srgbClr val="0D4065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endParaRPr>
                </a:p>
              </p:txBody>
            </p:sp>
            <p:cxnSp>
              <p:nvCxnSpPr>
                <p:cNvPr id="598" name="Straight Connector 1059">
                  <a:extLst>
                    <a:ext uri="{FF2B5EF4-FFF2-40B4-BE49-F238E27FC236}">
                      <a16:creationId xmlns:a16="http://schemas.microsoft.com/office/drawing/2014/main" id="{103A82B6-0686-4626-9B62-4500620B2D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81717" y="577243"/>
                  <a:ext cx="3973323" cy="0"/>
                </a:xfrm>
                <a:prstGeom prst="line">
                  <a:avLst/>
                </a:prstGeom>
                <a:ln w="127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96" name="TextBox 1057">
                <a:extLst>
                  <a:ext uri="{FF2B5EF4-FFF2-40B4-BE49-F238E27FC236}">
                    <a16:creationId xmlns:a16="http://schemas.microsoft.com/office/drawing/2014/main" id="{06D273DF-BB17-413E-BA50-6F9F9BF2EB50}"/>
                  </a:ext>
                </a:extLst>
              </p:cNvPr>
              <p:cNvSpPr txBox="1"/>
              <p:nvPr/>
            </p:nvSpPr>
            <p:spPr>
              <a:xfrm>
                <a:off x="6135544" y="1220348"/>
                <a:ext cx="6232065" cy="106524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1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2800" b="0" i="0" u="none" strike="noStrike" kern="1200" cap="none" spc="-90" normalizeH="0" baseline="0" noProof="0" dirty="0">
                    <a:ln>
                      <a:noFill/>
                    </a:ln>
                    <a:solidFill>
                      <a:srgbClr val="0D4065"/>
                    </a:solidFill>
                    <a:effectLst/>
                    <a:uLnTx/>
                    <a:uFillTx/>
                    <a:latin typeface="Roboto Slab Light"/>
                    <a:ea typeface="+mn-ea"/>
                    <a:cs typeface="+mn-cs"/>
                  </a:rPr>
                  <a:t>40 % energiforbruk</a:t>
                </a:r>
              </a:p>
            </p:txBody>
          </p:sp>
        </p:grpSp>
        <p:sp>
          <p:nvSpPr>
            <p:cNvPr id="594" name="Oval 26">
              <a:extLst>
                <a:ext uri="{FF2B5EF4-FFF2-40B4-BE49-F238E27FC236}">
                  <a16:creationId xmlns:a16="http://schemas.microsoft.com/office/drawing/2014/main" id="{9AC793FB-E9EC-4457-85B3-D559D5B6BB47}"/>
                </a:ext>
              </a:extLst>
            </p:cNvPr>
            <p:cNvSpPr/>
            <p:nvPr/>
          </p:nvSpPr>
          <p:spPr>
            <a:xfrm>
              <a:off x="3866711" y="2781382"/>
              <a:ext cx="249503" cy="369234"/>
            </a:xfrm>
            <a:custGeom>
              <a:avLst/>
              <a:gdLst/>
              <a:ahLst/>
              <a:cxnLst/>
              <a:rect l="l" t="t" r="r" b="b"/>
              <a:pathLst>
                <a:path w="739818" h="1094843">
                  <a:moveTo>
                    <a:pt x="369910" y="143153"/>
                  </a:moveTo>
                  <a:cubicBezTo>
                    <a:pt x="249704" y="143153"/>
                    <a:pt x="152257" y="240600"/>
                    <a:pt x="152257" y="360806"/>
                  </a:cubicBezTo>
                  <a:cubicBezTo>
                    <a:pt x="152257" y="481012"/>
                    <a:pt x="249704" y="578459"/>
                    <a:pt x="369910" y="578459"/>
                  </a:cubicBezTo>
                  <a:cubicBezTo>
                    <a:pt x="490116" y="578459"/>
                    <a:pt x="587563" y="481012"/>
                    <a:pt x="587563" y="360806"/>
                  </a:cubicBezTo>
                  <a:cubicBezTo>
                    <a:pt x="587563" y="240600"/>
                    <a:pt x="490116" y="143153"/>
                    <a:pt x="369910" y="143153"/>
                  </a:cubicBezTo>
                  <a:close/>
                  <a:moveTo>
                    <a:pt x="369909" y="0"/>
                  </a:moveTo>
                  <a:cubicBezTo>
                    <a:pt x="574204" y="0"/>
                    <a:pt x="739818" y="165614"/>
                    <a:pt x="739818" y="369909"/>
                  </a:cubicBezTo>
                  <a:cubicBezTo>
                    <a:pt x="739818" y="458360"/>
                    <a:pt x="688354" y="545006"/>
                    <a:pt x="655673" y="602143"/>
                  </a:cubicBezTo>
                  <a:lnTo>
                    <a:pt x="369908" y="1094843"/>
                  </a:lnTo>
                  <a:cubicBezTo>
                    <a:pt x="274651" y="930608"/>
                    <a:pt x="178035" y="771819"/>
                    <a:pt x="82777" y="607584"/>
                  </a:cubicBezTo>
                  <a:cubicBezTo>
                    <a:pt x="54184" y="562699"/>
                    <a:pt x="0" y="458358"/>
                    <a:pt x="0" y="369909"/>
                  </a:cubicBezTo>
                  <a:cubicBezTo>
                    <a:pt x="0" y="165614"/>
                    <a:pt x="165614" y="0"/>
                    <a:pt x="369909" y="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2A91559E-62C2-46E5-AF38-29CBBF47252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894B7D14-D48E-4FA9-A9B4-BF2BCDEF82D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5</a:t>
            </a:fld>
            <a:endParaRPr lang="nb-NO" noProof="1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965486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243EB90-353A-450C-8B8B-AF86E30EDE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648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243EB90-353A-450C-8B8B-AF86E30ED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0FA869B0-3D4C-45AA-86EC-8832241BA07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7DFD90A-E753-411B-B60C-CCF1F5951467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800" y="435600"/>
            <a:ext cx="7074000" cy="327600"/>
          </a:xfrm>
        </p:spPr>
        <p:txBody>
          <a:bodyPr/>
          <a:lstStyle/>
          <a:p>
            <a:r>
              <a:rPr lang="nb-NO" dirty="0"/>
              <a:t>EUs taksonomi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EF16408-62C9-4DD1-9F3F-C7D580B8F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9200"/>
            <a:ext cx="7074000" cy="1119600"/>
          </a:xfrm>
        </p:spPr>
        <p:txBody>
          <a:bodyPr vert="horz"/>
          <a:lstStyle/>
          <a:p>
            <a:r>
              <a:rPr lang="nb-NO" dirty="0"/>
              <a:t>Verdt å merke seg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1F3E363-0E09-4DA7-A334-437C5F84FE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4" y="2311200"/>
            <a:ext cx="7073899" cy="3778450"/>
          </a:xfrm>
        </p:spPr>
        <p:txBody>
          <a:bodyPr/>
          <a:lstStyle/>
          <a:p>
            <a:r>
              <a:rPr lang="nb-NO" dirty="0"/>
              <a:t>Taksonomien er et frivillig klassifiseringssystem – hensikten er å definere hvilke aktiviteter som er bærekraftige for investeringsformål</a:t>
            </a:r>
          </a:p>
          <a:p>
            <a:r>
              <a:rPr lang="nb-NO" dirty="0"/>
              <a:t>Det er aktiviteter som vurderes</a:t>
            </a:r>
          </a:p>
          <a:p>
            <a:r>
              <a:rPr lang="nb-NO" dirty="0"/>
              <a:t>Skal etter planen inntas i norsk lov via Finansdepartementets forslag om ny lov om bærekraftig finans (lovproposisjon fremlagt 4. juni 2021)</a:t>
            </a:r>
          </a:p>
          <a:p>
            <a:r>
              <a:rPr lang="nb-NO" dirty="0"/>
              <a:t>Forventes å tre i kraft fra 1. januar 2022 (samme ikrafttredelsesdato som i EU)</a:t>
            </a:r>
          </a:p>
          <a:p>
            <a:r>
              <a:rPr lang="nb-NO" dirty="0"/>
              <a:t>Rapporteringsplikt (foreløpig) kun for enkelte aktører</a:t>
            </a:r>
          </a:p>
          <a:p>
            <a:endParaRPr lang="nb-NO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A90A8AC-AC44-403F-AC5C-F1698692DED9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8FAC826A-AF3C-4ECA-8CFE-0081BFC546C3}" type="datetime1">
              <a:rPr lang="nb-NO" noProof="0" smtClean="0"/>
              <a:t>27.10.2021</a:t>
            </a:fld>
            <a:endParaRPr lang="nb-NO" noProof="0" dirty="0"/>
          </a:p>
        </p:txBody>
      </p:sp>
      <p:pic>
        <p:nvPicPr>
          <p:cNvPr id="9" name="Picture Placeholder 17">
            <a:extLst>
              <a:ext uri="{FF2B5EF4-FFF2-40B4-BE49-F238E27FC236}">
                <a16:creationId xmlns:a16="http://schemas.microsoft.com/office/drawing/2014/main" id="{58BCDF49-9B00-450D-9411-A272F793530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2" r="32582"/>
          <a:stretch/>
        </p:blipFill>
        <p:spPr>
          <a:xfrm>
            <a:off x="8572920" y="0"/>
            <a:ext cx="3585600" cy="6861600"/>
          </a:xfrm>
          <a:prstGeom prst="rect">
            <a:avLst/>
          </a:prstGeom>
          <a:noFill/>
        </p:spPr>
      </p:pic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3191B8B4-BF9D-4184-A941-E4015EB06B6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A7A6E9E8-3821-4008-BD6C-D6E4ECCFAFD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6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448187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18615BC-99A6-4797-991E-A309CBD3A6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1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18615BC-99A6-4797-991E-A309CBD3A6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1">
            <a:extLst>
              <a:ext uri="{FF2B5EF4-FFF2-40B4-BE49-F238E27FC236}">
                <a16:creationId xmlns:a16="http://schemas.microsoft.com/office/drawing/2014/main" id="{3258DF89-1A97-4D3A-B05D-2D50AE27D6F8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800" y="435600"/>
            <a:ext cx="10659600" cy="327600"/>
          </a:xfrm>
        </p:spPr>
        <p:txBody>
          <a:bodyPr/>
          <a:lstStyle/>
          <a:p>
            <a:r>
              <a:rPr lang="nb-NO" dirty="0"/>
              <a:t>Rammeverk for klassifiser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143A0F-64F4-4B1D-8030-FCB799B82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7680"/>
            <a:ext cx="10658400" cy="1118288"/>
          </a:xfrm>
        </p:spPr>
        <p:txBody>
          <a:bodyPr vert="horz"/>
          <a:lstStyle/>
          <a:p>
            <a:r>
              <a:rPr lang="nb-NO" dirty="0"/>
              <a:t>Grunnleggende metodikk i klassifisering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8CCA1F-4F1D-462C-984C-751FCAD3F218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15BD6DF5-5754-457D-A1B5-52D063BC0DA9}" type="datetime1">
              <a:rPr lang="nb-NO" noProof="0" smtClean="0"/>
              <a:t>27.10.2021</a:t>
            </a:fld>
            <a:endParaRPr lang="nb-NO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B2F0ED-B044-4341-8ADF-A77DE8A6B1AC}"/>
              </a:ext>
            </a:extLst>
          </p:cNvPr>
          <p:cNvSpPr txBox="1"/>
          <p:nvPr/>
        </p:nvSpPr>
        <p:spPr>
          <a:xfrm>
            <a:off x="766800" y="2453480"/>
            <a:ext cx="5513421" cy="4015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500" b="1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n økonomisk aktivitet er bærekraftig dersom den… 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87AD13A-CA5F-4469-B08E-24109555F91D}"/>
              </a:ext>
            </a:extLst>
          </p:cNvPr>
          <p:cNvCxnSpPr>
            <a:cxnSpLocks/>
          </p:cNvCxnSpPr>
          <p:nvPr/>
        </p:nvCxnSpPr>
        <p:spPr>
          <a:xfrm>
            <a:off x="6916977" y="2487478"/>
            <a:ext cx="0" cy="3854809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82FD3EAB-ED1C-4659-8F8D-530751AD2DA1}"/>
              </a:ext>
            </a:extLst>
          </p:cNvPr>
          <p:cNvSpPr/>
          <p:nvPr/>
        </p:nvSpPr>
        <p:spPr>
          <a:xfrm>
            <a:off x="7163351" y="2853930"/>
            <a:ext cx="327458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dusere utslipp av klimagasser</a:t>
            </a:r>
            <a:b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endParaRPr kumimoji="0" lang="nb-NO" sz="1500" b="0" i="0" u="none" strike="noStrike" kern="1200" cap="none" spc="7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Klimatilpasning</a:t>
            </a:r>
            <a:b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endParaRPr kumimoji="0" lang="nb-NO" sz="1500" b="0" i="0" u="none" strike="noStrike" kern="1200" cap="none" spc="7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ærekraftig bruk av vann og marine ressurser </a:t>
            </a:r>
            <a:b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endParaRPr kumimoji="0" lang="nb-NO" sz="1500" b="0" i="0" u="none" strike="noStrike" kern="1200" cap="none" spc="7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vergang til sirkulær økonomi</a:t>
            </a:r>
            <a:b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</a:br>
            <a:endParaRPr kumimoji="0" lang="nb-NO" sz="1500" b="0" i="0" u="none" strike="noStrike" kern="1200" cap="none" spc="7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Redusere forurens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500" b="0" i="0" u="none" strike="noStrike" kern="1200" cap="none" spc="7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50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6.   Beskyttelse av økosystem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8E64171-94E6-4B34-9882-8D5E73053065}"/>
              </a:ext>
            </a:extLst>
          </p:cNvPr>
          <p:cNvSpPr txBox="1"/>
          <p:nvPr/>
        </p:nvSpPr>
        <p:spPr>
          <a:xfrm>
            <a:off x="9894651" y="3214090"/>
            <a:ext cx="1982499" cy="3577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ekniske screeningkriterier ble </a:t>
            </a:r>
            <a:r>
              <a:rPr kumimoji="0" lang="nb-NO" sz="1050" b="1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vedtatt</a:t>
            </a:r>
            <a:r>
              <a:rPr kumimoji="0" lang="nb-NO" sz="105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i juni 202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AEE001B-0318-4A8D-95DB-56430AFBA730}"/>
              </a:ext>
            </a:extLst>
          </p:cNvPr>
          <p:cNvSpPr txBox="1"/>
          <p:nvPr/>
        </p:nvSpPr>
        <p:spPr>
          <a:xfrm>
            <a:off x="10698519" y="4733814"/>
            <a:ext cx="1320489" cy="5452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Utkast til tekniske screeningkriterier ble </a:t>
            </a:r>
            <a:r>
              <a:rPr kumimoji="0" lang="nb-NO" sz="1050" b="1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ublisert</a:t>
            </a:r>
            <a:r>
              <a:rPr kumimoji="0" lang="nb-NO" sz="1050" b="0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 i august 2021</a:t>
            </a:r>
          </a:p>
        </p:txBody>
      </p:sp>
      <p:sp>
        <p:nvSpPr>
          <p:cNvPr id="24" name="Right Brace 23">
            <a:extLst>
              <a:ext uri="{FF2B5EF4-FFF2-40B4-BE49-F238E27FC236}">
                <a16:creationId xmlns:a16="http://schemas.microsoft.com/office/drawing/2014/main" id="{E1D7DCF5-6E1A-4BD0-AE0F-5F0254729F53}"/>
              </a:ext>
            </a:extLst>
          </p:cNvPr>
          <p:cNvSpPr/>
          <p:nvPr/>
        </p:nvSpPr>
        <p:spPr>
          <a:xfrm>
            <a:off x="9523536" y="2860324"/>
            <a:ext cx="213322" cy="968812"/>
          </a:xfrm>
          <a:prstGeom prst="rightBrace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5" name="Right Brace 24">
            <a:extLst>
              <a:ext uri="{FF2B5EF4-FFF2-40B4-BE49-F238E27FC236}">
                <a16:creationId xmlns:a16="http://schemas.microsoft.com/office/drawing/2014/main" id="{6399E2C0-ECE3-4951-A1DB-E0BF876D127C}"/>
              </a:ext>
            </a:extLst>
          </p:cNvPr>
          <p:cNvSpPr/>
          <p:nvPr/>
        </p:nvSpPr>
        <p:spPr>
          <a:xfrm>
            <a:off x="10377643" y="4049895"/>
            <a:ext cx="213322" cy="2041305"/>
          </a:xfrm>
          <a:prstGeom prst="rightBrace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1360B5A-996D-490C-94C6-01F653B13698}"/>
              </a:ext>
            </a:extLst>
          </p:cNvPr>
          <p:cNvSpPr txBox="1"/>
          <p:nvPr/>
        </p:nvSpPr>
        <p:spPr>
          <a:xfrm>
            <a:off x="7163351" y="2487478"/>
            <a:ext cx="4416286" cy="3728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500" b="1" i="0" u="none" strike="noStrike" kern="1200" cap="none" spc="7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EUs seks miljømål: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8ADCC9D-DC80-42FE-986D-9E3710CA8D01}"/>
              </a:ext>
            </a:extLst>
          </p:cNvPr>
          <p:cNvSpPr/>
          <p:nvPr/>
        </p:nvSpPr>
        <p:spPr>
          <a:xfrm>
            <a:off x="722187" y="3236330"/>
            <a:ext cx="1799500" cy="1343109"/>
          </a:xfrm>
          <a:prstGeom prst="roundRect">
            <a:avLst/>
          </a:prstGeom>
          <a:solidFill>
            <a:schemeClr val="accent5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CDE1D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gir et 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CDE1D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"vesentlig bidrag"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CDE1D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il ett av EUs seks miljømål 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E91A52E3-258C-4623-A5E3-0DA059CBD15C}"/>
              </a:ext>
            </a:extLst>
          </p:cNvPr>
          <p:cNvSpPr/>
          <p:nvPr/>
        </p:nvSpPr>
        <p:spPr>
          <a:xfrm>
            <a:off x="2840252" y="3236330"/>
            <a:ext cx="1799500" cy="1343109"/>
          </a:xfrm>
          <a:prstGeom prst="roundRect">
            <a:avLst/>
          </a:prstGeom>
          <a:solidFill>
            <a:schemeClr val="accent4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ikke gjør "vesentlig skade" (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DNSH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) på ett av de andre fem miljømålene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247159E-77D3-4E4D-83A8-1A02645DC878}"/>
              </a:ext>
            </a:extLst>
          </p:cNvPr>
          <p:cNvSpPr/>
          <p:nvPr/>
        </p:nvSpPr>
        <p:spPr>
          <a:xfrm>
            <a:off x="4994291" y="3236330"/>
            <a:ext cx="1799500" cy="1343109"/>
          </a:xfrm>
          <a:prstGeom prst="roundRect">
            <a:avLst/>
          </a:prstGeom>
          <a:solidFill>
            <a:schemeClr val="tx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EDE7D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ppfyller minimumskrav til 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EDE7DE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sosiale standarder</a:t>
            </a:r>
          </a:p>
        </p:txBody>
      </p:sp>
      <p:pic>
        <p:nvPicPr>
          <p:cNvPr id="35" name="Graphic 34" descr="Add outline">
            <a:extLst>
              <a:ext uri="{FF2B5EF4-FFF2-40B4-BE49-F238E27FC236}">
                <a16:creationId xmlns:a16="http://schemas.microsoft.com/office/drawing/2014/main" id="{46219B2F-48D4-40CB-83D2-B6AAEEDB2B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35420" y="3832301"/>
            <a:ext cx="324533" cy="324533"/>
          </a:xfrm>
          <a:prstGeom prst="rect">
            <a:avLst/>
          </a:prstGeom>
        </p:spPr>
      </p:pic>
      <p:pic>
        <p:nvPicPr>
          <p:cNvPr id="36" name="Graphic 35" descr="Add outline">
            <a:extLst>
              <a:ext uri="{FF2B5EF4-FFF2-40B4-BE49-F238E27FC236}">
                <a16:creationId xmlns:a16="http://schemas.microsoft.com/office/drawing/2014/main" id="{454338E8-DE90-4289-B513-5762BA6999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53054" y="3829136"/>
            <a:ext cx="324533" cy="324533"/>
          </a:xfrm>
          <a:prstGeom prst="rect">
            <a:avLst/>
          </a:prstGeom>
        </p:spPr>
      </p:pic>
      <p:sp>
        <p:nvSpPr>
          <p:cNvPr id="37" name="Left Brace 36">
            <a:extLst>
              <a:ext uri="{FF2B5EF4-FFF2-40B4-BE49-F238E27FC236}">
                <a16:creationId xmlns:a16="http://schemas.microsoft.com/office/drawing/2014/main" id="{FEF6D32F-6F2E-49D0-83CA-EEC0DA3D0254}"/>
              </a:ext>
            </a:extLst>
          </p:cNvPr>
          <p:cNvSpPr/>
          <p:nvPr/>
        </p:nvSpPr>
        <p:spPr>
          <a:xfrm rot="16200000">
            <a:off x="2607535" y="2807525"/>
            <a:ext cx="160173" cy="3930868"/>
          </a:xfrm>
          <a:prstGeom prst="leftBrac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D4065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BA71D63B-8828-4BA0-B097-CAE2790DA28B}"/>
              </a:ext>
            </a:extLst>
          </p:cNvPr>
          <p:cNvSpPr/>
          <p:nvPr/>
        </p:nvSpPr>
        <p:spPr>
          <a:xfrm>
            <a:off x="722187" y="4996982"/>
            <a:ext cx="3823505" cy="531168"/>
          </a:xfrm>
          <a:prstGeom prst="round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oppfyller et sett med 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D4065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tekniske screeningkriterier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4C02F630-9263-4071-A7B5-CAA78A4275E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EB254C31-4067-4F03-9F57-31F0B92A345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7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600438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C61654F-B4D3-4A7C-887A-C12036DF2D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"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C61654F-B4D3-4A7C-887A-C12036DF2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F7ED3A-566A-4AEB-A0B7-DD6FD0927E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40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Roboto Slab" pitchFamily="2" charset="0"/>
              <a:cs typeface="+mn-cs"/>
              <a:sym typeface="Roboto Slab" pitchFamily="2" charset="0"/>
            </a:endParaRPr>
          </a:p>
        </p:txBody>
      </p:sp>
      <p:pic>
        <p:nvPicPr>
          <p:cNvPr id="14" name="Picture Placeholder 6">
            <a:extLst>
              <a:ext uri="{FF2B5EF4-FFF2-40B4-BE49-F238E27FC236}">
                <a16:creationId xmlns:a16="http://schemas.microsoft.com/office/drawing/2014/main" id="{7F560DF2-C58F-45C6-90C5-8D192416DCBB}"/>
              </a:ext>
            </a:extLst>
          </p:cNvPr>
          <p:cNvPicPr>
            <a:picLocks noGrp="1" noChangeAspect="1"/>
          </p:cNvPicPr>
          <p:nvPr>
            <p:ph type="pic" sz="quarter" idx="19"/>
            <p:custDataLst>
              <p:tags r:id="rId4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82" r="32582"/>
          <a:stretch/>
        </p:blipFill>
        <p:spPr>
          <a:xfrm>
            <a:off x="8607600" y="0"/>
            <a:ext cx="3585600" cy="68616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2A08F86-3A29-49F7-815A-E4B3FBBF8F8C}"/>
              </a:ext>
            </a:extLst>
          </p:cNvPr>
          <p:cNvSpPr>
            <a:spLocks noGrp="1"/>
          </p:cNvSpPr>
          <p:nvPr>
            <p:ph type="subTitle" idx="16"/>
          </p:nvPr>
        </p:nvSpPr>
        <p:spPr>
          <a:xfrm>
            <a:off x="766800" y="435600"/>
            <a:ext cx="7074000" cy="327600"/>
          </a:xfrm>
        </p:spPr>
        <p:txBody>
          <a:bodyPr/>
          <a:lstStyle/>
          <a:p>
            <a:r>
              <a:rPr lang="nb-NO" dirty="0"/>
              <a:t>Taksonomi i praksi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F15A3F-2939-499D-9E22-59FDDD753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800" y="979200"/>
            <a:ext cx="7074000" cy="1119600"/>
          </a:xfrm>
        </p:spPr>
        <p:txBody>
          <a:bodyPr vert="horz"/>
          <a:lstStyle/>
          <a:p>
            <a:r>
              <a:rPr lang="nb-NO" dirty="0"/>
              <a:t>Overordnet om aktiviteter Eiendom</a:t>
            </a:r>
            <a:br>
              <a:rPr lang="nb-NO" dirty="0"/>
            </a:br>
            <a:br>
              <a:rPr lang="nb-NO" dirty="0"/>
            </a:br>
            <a:endParaRPr lang="nb-NO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B0DDC4-54D3-4EFF-9739-9DAFE6DB9658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pPr lvl="0"/>
            <a:fld id="{A11DB01F-18AF-4A8A-AC71-C352FED8CCDB}" type="datetime1">
              <a:rPr lang="nb-NO" noProof="0" smtClean="0"/>
              <a:t>27.10.2021</a:t>
            </a:fld>
            <a:endParaRPr lang="nb-NO" noProof="0" dirty="0"/>
          </a:p>
        </p:txBody>
      </p:sp>
      <p:graphicFrame>
        <p:nvGraphicFramePr>
          <p:cNvPr id="11" name="Table 8">
            <a:extLst>
              <a:ext uri="{FF2B5EF4-FFF2-40B4-BE49-F238E27FC236}">
                <a16:creationId xmlns:a16="http://schemas.microsoft.com/office/drawing/2014/main" id="{B33FB1E8-0F80-4FC3-B00F-69E4CE686792}"/>
              </a:ext>
            </a:extLst>
          </p:cNvPr>
          <p:cNvGraphicFramePr>
            <a:graphicFrameLocks/>
          </p:cNvGraphicFramePr>
          <p:nvPr/>
        </p:nvGraphicFramePr>
        <p:xfrm>
          <a:off x="766800" y="2563335"/>
          <a:ext cx="7228884" cy="331178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96621">
                  <a:extLst>
                    <a:ext uri="{9D8B030D-6E8A-4147-A177-3AD203B41FA5}">
                      <a16:colId xmlns:a16="http://schemas.microsoft.com/office/drawing/2014/main" val="98926930"/>
                    </a:ext>
                  </a:extLst>
                </a:gridCol>
                <a:gridCol w="6032263">
                  <a:extLst>
                    <a:ext uri="{9D8B030D-6E8A-4147-A177-3AD203B41FA5}">
                      <a16:colId xmlns:a16="http://schemas.microsoft.com/office/drawing/2014/main" val="185635393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spc="50" baseline="0" dirty="0">
                          <a:solidFill>
                            <a:schemeClr val="accent4"/>
                          </a:solidFill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ktor</a:t>
                      </a:r>
                      <a:endParaRPr lang="nb-NO" sz="1400" spc="50" baseline="0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spc="50" baseline="0" dirty="0">
                          <a:solidFill>
                            <a:schemeClr val="accent4"/>
                          </a:solidFill>
                        </a:rPr>
                        <a:t>Aktivit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0181986"/>
                  </a:ext>
                </a:extLst>
              </a:tr>
              <a:tr h="299343">
                <a:tc rowSpan="7">
                  <a:txBody>
                    <a:bodyPr/>
                    <a:lstStyle/>
                    <a:p>
                      <a:pPr rtl="0"/>
                      <a:r>
                        <a:rPr lang="nb-NO" sz="1400" b="1" spc="50" baseline="0" dirty="0">
                          <a:solidFill>
                            <a:schemeClr val="tx1"/>
                          </a:solidFill>
                        </a:rPr>
                        <a:t>Eiendo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nb-NO" sz="1400" spc="50" baseline="0">
                          <a:solidFill>
                            <a:schemeClr val="tx1"/>
                          </a:solidFill>
                        </a:rPr>
                        <a:t>Oppføring av nye bygg</a:t>
                      </a:r>
                      <a:endParaRPr lang="nb-NO" sz="1400" spc="5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8854779"/>
                  </a:ext>
                </a:extLst>
              </a:tr>
              <a:tr h="299343">
                <a:tc vMerge="1">
                  <a:txBody>
                    <a:bodyPr/>
                    <a:lstStyle/>
                    <a:p>
                      <a:endParaRPr lang="nb-NO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nb-NO" sz="1400" spc="50" baseline="0" dirty="0">
                          <a:solidFill>
                            <a:schemeClr val="tx1"/>
                          </a:solidFill>
                        </a:rPr>
                        <a:t>Renovering av eksisterende byg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530941"/>
                  </a:ext>
                </a:extLst>
              </a:tr>
              <a:tr h="29934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400" kern="1200" spc="5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jøp og eierskap til byg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2380831"/>
                  </a:ext>
                </a:extLst>
              </a:tr>
              <a:tr h="299343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400" spc="50" baseline="0">
                          <a:solidFill>
                            <a:schemeClr val="tx1"/>
                          </a:solidFill>
                        </a:rPr>
                        <a:t>Installasjon, vedlikehold og reparasjon av tekniske innretninger knyttet til energieffektivitet</a:t>
                      </a:r>
                      <a:endParaRPr lang="nb-NO" sz="1400" spc="5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582689"/>
                  </a:ext>
                </a:extLst>
              </a:tr>
              <a:tr h="309503">
                <a:tc vMerge="1">
                  <a:txBody>
                    <a:bodyPr/>
                    <a:lstStyle/>
                    <a:p>
                      <a:endParaRPr lang="nb-NO" sz="14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spc="50" baseline="0" dirty="0">
                          <a:solidFill>
                            <a:schemeClr val="tx1"/>
                          </a:solidFill>
                        </a:rPr>
                        <a:t>Installasjon, vedlikehold og reparasjon av ladestasjoner for elektriske kjøretøy i bygninger, med tilhørende parkeringsplasser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95598"/>
                  </a:ext>
                </a:extLst>
              </a:tr>
              <a:tr h="319663">
                <a:tc vMerge="1">
                  <a:txBody>
                    <a:bodyPr/>
                    <a:lstStyle/>
                    <a:p>
                      <a:endParaRPr lang="nb-NO" sz="14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spc="50" baseline="0">
                          <a:solidFill>
                            <a:schemeClr val="tx1"/>
                          </a:solidFill>
                        </a:rPr>
                        <a:t>Installasjon, vedlikehold og reparasjon av utstyr for å måle, regulere og kontrollere bygningers energiforbruk</a:t>
                      </a:r>
                      <a:endParaRPr lang="nb-NO" sz="1400" spc="50" baseline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982122"/>
                  </a:ext>
                </a:extLst>
              </a:tr>
              <a:tr h="538103">
                <a:tc vMerge="1">
                  <a:txBody>
                    <a:bodyPr/>
                    <a:lstStyle/>
                    <a:p>
                      <a:endParaRPr lang="nb-NO" sz="14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400" kern="1200" spc="5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tallasjon, vedlikehold og reparasjon av fornybare energikilder tilknyttet byggverk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3755463"/>
                  </a:ext>
                </a:extLst>
              </a:tr>
            </a:tbl>
          </a:graphicData>
        </a:graphic>
      </p:graphicFrame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0BB3AE71-DEDC-4F91-97EA-645408EC394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115228B6-DE29-428C-83E7-01DBD1CE8D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8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40850538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C61654F-B4D3-4A7C-887A-C12036DF2D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C61654F-B4D3-4A7C-887A-C12036DF2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DCC3B38-789A-4185-8776-8D5D69F496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Roboto Slab" pitchFamily="2" charset="0"/>
              <a:cs typeface="+mn-cs"/>
              <a:sym typeface="Roboto Slab" pitchFamily="2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5B0DDC4-54D3-4EFF-9739-9DAFE6DB96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265747-3D9A-4445-8A39-8CDA054DB9DA}" type="datetime1">
              <a:rPr kumimoji="0" lang="nb-NO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Open Sans"/>
                <a:ea typeface="+mn-ea"/>
                <a:cs typeface="+mn-cs"/>
              </a:rPr>
              <a:t>27.10.2021</a:t>
            </a:fld>
            <a:endParaRPr kumimoji="0" lang="nb-NO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4609FD66-B302-4EFD-B687-122A21999C31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42995674"/>
              </p:ext>
            </p:extLst>
          </p:nvPr>
        </p:nvGraphicFramePr>
        <p:xfrm>
          <a:off x="765600" y="169200"/>
          <a:ext cx="10492319" cy="64008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88636">
                  <a:extLst>
                    <a:ext uri="{9D8B030D-6E8A-4147-A177-3AD203B41FA5}">
                      <a16:colId xmlns:a16="http://schemas.microsoft.com/office/drawing/2014/main" val="98926930"/>
                    </a:ext>
                  </a:extLst>
                </a:gridCol>
                <a:gridCol w="3713787">
                  <a:extLst>
                    <a:ext uri="{9D8B030D-6E8A-4147-A177-3AD203B41FA5}">
                      <a16:colId xmlns:a16="http://schemas.microsoft.com/office/drawing/2014/main" val="1856353932"/>
                    </a:ext>
                  </a:extLst>
                </a:gridCol>
                <a:gridCol w="3934777">
                  <a:extLst>
                    <a:ext uri="{9D8B030D-6E8A-4147-A177-3AD203B41FA5}">
                      <a16:colId xmlns:a16="http://schemas.microsoft.com/office/drawing/2014/main" val="1058349278"/>
                    </a:ext>
                  </a:extLst>
                </a:gridCol>
                <a:gridCol w="1555119">
                  <a:extLst>
                    <a:ext uri="{9D8B030D-6E8A-4147-A177-3AD203B41FA5}">
                      <a16:colId xmlns:a16="http://schemas.microsoft.com/office/drawing/2014/main" val="1257188074"/>
                    </a:ext>
                  </a:extLst>
                </a:gridCol>
              </a:tblGrid>
              <a:tr h="4477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1" spc="0" baseline="0" dirty="0">
                          <a:solidFill>
                            <a:schemeClr val="accent4"/>
                          </a:solidFill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ygg og eiendom</a:t>
                      </a:r>
                      <a:endParaRPr lang="nb-NO" sz="1200" spc="0" baseline="0" dirty="0">
                        <a:solidFill>
                          <a:schemeClr val="accent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200" spc="0" baseline="0" dirty="0">
                          <a:solidFill>
                            <a:schemeClr val="accent4"/>
                          </a:solidFill>
                        </a:rPr>
                        <a:t>Kriterier for å gi et vesentlig bidra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spc="0" baseline="0" dirty="0">
                          <a:solidFill>
                            <a:schemeClr val="accent4"/>
                          </a:solidFill>
                        </a:rPr>
                        <a:t>Kriterier for ikke å gjøre skade på de andre miljømålene (DNSH-kriterier)</a:t>
                      </a:r>
                      <a:endParaRPr lang="nb-NO" sz="1200" b="1" kern="1200" spc="0" baseline="0" dirty="0">
                        <a:solidFill>
                          <a:schemeClr val="accent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200" spc="0" baseline="0" dirty="0">
                          <a:solidFill>
                            <a:schemeClr val="accent4"/>
                          </a:solidFill>
                        </a:rPr>
                        <a:t>Sosiale minstekra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0181986"/>
                  </a:ext>
                </a:extLst>
              </a:tr>
              <a:tr h="5820792">
                <a:tc>
                  <a:txBody>
                    <a:bodyPr/>
                    <a:lstStyle/>
                    <a:p>
                      <a:pPr rtl="0"/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Miljømål 1: Redusere utslipp av klimagasser</a:t>
                      </a:r>
                      <a:endParaRPr lang="nb-NO" sz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rtl="0">
                        <a:buFont typeface="+mj-lt"/>
                        <a:buAutoNum type="romanLcPeriod"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 nybygg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: Energiytelse 10 % bedre enn gjeldende NZEB (</a:t>
                      </a:r>
                      <a:r>
                        <a:rPr lang="nb-NO" sz="1200" b="0" kern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early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Zero Energy Building). Bygg over 5 000 m2 må undergis etterfølgende tester, og det skal utarbeides en CO2 beregning for byggets livsløp</a:t>
                      </a:r>
                      <a:endParaRPr lang="nb-NO" sz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endParaRPr lang="nb-NO" sz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novering av eksisterende bygg: 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jennomføre "Major </a:t>
                      </a:r>
                      <a:r>
                        <a:rPr lang="nb-NO" sz="1200" b="0" kern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nnovation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", eller oppnå 30 % forbedret </a:t>
                      </a:r>
                      <a:r>
                        <a:rPr lang="nb-NO" sz="1200" b="0" kern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nergiytelse</a:t>
                      </a:r>
                      <a:b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endParaRPr lang="nb-NO" sz="1200" b="0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romanLcPeriod"/>
                        <a:tabLst/>
                        <a:defRPr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øp og eierskap til bygg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: Bygg oppført etter 31.12.2020: Bygget må oppfylle krav </a:t>
                      </a:r>
                      <a:r>
                        <a:rPr lang="nb-NO" sz="1200" b="0" kern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ht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(i). Bygg oppført før 31.12.2020: Bygg med energimerke A, eller blant de 15% beste i sin klasse (målt i energieffektivitet). For større næringsbygg også krav om løpende overvåkning og vurdering av </a:t>
                      </a:r>
                      <a:r>
                        <a:rPr lang="nb-NO" sz="1200" b="0" kern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nergiytelse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endParaRPr lang="nb-NO" sz="1200" b="0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nretninger knyttet til Energieffektivitet: </a:t>
                      </a:r>
                      <a:r>
                        <a:rPr lang="nb-NO" sz="1200" b="0" kern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tterisolering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 energieffektive vinduer/dører mv.</a:t>
                      </a:r>
                      <a:endParaRPr lang="nb-NO" sz="1200" b="1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endParaRPr lang="nb-NO" sz="1200" b="0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adestasjoner for elektriske kjøretøy</a:t>
                      </a: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endParaRPr lang="nb-NO" sz="1200" b="1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tstyr for å måle, regulere og kontrollere energiforbruk: 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marte termostatsystem, systemer for automatisk energistyring og overvåkning, mv.</a:t>
                      </a:r>
                      <a:endParaRPr lang="nb-NO" sz="1200" b="1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endParaRPr lang="nb-NO" sz="1200" b="1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rnybare energikilder: </a:t>
                      </a:r>
                      <a:r>
                        <a:rPr lang="nb-NO" sz="1200" b="0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olcellepanel, varmepumpe, vindkraft, o.l. i bygg</a:t>
                      </a:r>
                      <a:endParaRPr lang="nb-NO" sz="1200" b="1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rtl="0">
                        <a:buFont typeface="+mj-lt"/>
                        <a:buAutoNum type="romanLcPeriod"/>
                      </a:pPr>
                      <a:endParaRPr lang="nb-NO" sz="1200" b="1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like DNSH-krav til punktene (i) – (vii). På overordnet nivå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b="1" kern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 Klimatilpasning:</a:t>
                      </a:r>
                    </a:p>
                    <a:p>
                      <a:pPr marL="46800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Vurderings- og dokumentasjonskrav</a:t>
                      </a:r>
                    </a:p>
                    <a:p>
                      <a:pPr marL="46800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Plan for implementering av løsninger for å redusere klimarisik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b-NO" sz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rtl="0"/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nb-NO" sz="1200" b="1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Bærekraftig bruk av vann og marine</a:t>
                      </a: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ressurser</a:t>
                      </a:r>
                      <a:r>
                        <a:rPr lang="nb-NO" sz="1200" b="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: </a:t>
                      </a:r>
                    </a:p>
                    <a:p>
                      <a:pPr marL="468000" lvl="1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Innretninger knyttet til vannforbruk må oppfylle fastsatte krav til maksimalt vannforbruk</a:t>
                      </a:r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nb-NO" sz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rtl="0"/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 </a:t>
                      </a:r>
                      <a:r>
                        <a:rPr lang="nb-NO" sz="1200" b="1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vergang til sirkulær økonomi: </a:t>
                      </a:r>
                    </a:p>
                    <a:p>
                      <a:pPr marL="468000" lvl="1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70 % av bygningsavfall skal klargjøres for ombruk eller gjenvinning</a:t>
                      </a:r>
                    </a:p>
                    <a:p>
                      <a:pPr marL="0" indent="0" rtl="0">
                        <a:buFontTx/>
                        <a:buNone/>
                      </a:pPr>
                      <a:endParaRPr lang="nb-NO" sz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marL="0" indent="0" rtl="0">
                        <a:buFontTx/>
                        <a:buNone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. Redusere forurensning: </a:t>
                      </a:r>
                    </a:p>
                    <a:p>
                      <a:pPr marL="468000" lvl="1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orbud mot bruk av en rekke farlige stoffer i bygningsmateriell.</a:t>
                      </a:r>
                    </a:p>
                    <a:p>
                      <a:pPr marL="468000" lvl="1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rav til grunnundersøkelse ved bygging på antatt forurenset grunn (</a:t>
                      </a:r>
                      <a:r>
                        <a:rPr lang="nb-NO" sz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brownfield</a:t>
                      </a: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nb-NO" sz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site</a:t>
                      </a: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)</a:t>
                      </a:r>
                    </a:p>
                    <a:p>
                      <a:pPr marL="171450" indent="-171450" rtl="0">
                        <a:buFont typeface="Arial" panose="020B0604020202020204" pitchFamily="34" charset="0"/>
                        <a:buChar char="•"/>
                      </a:pPr>
                      <a:endParaRPr lang="nb-NO" sz="1200" spc="0" baseline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marL="0" indent="0" rtl="0">
                        <a:buFont typeface="Arial" panose="020B0604020202020204" pitchFamily="34" charset="0"/>
                        <a:buNone/>
                      </a:pPr>
                      <a:r>
                        <a:rPr lang="nb-NO" sz="1200" b="1" kern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. Beskyttelse av økosystemer:</a:t>
                      </a:r>
                    </a:p>
                    <a:p>
                      <a:pPr marL="468000" lvl="1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rav til </a:t>
                      </a:r>
                      <a:r>
                        <a:rPr lang="nb-NO" sz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Environmental</a:t>
                      </a: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nb-NO" sz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Impact</a:t>
                      </a: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nb-NO" sz="1200" spc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ssesseent</a:t>
                      </a: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(EIA)</a:t>
                      </a:r>
                    </a:p>
                    <a:p>
                      <a:pPr marL="468000" lvl="1" indent="-171450" rtl="0">
                        <a:buFont typeface="Arial" panose="020B0604020202020204" pitchFamily="34" charset="0"/>
                        <a:buChar char="•"/>
                      </a:pPr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orbud mot bygging på ulike typer dyrket mark, verneverdig grunn, habitat for vernede dyrearter, osv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nb-NO" sz="1200" spc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okumentere at man driver i tråd med forordningens sosiale minimumskrav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8854779"/>
                  </a:ext>
                </a:extLst>
              </a:tr>
            </a:tbl>
          </a:graphicData>
        </a:graphic>
      </p:graphicFrame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2F03D3E-70B5-4A69-9303-CD739CC76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Næringseiendom 2021</a:t>
            </a:r>
            <a:endParaRPr lang="nb-NO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CBBAAB8-019D-439D-B4F6-7E3CE9029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tabLst>
                <a:tab pos="10659600" algn="r"/>
              </a:tabLst>
            </a:pPr>
            <a:r>
              <a:rPr lang="nb-NO" noProof="1"/>
              <a:t>Advokatfirmaet Thommessen AS	</a:t>
            </a:r>
            <a:fld id="{E237E1E7-4624-45B9-A987-FF5E446C7BBF}" type="slidenum">
              <a:rPr lang="nb-NO" noProof="1" smtClean="0"/>
              <a:pPr>
                <a:tabLst>
                  <a:tab pos="10659600" algn="r"/>
                </a:tabLst>
              </a:pPr>
              <a:t>9</a:t>
            </a:fld>
            <a:endParaRPr lang="nb-NO" noProof="1"/>
          </a:p>
        </p:txBody>
      </p:sp>
    </p:spTree>
    <p:extLst>
      <p:ext uri="{BB962C8B-B14F-4D97-AF65-F5344CB8AC3E}">
        <p14:creationId xmlns:p14="http://schemas.microsoft.com/office/powerpoint/2010/main" val="3490588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haoh\AppData\Local\Temp\Templafy\PowerPointVsto\Assets\0ab750f8-9da5-4155-bc7e-4f7c1cd1dbe9.jp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haoh\AppData\Local\Temp\Templafy\PowerPointVsto\Assets\b4aa5a44-f36f-4158-b9d3-699db1502fa2.jp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haoh\AppData\Local\Temp\Templafy\PowerPointVsto\Assets\64d00f51-d273-40eb-8222-35e052990172.jp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dDLY2diowp0fKZuff7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89287825859420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nydfyInapf460ZweM3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EBK\AppData\Local\Temp\Templafy\PowerPointVsto\Assets\e4874d9f-23a9-483f-969e-081c24f55836.jpe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WYjVvkzSRXCQAIOzhp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AKF\AppData\Local\Temp\Templafy\PowerPointVsto\Assets\632c9cfc-f73a-4454-af20-e039419e2e8f.jp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uOVm1rl8WyLEptA36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rr\AppData\Local\Temp\Templafy\PowerPointVsto\Assets\b281349d-ae4d-4cd2-8bbe-560ec2b414e8.jp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rr\AppData\Local\Temp\Templafy\PowerPointVsto\Assets\205dc9a6-b9ac-4f2c-8c72-5cab4f040edc.jp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rr\AppData\Local\Temp\Templafy\PowerPointVsto\Assets\85dc384c-2a35-4e1c-aeef-ac2146543db1.jp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EBK\AppData\Local\Temp\Templafy\PowerPointVsto\Assets\a1c443b4-1d39-4270-aeb5-3cf95350a664.jpe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AKF\AppData\Local\Temp\Templafy\PowerPointVsto\Assets\3e104545-990a-4809-aa8c-432ae030702d.jp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0lqN8pPQtkEnEMKOoS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emrr\AppData\Local\Temp\Templafy\PowerPointVsto\Assets\8ad6d442-f094-4041-9f95-dd57aaa508ff.jp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haoh\AppData\Local\Temp\Templafy\PowerPointVsto\Assets\3e7180ce-0a06-4cd8-ba37-064580f77673.jpeg"/>
  <p:tag name="TEMPLAFYSLIDEID" val="637698311622223028"/>
</p:tagLst>
</file>

<file path=ppt/theme/theme1.xml><?xml version="1.0" encoding="utf-8"?>
<a:theme xmlns:a="http://schemas.openxmlformats.org/drawingml/2006/main" name="THOMMESSEN">
  <a:themeElements>
    <a:clrScheme name="Thommessen">
      <a:dk1>
        <a:srgbClr val="0D4065"/>
      </a:dk1>
      <a:lt1>
        <a:srgbClr val="FFFFFF"/>
      </a:lt1>
      <a:dk2>
        <a:srgbClr val="DAE9F8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1F4533"/>
      </a:accent5>
      <a:accent6>
        <a:srgbClr val="CDE1D0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1500" noProof="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500" dirty="0">
            <a:solidFill>
              <a:srgbClr val="0D4065"/>
            </a:solidFill>
          </a:defRPr>
        </a:defPPr>
      </a:lstStyle>
    </a:txDef>
  </a:objectDefaults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BaseTemplate 16-9 UK.potx" id="{F6A595D2-5111-4944-A360-F0492E356A40}" vid="{A41D93BC-BD5A-44B7-87CB-7DEDE13B29DB}"/>
    </a:ext>
  </a:extLst>
</a:theme>
</file>

<file path=ppt/theme/theme2.xml><?xml version="1.0" encoding="utf-8"?>
<a:theme xmlns:a="http://schemas.openxmlformats.org/drawingml/2006/main" name="1_THOMMESSEN">
  <a:themeElements>
    <a:clrScheme name="Thommessen">
      <a:dk1>
        <a:srgbClr val="0D4065"/>
      </a:dk1>
      <a:lt1>
        <a:srgbClr val="FFFFFF"/>
      </a:lt1>
      <a:dk2>
        <a:srgbClr val="DAE9F8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1F4533"/>
      </a:accent5>
      <a:accent6>
        <a:srgbClr val="CDE1D0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spcAft>
            <a:spcPts val="600"/>
          </a:spcAft>
          <a:defRPr sz="16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sz="1600" dirty="0" err="1" smtClean="0">
            <a:solidFill>
              <a:srgbClr val="0D4065"/>
            </a:solidFill>
          </a:defRPr>
        </a:defPPr>
      </a:lstStyle>
    </a:txDef>
  </a:objectDefaults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BaseTemplate 16-9 UK.potx" id="{F6A595D2-5111-4944-A360-F0492E356A40}" vid="{A41D93BC-BD5A-44B7-87CB-7DEDE13B29DB}"/>
    </a:ext>
  </a:extLst>
</a:theme>
</file>

<file path=ppt/theme/theme3.xml><?xml version="1.0" encoding="utf-8"?>
<a:theme xmlns:a="http://schemas.openxmlformats.org/drawingml/2006/main" name="2_THOMMESSEN">
  <a:themeElements>
    <a:clrScheme name="Thommessen">
      <a:dk1>
        <a:srgbClr val="0D4065"/>
      </a:dk1>
      <a:lt1>
        <a:srgbClr val="FFFFFF"/>
      </a:lt1>
      <a:dk2>
        <a:srgbClr val="DAE9F8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1F4533"/>
      </a:accent5>
      <a:accent6>
        <a:srgbClr val="CDE1D0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spcAft>
            <a:spcPts val="600"/>
          </a:spcAft>
          <a:defRPr sz="16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spcAft>
            <a:spcPts val="600"/>
          </a:spcAft>
          <a:defRPr sz="1600" dirty="0" err="1" smtClean="0">
            <a:solidFill>
              <a:srgbClr val="0D4065"/>
            </a:solidFill>
          </a:defRPr>
        </a:defPPr>
      </a:lstStyle>
    </a:txDef>
  </a:objectDefaults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BaseTemplate 16-9 UK.potx" id="{F6A595D2-5111-4944-A360-F0492E356A40}" vid="{A41D93BC-BD5A-44B7-87CB-7DEDE13B29DB}"/>
    </a:ext>
  </a:extLst>
</a:theme>
</file>

<file path=ppt/theme/theme4.xml><?xml version="1.0" encoding="utf-8"?>
<a:theme xmlns:a="http://schemas.openxmlformats.org/drawingml/2006/main" name="Office-tema">
  <a:themeElements>
    <a:clrScheme name="Thommessen">
      <a:dk1>
        <a:srgbClr val="0D4065"/>
      </a:dk1>
      <a:lt1>
        <a:srgbClr val="FFFFFF"/>
      </a:lt1>
      <a:dk2>
        <a:srgbClr val="0D4065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DAE9F8"/>
      </a:accent5>
      <a:accent6>
        <a:srgbClr val="F0F7FC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Thommessen">
      <a:dk1>
        <a:srgbClr val="0D4065"/>
      </a:dk1>
      <a:lt1>
        <a:srgbClr val="FFFFFF"/>
      </a:lt1>
      <a:dk2>
        <a:srgbClr val="0D4065"/>
      </a:dk2>
      <a:lt2>
        <a:srgbClr val="F9F8F7"/>
      </a:lt2>
      <a:accent1>
        <a:srgbClr val="0D4065"/>
      </a:accent1>
      <a:accent2>
        <a:srgbClr val="81AECF"/>
      </a:accent2>
      <a:accent3>
        <a:srgbClr val="D2C7B8"/>
      </a:accent3>
      <a:accent4>
        <a:srgbClr val="EDE7DE"/>
      </a:accent4>
      <a:accent5>
        <a:srgbClr val="DAE9F8"/>
      </a:accent5>
      <a:accent6>
        <a:srgbClr val="F0F7FC"/>
      </a:accent6>
      <a:hlink>
        <a:srgbClr val="0563C1"/>
      </a:hlink>
      <a:folHlink>
        <a:srgbClr val="954F72"/>
      </a:folHlink>
    </a:clrScheme>
    <a:fontScheme name="Thommessen">
      <a:majorFont>
        <a:latin typeface="Roboto Slab Ligh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Thommessen blå">
      <a:srgbClr val="0D4065"/>
    </a:custClr>
    <a:custClr name="Himmelblå">
      <a:srgbClr val="81AECF"/>
    </a:custClr>
    <a:custClr name="Isblå">
      <a:srgbClr val="DAE9F8"/>
    </a:custClr>
    <a:custClr name="Snø">
      <a:srgbClr val="F0F7FC"/>
    </a:custClr>
    <a:custClr name="Lys Sand">
      <a:srgbClr val="F9F8F7"/>
    </a:custClr>
    <a:custClr name="Sand">
      <a:srgbClr val="EDE7DE"/>
    </a:custClr>
    <a:custClr name="Lin">
      <a:srgbClr val="D2C7B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kogsgrønn">
      <a:srgbClr val="1F4533"/>
    </a:custClr>
    <a:custClr name="Vintergrønn">
      <a:srgbClr val="CDE1D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ips">
      <a:srgbClr val="E45050"/>
    </a:custClr>
    <a:custClr name="Skumring">
      <a:srgbClr val="F8906F"/>
    </a:custClr>
    <a:custClr name="Korngul">
      <a:srgbClr val="E6C586"/>
    </a:custClr>
    <a:custClr name="Plomme">
      <a:srgbClr val="604682"/>
    </a:custClr>
    <a:custClr name="Mose">
      <a:srgbClr val="54805B"/>
    </a:custClr>
    <a:custClr name="Jord">
      <a:srgbClr val="624D4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TemplafySlideFormConfiguration><![CDATA[{"formFields":[],"formDataEntries":[]}]]></TemplafySlideFormConfiguration>
</file>

<file path=customXml/item2.xml><?xml version="1.0" encoding="utf-8"?>
<TemplafyFormConfiguration><![CDATA[{"formFields":[],"formDataEntries":[]}]]></TemplafyFormConfiguration>
</file>

<file path=customXml/item3.xml><?xml version="1.0" encoding="utf-8"?>
<TemplafyTemplateConfiguration><![CDATA[{"elementsMetadata":[],"transformationConfigurations":[{"language":"{{DocumentLanguage}}","disableUpdates":false,"type":"proofingLanguage"}],"templateName":"","templateDescription":"","enableDocumentContentUpdater":true,"version":"1.3"}]]></TemplafyTemplate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600406865407820","enableDocumentContentUpdater":true,"version":"1.3"}]]></TemplafySlideTemplateConfiguration>
</file>

<file path=customXml/itemProps1.xml><?xml version="1.0" encoding="utf-8"?>
<ds:datastoreItem xmlns:ds="http://schemas.openxmlformats.org/officeDocument/2006/customXml" ds:itemID="{0C9A888A-291B-4227-AE9F-9CC3AF3CD487}">
  <ds:schemaRefs/>
</ds:datastoreItem>
</file>

<file path=customXml/itemProps2.xml><?xml version="1.0" encoding="utf-8"?>
<ds:datastoreItem xmlns:ds="http://schemas.openxmlformats.org/officeDocument/2006/customXml" ds:itemID="{39214C55-60BA-4A53-96C9-0B385109AE02}">
  <ds:schemaRefs/>
</ds:datastoreItem>
</file>

<file path=customXml/itemProps3.xml><?xml version="1.0" encoding="utf-8"?>
<ds:datastoreItem xmlns:ds="http://schemas.openxmlformats.org/officeDocument/2006/customXml" ds:itemID="{918F36F7-BB98-4279-B1FB-DB386C56A746}">
  <ds:schemaRefs/>
</ds:datastoreItem>
</file>

<file path=customXml/itemProps4.xml><?xml version="1.0" encoding="utf-8"?>
<ds:datastoreItem xmlns:ds="http://schemas.openxmlformats.org/officeDocument/2006/customXml" ds:itemID="{E038DA57-3102-43CE-A397-E225DEC6D87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UK</Template>
  <TotalTime>2068</TotalTime>
  <Words>1772</Words>
  <Application>Microsoft Office PowerPoint</Application>
  <PresentationFormat>Widescreen</PresentationFormat>
  <Paragraphs>274</Paragraphs>
  <Slides>2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5" baseType="lpstr">
      <vt:lpstr>Open Sans</vt:lpstr>
      <vt:lpstr>Wingdings</vt:lpstr>
      <vt:lpstr>Open Sans SemiBold</vt:lpstr>
      <vt:lpstr>Roboto Slab</vt:lpstr>
      <vt:lpstr>Arial</vt:lpstr>
      <vt:lpstr>Roboto Slab Light</vt:lpstr>
      <vt:lpstr>THOMMESSEN</vt:lpstr>
      <vt:lpstr>1_THOMMESSEN</vt:lpstr>
      <vt:lpstr>2_THOMMESSEN</vt:lpstr>
      <vt:lpstr>think-cell Slide</vt:lpstr>
      <vt:lpstr>Næringseiendom 2021</vt:lpstr>
      <vt:lpstr>Dette er Thommessen</vt:lpstr>
      <vt:lpstr>Saving the climate is our generational task. It must unite &amp; encourage us. It is about securing the wellbeing and freedom of our children. There is no greater, nobler task. Europe is ready to lead the way. </vt:lpstr>
      <vt:lpstr>Bakgrunn og formål </vt:lpstr>
      <vt:lpstr>Europa | Bygningsmassens miljøavtrykk </vt:lpstr>
      <vt:lpstr>Verdt å merke seg</vt:lpstr>
      <vt:lpstr>Grunnleggende metodikk i klassifiseringen</vt:lpstr>
      <vt:lpstr>Overordnet om aktiviteter Eiendom  </vt:lpstr>
      <vt:lpstr>PowerPoint Presentation</vt:lpstr>
      <vt:lpstr> </vt:lpstr>
      <vt:lpstr>Dette bør selskapet gjøre  Overordnet tilnærming</vt:lpstr>
      <vt:lpstr>Juridisk nytt for eiendomsbransjen</vt:lpstr>
      <vt:lpstr>Først et lite tilbakeblikk</vt:lpstr>
      <vt:lpstr>PowerPoint Presentation</vt:lpstr>
      <vt:lpstr>Selvstendig rettsvernshevd</vt:lpstr>
      <vt:lpstr>PowerPoint Presentation</vt:lpstr>
      <vt:lpstr>Selvstendig rettsvernshevd</vt:lpstr>
      <vt:lpstr>Rekkefølgekrav</vt:lpstr>
      <vt:lpstr>Eiendomsrett til luft?</vt:lpstr>
      <vt:lpstr>Hytteeierne mot staten</vt:lpstr>
      <vt:lpstr>Oslo tingretts dom av 5. februar 2021 TOSLO-2020-176591</vt:lpstr>
      <vt:lpstr>Borgarting lagmannsretts dom av 7. juni 2021   LB-2021-41600</vt:lpstr>
      <vt:lpstr>PowerPoint Presentation</vt:lpstr>
      <vt:lpstr>Leietakers rett til heving Forventet forsinket overlevering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hilde Rye Ramberg</dc:creator>
  <cp:lastModifiedBy>Thommessen</cp:lastModifiedBy>
  <cp:revision>184</cp:revision>
  <dcterms:created xsi:type="dcterms:W3CDTF">2021-06-22T13:14:40Z</dcterms:created>
  <dcterms:modified xsi:type="dcterms:W3CDTF">2021-10-27T14:2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omnidocs.com</vt:lpwstr>
  </property>
  <property fmtid="{D5CDD505-2E9C-101B-9397-08002B2CF9AE}" pid="3" name="TemplafyTimeStamp">
    <vt:lpwstr>2021-06-28T12:42:08.4439369Z</vt:lpwstr>
  </property>
  <property fmtid="{D5CDD505-2E9C-101B-9397-08002B2CF9AE}" pid="4" name="TemplafyTenantId">
    <vt:lpwstr>thommessen</vt:lpwstr>
  </property>
  <property fmtid="{D5CDD505-2E9C-101B-9397-08002B2CF9AE}" pid="5" name="TemplafyTemplateId">
    <vt:lpwstr>637599661889429299</vt:lpwstr>
  </property>
  <property fmtid="{D5CDD505-2E9C-101B-9397-08002B2CF9AE}" pid="6" name="TemplafyUserProfileId">
    <vt:lpwstr>636727754502751004</vt:lpwstr>
  </property>
</Properties>
</file>